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slides/slide72.xml" ContentType="application/vnd.openxmlformats-officedocument.presentationml.slide+xml"/>
  <Override PartName="/ppt/slides/slide73.xml" ContentType="application/vnd.openxmlformats-officedocument.presentationml.slide+xml"/>
  <Override PartName="/ppt/slides/slide74.xml" ContentType="application/vnd.openxmlformats-officedocument.presentationml.slide+xml"/>
  <Override PartName="/ppt/slides/slide75.xml" ContentType="application/vnd.openxmlformats-officedocument.presentationml.slide+xml"/>
  <Override PartName="/ppt/slides/slide76.xml" ContentType="application/vnd.openxmlformats-officedocument.presentationml.slide+xml"/>
  <Override PartName="/ppt/slides/slide77.xml" ContentType="application/vnd.openxmlformats-officedocument.presentationml.slide+xml"/>
  <Override PartName="/ppt/slides/slide78.xml" ContentType="application/vnd.openxmlformats-officedocument.presentationml.slide+xml"/>
  <Override PartName="/ppt/slides/slide79.xml" ContentType="application/vnd.openxmlformats-officedocument.presentationml.slide+xml"/>
  <Override PartName="/ppt/slides/slide80.xml" ContentType="application/vnd.openxmlformats-officedocument.presentationml.slide+xml"/>
  <Override PartName="/ppt/slides/slide81.xml" ContentType="application/vnd.openxmlformats-officedocument.presentationml.slide+xml"/>
  <Override PartName="/ppt/slides/slide82.xml" ContentType="application/vnd.openxmlformats-officedocument.presentationml.slide+xml"/>
  <Override PartName="/ppt/slides/slide83.xml" ContentType="application/vnd.openxmlformats-officedocument.presentationml.slide+xml"/>
  <Override PartName="/ppt/slides/slide84.xml" ContentType="application/vnd.openxmlformats-officedocument.presentationml.slide+xml"/>
  <Override PartName="/ppt/slides/slide85.xml" ContentType="application/vnd.openxmlformats-officedocument.presentationml.slide+xml"/>
  <Override PartName="/ppt/slides/slide86.xml" ContentType="application/vnd.openxmlformats-officedocument.presentationml.slide+xml"/>
  <Override PartName="/ppt/slides/slide87.xml" ContentType="application/vnd.openxmlformats-officedocument.presentationml.slide+xml"/>
  <Override PartName="/ppt/slides/slide88.xml" ContentType="application/vnd.openxmlformats-officedocument.presentationml.slide+xml"/>
  <Override PartName="/ppt/slides/slide89.xml" ContentType="application/vnd.openxmlformats-officedocument.presentationml.slide+xml"/>
  <Override PartName="/ppt/slides/slide90.xml" ContentType="application/vnd.openxmlformats-officedocument.presentationml.slide+xml"/>
  <Override PartName="/ppt/slides/slide91.xml" ContentType="application/vnd.openxmlformats-officedocument.presentationml.slide+xml"/>
  <Override PartName="/ppt/slides/slide92.xml" ContentType="application/vnd.openxmlformats-officedocument.presentationml.slide+xml"/>
  <Override PartName="/ppt/slides/slide93.xml" ContentType="application/vnd.openxmlformats-officedocument.presentationml.slide+xml"/>
  <Override PartName="/ppt/slides/slide94.xml" ContentType="application/vnd.openxmlformats-officedocument.presentationml.slide+xml"/>
  <Override PartName="/ppt/slides/slide95.xml" ContentType="application/vnd.openxmlformats-officedocument.presentationml.slide+xml"/>
  <Override PartName="/ppt/slides/slide96.xml" ContentType="application/vnd.openxmlformats-officedocument.presentationml.slide+xml"/>
  <Override PartName="/ppt/slides/slide97.xml" ContentType="application/vnd.openxmlformats-officedocument.presentationml.slide+xml"/>
  <Override PartName="/ppt/slides/slide98.xml" ContentType="application/vnd.openxmlformats-officedocument.presentationml.slide+xml"/>
  <Override PartName="/ppt/slides/slide99.xml" ContentType="application/vnd.openxmlformats-officedocument.presentationml.slide+xml"/>
  <Override PartName="/ppt/slides/slide100.xml" ContentType="application/vnd.openxmlformats-officedocument.presentationml.slide+xml"/>
  <Override PartName="/ppt/slides/slide101.xml" ContentType="application/vnd.openxmlformats-officedocument.presentationml.slide+xml"/>
  <Override PartName="/ppt/slides/slide102.xml" ContentType="application/vnd.openxmlformats-officedocument.presentationml.slide+xml"/>
  <Override PartName="/ppt/slides/slide103.xml" ContentType="application/vnd.openxmlformats-officedocument.presentationml.slide+xml"/>
  <Override PartName="/ppt/slides/slide104.xml" ContentType="application/vnd.openxmlformats-officedocument.presentationml.slide+xml"/>
  <Override PartName="/ppt/slides/slide105.xml" ContentType="application/vnd.openxmlformats-officedocument.presentationml.slide+xml"/>
  <Override PartName="/ppt/slides/slide106.xml" ContentType="application/vnd.openxmlformats-officedocument.presentationml.slide+xml"/>
  <Override PartName="/ppt/slides/slide107.xml" ContentType="application/vnd.openxmlformats-officedocument.presentationml.slide+xml"/>
  <Override PartName="/ppt/slides/slide108.xml" ContentType="application/vnd.openxmlformats-officedocument.presentationml.slide+xml"/>
  <Override PartName="/ppt/slides/slide109.xml" ContentType="application/vnd.openxmlformats-officedocument.presentationml.slide+xml"/>
  <Override PartName="/ppt/slides/slide110.xml" ContentType="application/vnd.openxmlformats-officedocument.presentationml.slide+xml"/>
  <Override PartName="/ppt/slides/slide111.xml" ContentType="application/vnd.openxmlformats-officedocument.presentationml.slide+xml"/>
  <Override PartName="/ppt/slides/slide112.xml" ContentType="application/vnd.openxmlformats-officedocument.presentationml.slide+xml"/>
  <Override PartName="/ppt/slides/slide113.xml" ContentType="application/vnd.openxmlformats-officedocument.presentationml.slide+xml"/>
  <Override PartName="/ppt/slides/slide114.xml" ContentType="application/vnd.openxmlformats-officedocument.presentationml.slide+xml"/>
  <Override PartName="/ppt/slides/slide115.xml" ContentType="application/vnd.openxmlformats-officedocument.presentationml.slide+xml"/>
  <Override PartName="/ppt/slides/slide116.xml" ContentType="application/vnd.openxmlformats-officedocument.presentationml.slide+xml"/>
  <Override PartName="/ppt/slides/slide117.xml" ContentType="application/vnd.openxmlformats-officedocument.presentationml.slide+xml"/>
  <Override PartName="/ppt/slides/slide118.xml" ContentType="application/vnd.openxmlformats-officedocument.presentationml.slide+xml"/>
  <Override PartName="/ppt/slides/slide119.xml" ContentType="application/vnd.openxmlformats-officedocument.presentationml.slide+xml"/>
  <Override PartName="/ppt/slides/slide120.xml" ContentType="application/vnd.openxmlformats-officedocument.presentationml.slide+xml"/>
  <Override PartName="/ppt/slides/slide121.xml" ContentType="application/vnd.openxmlformats-officedocument.presentationml.slide+xml"/>
  <Override PartName="/ppt/slides/slide122.xml" ContentType="application/vnd.openxmlformats-officedocument.presentationml.slide+xml"/>
  <Override PartName="/ppt/slides/slide123.xml" ContentType="application/vnd.openxmlformats-officedocument.presentationml.slide+xml"/>
  <Override PartName="/ppt/slides/slide124.xml" ContentType="application/vnd.openxmlformats-officedocument.presentationml.slide+xml"/>
  <Override PartName="/ppt/slides/slide125.xml" ContentType="application/vnd.openxmlformats-officedocument.presentationml.slide+xml"/>
  <Override PartName="/ppt/slides/slide126.xml" ContentType="application/vnd.openxmlformats-officedocument.presentationml.slide+xml"/>
  <Override PartName="/ppt/slides/slide127.xml" ContentType="application/vnd.openxmlformats-officedocument.presentationml.slide+xml"/>
  <Override PartName="/ppt/slides/slide128.xml" ContentType="application/vnd.openxmlformats-officedocument.presentationml.slide+xml"/>
  <Override PartName="/ppt/slides/slide129.xml" ContentType="application/vnd.openxmlformats-officedocument.presentationml.slide+xml"/>
  <Override PartName="/ppt/slides/slide130.xml" ContentType="application/vnd.openxmlformats-officedocument.presentationml.slide+xml"/>
  <Override PartName="/ppt/slides/slide131.xml" ContentType="application/vnd.openxmlformats-officedocument.presentationml.slide+xml"/>
  <Override PartName="/ppt/slides/slide132.xml" ContentType="application/vnd.openxmlformats-officedocument.presentationml.slide+xml"/>
  <Override PartName="/ppt/slides/slide133.xml" ContentType="application/vnd.openxmlformats-officedocument.presentationml.slide+xml"/>
  <Override PartName="/ppt/slides/slide134.xml" ContentType="application/vnd.openxmlformats-officedocument.presentationml.slide+xml"/>
  <Override PartName="/ppt/slides/slide135.xml" ContentType="application/vnd.openxmlformats-officedocument.presentationml.slide+xml"/>
  <Override PartName="/ppt/slides/slide136.xml" ContentType="application/vnd.openxmlformats-officedocument.presentationml.slide+xml"/>
  <Override PartName="/ppt/slides/slide137.xml" ContentType="application/vnd.openxmlformats-officedocument.presentationml.slide+xml"/>
  <Override PartName="/ppt/slides/slide138.xml" ContentType="application/vnd.openxmlformats-officedocument.presentationml.slide+xml"/>
  <Override PartName="/ppt/slides/slide139.xml" ContentType="application/vnd.openxmlformats-officedocument.presentationml.slide+xml"/>
  <Override PartName="/ppt/slides/slide140.xml" ContentType="application/vnd.openxmlformats-officedocument.presentationml.slide+xml"/>
  <Override PartName="/ppt/slides/slide141.xml" ContentType="application/vnd.openxmlformats-officedocument.presentationml.slide+xml"/>
  <Override PartName="/ppt/slides/slide142.xml" ContentType="application/vnd.openxmlformats-officedocument.presentationml.slide+xml"/>
  <Override PartName="/ppt/slides/slide143.xml" ContentType="application/vnd.openxmlformats-officedocument.presentationml.slide+xml"/>
  <Override PartName="/ppt/slides/slide144.xml" ContentType="application/vnd.openxmlformats-officedocument.presentationml.slide+xml"/>
  <Override PartName="/ppt/slides/slide145.xml" ContentType="application/vnd.openxmlformats-officedocument.presentationml.slide+xml"/>
  <Override PartName="/ppt/slides/slide146.xml" ContentType="application/vnd.openxmlformats-officedocument.presentationml.slide+xml"/>
  <Override PartName="/ppt/slides/slide147.xml" ContentType="application/vnd.openxmlformats-officedocument.presentationml.slide+xml"/>
  <Override PartName="/ppt/slides/slide148.xml" ContentType="application/vnd.openxmlformats-officedocument.presentationml.slide+xml"/>
  <Override PartName="/ppt/slides/slide149.xml" ContentType="application/vnd.openxmlformats-officedocument.presentationml.slide+xml"/>
  <Override PartName="/ppt/slides/slide150.xml" ContentType="application/vnd.openxmlformats-officedocument.presentationml.slide+xml"/>
  <Override PartName="/ppt/slides/slide151.xml" ContentType="application/vnd.openxmlformats-officedocument.presentationml.slide+xml"/>
  <Override PartName="/ppt/slides/slide152.xml" ContentType="application/vnd.openxmlformats-officedocument.presentationml.slide+xml"/>
  <Override PartName="/ppt/slides/slide153.xml" ContentType="application/vnd.openxmlformats-officedocument.presentationml.slide+xml"/>
  <Override PartName="/ppt/slides/slide154.xml" ContentType="application/vnd.openxmlformats-officedocument.presentationml.slide+xml"/>
  <Override PartName="/ppt/slides/slide155.xml" ContentType="application/vnd.openxmlformats-officedocument.presentationml.slide+xml"/>
  <Override PartName="/ppt/slides/slide156.xml" ContentType="application/vnd.openxmlformats-officedocument.presentationml.slide+xml"/>
  <Override PartName="/ppt/slides/slide157.xml" ContentType="application/vnd.openxmlformats-officedocument.presentationml.slide+xml"/>
  <Override PartName="/ppt/slides/slide158.xml" ContentType="application/vnd.openxmlformats-officedocument.presentationml.slide+xml"/>
  <Override PartName="/ppt/slides/slide159.xml" ContentType="application/vnd.openxmlformats-officedocument.presentationml.slide+xml"/>
  <Override PartName="/ppt/slides/slide160.xml" ContentType="application/vnd.openxmlformats-officedocument.presentationml.slide+xml"/>
  <Override PartName="/ppt/slides/slide161.xml" ContentType="application/vnd.openxmlformats-officedocument.presentationml.slide+xml"/>
  <Override PartName="/ppt/slides/slide162.xml" ContentType="application/vnd.openxmlformats-officedocument.presentationml.slide+xml"/>
  <Override PartName="/ppt/slides/slide163.xml" ContentType="application/vnd.openxmlformats-officedocument.presentationml.slide+xml"/>
  <Override PartName="/ppt/slides/slide164.xml" ContentType="application/vnd.openxmlformats-officedocument.presentationml.slide+xml"/>
  <Override PartName="/ppt/slides/slide165.xml" ContentType="application/vnd.openxmlformats-officedocument.presentationml.slide+xml"/>
  <Override PartName="/ppt/slides/slide166.xml" ContentType="application/vnd.openxmlformats-officedocument.presentationml.slide+xml"/>
  <Override PartName="/ppt/slides/slide167.xml" ContentType="application/vnd.openxmlformats-officedocument.presentationml.slide+xml"/>
  <Override PartName="/ppt/slides/slide168.xml" ContentType="application/vnd.openxmlformats-officedocument.presentationml.slide+xml"/>
  <Override PartName="/ppt/slides/slide169.xml" ContentType="application/vnd.openxmlformats-officedocument.presentationml.slide+xml"/>
  <Override PartName="/ppt/slides/slide170.xml" ContentType="application/vnd.openxmlformats-officedocument.presentationml.slide+xml"/>
  <Override PartName="/ppt/slides/slide171.xml" ContentType="application/vnd.openxmlformats-officedocument.presentationml.slide+xml"/>
  <Override PartName="/ppt/slides/slide172.xml" ContentType="application/vnd.openxmlformats-officedocument.presentationml.slide+xml"/>
  <Override PartName="/ppt/slides/slide173.xml" ContentType="application/vnd.openxmlformats-officedocument.presentationml.slide+xml"/>
  <Override PartName="/ppt/slides/slide174.xml" ContentType="application/vnd.openxmlformats-officedocument.presentationml.slide+xml"/>
  <Override PartName="/ppt/slides/slide175.xml" ContentType="application/vnd.openxmlformats-officedocument.presentationml.slide+xml"/>
  <Override PartName="/ppt/slides/slide176.xml" ContentType="application/vnd.openxmlformats-officedocument.presentationml.slide+xml"/>
  <Override PartName="/ppt/slides/slide177.xml" ContentType="application/vnd.openxmlformats-officedocument.presentationml.slide+xml"/>
  <Override PartName="/ppt/slides/slide178.xml" ContentType="application/vnd.openxmlformats-officedocument.presentationml.slide+xml"/>
  <Override PartName="/ppt/slides/slide179.xml" ContentType="application/vnd.openxmlformats-officedocument.presentationml.slide+xml"/>
  <Override PartName="/ppt/slides/slide180.xml" ContentType="application/vnd.openxmlformats-officedocument.presentationml.slide+xml"/>
  <Override PartName="/ppt/slides/slide181.xml" ContentType="application/vnd.openxmlformats-officedocument.presentationml.slide+xml"/>
  <Override PartName="/ppt/slides/slide182.xml" ContentType="application/vnd.openxmlformats-officedocument.presentationml.slide+xml"/>
  <Override PartName="/ppt/slides/slide183.xml" ContentType="application/vnd.openxmlformats-officedocument.presentationml.slide+xml"/>
  <Override PartName="/ppt/slides/slide184.xml" ContentType="application/vnd.openxmlformats-officedocument.presentationml.slide+xml"/>
  <Override PartName="/ppt/slides/slide185.xml" ContentType="application/vnd.openxmlformats-officedocument.presentationml.slide+xml"/>
  <Override PartName="/ppt/slides/slide186.xml" ContentType="application/vnd.openxmlformats-officedocument.presentationml.slide+xml"/>
  <Override PartName="/ppt/slides/slide187.xml" ContentType="application/vnd.openxmlformats-officedocument.presentationml.slide+xml"/>
  <Override PartName="/ppt/slides/slide188.xml" ContentType="application/vnd.openxmlformats-officedocument.presentationml.slide+xml"/>
  <Override PartName="/ppt/slides/slide189.xml" ContentType="application/vnd.openxmlformats-officedocument.presentationml.slide+xml"/>
  <Override PartName="/ppt/slides/slide190.xml" ContentType="application/vnd.openxmlformats-officedocument.presentationml.slide+xml"/>
  <Override PartName="/ppt/slides/slide191.xml" ContentType="application/vnd.openxmlformats-officedocument.presentationml.slide+xml"/>
  <Override PartName="/ppt/slides/slide192.xml" ContentType="application/vnd.openxmlformats-officedocument.presentationml.slide+xml"/>
  <Override PartName="/ppt/slides/slide19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theme/theme2.xml" ContentType="application/vnd.openxmlformats-officedocument.them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tags/tag14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  <p:sldMasterId id="2147484005" r:id="rId5"/>
  </p:sldMasterIdLst>
  <p:notesMasterIdLst>
    <p:notesMasterId r:id="rId199"/>
  </p:notesMasterIdLst>
  <p:handoutMasterIdLst>
    <p:handoutMasterId r:id="rId200"/>
  </p:handoutMasterIdLst>
  <p:sldIdLst>
    <p:sldId id="2142534925" r:id="rId6"/>
    <p:sldId id="305" r:id="rId7"/>
    <p:sldId id="2142535130" r:id="rId8"/>
    <p:sldId id="2142535133" r:id="rId9"/>
    <p:sldId id="364" r:id="rId10"/>
    <p:sldId id="2142535125" r:id="rId11"/>
    <p:sldId id="307" r:id="rId12"/>
    <p:sldId id="308" r:id="rId13"/>
    <p:sldId id="318" r:id="rId14"/>
    <p:sldId id="2142535119" r:id="rId15"/>
    <p:sldId id="315" r:id="rId16"/>
    <p:sldId id="316" r:id="rId17"/>
    <p:sldId id="2142535118" r:id="rId18"/>
    <p:sldId id="2142535158" r:id="rId19"/>
    <p:sldId id="319" r:id="rId20"/>
    <p:sldId id="320" r:id="rId21"/>
    <p:sldId id="2142535126" r:id="rId22"/>
    <p:sldId id="322" r:id="rId23"/>
    <p:sldId id="2142535127" r:id="rId24"/>
    <p:sldId id="2142535128" r:id="rId25"/>
    <p:sldId id="326" r:id="rId26"/>
    <p:sldId id="327" r:id="rId27"/>
    <p:sldId id="267" r:id="rId28"/>
    <p:sldId id="2142534936" r:id="rId29"/>
    <p:sldId id="328" r:id="rId30"/>
    <p:sldId id="2142535134" r:id="rId31"/>
    <p:sldId id="329" r:id="rId32"/>
    <p:sldId id="330" r:id="rId33"/>
    <p:sldId id="331" r:id="rId34"/>
    <p:sldId id="2142535159" r:id="rId35"/>
    <p:sldId id="332" r:id="rId36"/>
    <p:sldId id="333" r:id="rId37"/>
    <p:sldId id="2142535135" r:id="rId38"/>
    <p:sldId id="334" r:id="rId39"/>
    <p:sldId id="359" r:id="rId40"/>
    <p:sldId id="2142534937" r:id="rId41"/>
    <p:sldId id="335" r:id="rId42"/>
    <p:sldId id="2142535136" r:id="rId43"/>
    <p:sldId id="337" r:id="rId44"/>
    <p:sldId id="338" r:id="rId45"/>
    <p:sldId id="339" r:id="rId46"/>
    <p:sldId id="340" r:id="rId47"/>
    <p:sldId id="341" r:id="rId48"/>
    <p:sldId id="342" r:id="rId49"/>
    <p:sldId id="343" r:id="rId50"/>
    <p:sldId id="344" r:id="rId51"/>
    <p:sldId id="345" r:id="rId52"/>
    <p:sldId id="360" r:id="rId53"/>
    <p:sldId id="2142535010" r:id="rId54"/>
    <p:sldId id="346" r:id="rId55"/>
    <p:sldId id="2142535137" r:id="rId56"/>
    <p:sldId id="347" r:id="rId57"/>
    <p:sldId id="348" r:id="rId58"/>
    <p:sldId id="294" r:id="rId59"/>
    <p:sldId id="349" r:id="rId60"/>
    <p:sldId id="350" r:id="rId61"/>
    <p:sldId id="351" r:id="rId62"/>
    <p:sldId id="352" r:id="rId63"/>
    <p:sldId id="2142535142" r:id="rId64"/>
    <p:sldId id="258" r:id="rId65"/>
    <p:sldId id="607" r:id="rId66"/>
    <p:sldId id="608" r:id="rId67"/>
    <p:sldId id="2142535139" r:id="rId68"/>
    <p:sldId id="609" r:id="rId69"/>
    <p:sldId id="610" r:id="rId70"/>
    <p:sldId id="2142535140" r:id="rId71"/>
    <p:sldId id="2142535141" r:id="rId72"/>
    <p:sldId id="2142535144" r:id="rId73"/>
    <p:sldId id="256" r:id="rId74"/>
    <p:sldId id="2142535160" r:id="rId75"/>
    <p:sldId id="2142535161" r:id="rId76"/>
    <p:sldId id="2142535162" r:id="rId77"/>
    <p:sldId id="2142535163" r:id="rId78"/>
    <p:sldId id="2142535164" r:id="rId79"/>
    <p:sldId id="2142535165" r:id="rId80"/>
    <p:sldId id="2142535166" r:id="rId81"/>
    <p:sldId id="2142535146" r:id="rId82"/>
    <p:sldId id="2142535147" r:id="rId83"/>
    <p:sldId id="2142535148" r:id="rId84"/>
    <p:sldId id="2142535149" r:id="rId85"/>
    <p:sldId id="2142535150" r:id="rId86"/>
    <p:sldId id="2142535151" r:id="rId87"/>
    <p:sldId id="2142535152" r:id="rId88"/>
    <p:sldId id="2142535153" r:id="rId89"/>
    <p:sldId id="2142535154" r:id="rId90"/>
    <p:sldId id="2142535155" r:id="rId91"/>
    <p:sldId id="2142535156" r:id="rId92"/>
    <p:sldId id="353" r:id="rId93"/>
    <p:sldId id="354" r:id="rId94"/>
    <p:sldId id="355" r:id="rId95"/>
    <p:sldId id="356" r:id="rId96"/>
    <p:sldId id="2142535116" r:id="rId97"/>
    <p:sldId id="357" r:id="rId98"/>
    <p:sldId id="366" r:id="rId99"/>
    <p:sldId id="2142534938" r:id="rId100"/>
    <p:sldId id="2142535012" r:id="rId101"/>
    <p:sldId id="2142535169" r:id="rId102"/>
    <p:sldId id="2142535174" r:id="rId103"/>
    <p:sldId id="2142535175" r:id="rId104"/>
    <p:sldId id="2142535176" r:id="rId105"/>
    <p:sldId id="2142535177" r:id="rId106"/>
    <p:sldId id="2142535024" r:id="rId107"/>
    <p:sldId id="2142535025" r:id="rId108"/>
    <p:sldId id="2142535026" r:id="rId109"/>
    <p:sldId id="2142535167" r:id="rId110"/>
    <p:sldId id="2142535027" r:id="rId111"/>
    <p:sldId id="2142535168" r:id="rId112"/>
    <p:sldId id="2142535028" r:id="rId113"/>
    <p:sldId id="2142535029" r:id="rId114"/>
    <p:sldId id="2142535030" r:id="rId115"/>
    <p:sldId id="2142535031" r:id="rId116"/>
    <p:sldId id="2142535032" r:id="rId117"/>
    <p:sldId id="2142535033" r:id="rId118"/>
    <p:sldId id="2142535034" r:id="rId119"/>
    <p:sldId id="2142535035" r:id="rId120"/>
    <p:sldId id="268" r:id="rId121"/>
    <p:sldId id="2142535013" r:id="rId122"/>
    <p:sldId id="2142535036" r:id="rId123"/>
    <p:sldId id="2142535037" r:id="rId124"/>
    <p:sldId id="2142535173" r:id="rId125"/>
    <p:sldId id="2142535038" r:id="rId126"/>
    <p:sldId id="2142535039" r:id="rId127"/>
    <p:sldId id="336" r:id="rId128"/>
    <p:sldId id="2142535040" r:id="rId129"/>
    <p:sldId id="2142535042" r:id="rId130"/>
    <p:sldId id="2142535043" r:id="rId131"/>
    <p:sldId id="278" r:id="rId132"/>
    <p:sldId id="279" r:id="rId133"/>
    <p:sldId id="2142535015" r:id="rId134"/>
    <p:sldId id="2142535044" r:id="rId135"/>
    <p:sldId id="2142535045" r:id="rId136"/>
    <p:sldId id="2142535132" r:id="rId137"/>
    <p:sldId id="2142535047" r:id="rId138"/>
    <p:sldId id="2142535048" r:id="rId139"/>
    <p:sldId id="2142535050" r:id="rId140"/>
    <p:sldId id="2142535051" r:id="rId141"/>
    <p:sldId id="2142535052" r:id="rId142"/>
    <p:sldId id="2142535053" r:id="rId143"/>
    <p:sldId id="2142535054" r:id="rId144"/>
    <p:sldId id="2142535055" r:id="rId145"/>
    <p:sldId id="2142535059" r:id="rId146"/>
    <p:sldId id="298" r:id="rId147"/>
    <p:sldId id="299" r:id="rId148"/>
    <p:sldId id="2142535017" r:id="rId149"/>
    <p:sldId id="2142535060" r:id="rId150"/>
    <p:sldId id="358" r:id="rId151"/>
    <p:sldId id="2142535178" r:id="rId152"/>
    <p:sldId id="2142535179" r:id="rId153"/>
    <p:sldId id="2142535061" r:id="rId154"/>
    <p:sldId id="2142535062" r:id="rId155"/>
    <p:sldId id="361" r:id="rId156"/>
    <p:sldId id="362" r:id="rId157"/>
    <p:sldId id="2142535063" r:id="rId158"/>
    <p:sldId id="2142535064" r:id="rId159"/>
    <p:sldId id="2142535065" r:id="rId160"/>
    <p:sldId id="2142535066" r:id="rId161"/>
    <p:sldId id="2142535117" r:id="rId162"/>
    <p:sldId id="367" r:id="rId163"/>
    <p:sldId id="369" r:id="rId164"/>
    <p:sldId id="2142535067" r:id="rId165"/>
    <p:sldId id="2142535183" r:id="rId166"/>
    <p:sldId id="2142535188" r:id="rId167"/>
    <p:sldId id="2142535191" r:id="rId168"/>
    <p:sldId id="2142535192" r:id="rId169"/>
    <p:sldId id="2142535068" r:id="rId170"/>
    <p:sldId id="2142535069" r:id="rId171"/>
    <p:sldId id="2142535180" r:id="rId172"/>
    <p:sldId id="2142535071" r:id="rId173"/>
    <p:sldId id="2142535185" r:id="rId174"/>
    <p:sldId id="2142535187" r:id="rId175"/>
    <p:sldId id="2142535184" r:id="rId176"/>
    <p:sldId id="2142535079" r:id="rId177"/>
    <p:sldId id="2142535181" r:id="rId178"/>
    <p:sldId id="2142535194" r:id="rId179"/>
    <p:sldId id="2142535193" r:id="rId180"/>
    <p:sldId id="2142535186" r:id="rId181"/>
    <p:sldId id="2142535072" r:id="rId182"/>
    <p:sldId id="2142535073" r:id="rId183"/>
    <p:sldId id="2142535074" r:id="rId184"/>
    <p:sldId id="2142535075" r:id="rId185"/>
    <p:sldId id="2142535076" r:id="rId186"/>
    <p:sldId id="2142535077" r:id="rId187"/>
    <p:sldId id="266" r:id="rId188"/>
    <p:sldId id="2142535078" r:id="rId189"/>
    <p:sldId id="2142535092" r:id="rId190"/>
    <p:sldId id="2142535093" r:id="rId191"/>
    <p:sldId id="2142535094" r:id="rId192"/>
    <p:sldId id="2142535189" r:id="rId193"/>
    <p:sldId id="2142535195" r:id="rId194"/>
    <p:sldId id="2142535190" r:id="rId195"/>
    <p:sldId id="2142535114" r:id="rId196"/>
    <p:sldId id="2142535115" r:id="rId197"/>
    <p:sldId id="2142535022" r:id="rId198"/>
  </p:sldIdLst>
  <p:sldSz cx="12192000" cy="6858000"/>
  <p:notesSz cx="6858000" cy="9144000"/>
  <p:custDataLst>
    <p:tags r:id="rId201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E8B5E7E-DBCF-79D3-B621-5C919C739228}" name="Doriana Monteleone (ETF)" initials="DM" userId="S::Doriana.Monteleone@etf.europa.eu::6711a7f3-d780-41a5-88be-c386e24fad6b" providerId="AD"/>
  <p188:author id="{2A1405DC-F5E2-AD9A-2363-AD153545B567}" name="Jolien van Uden (ETF)" initials="Jv" userId="S::Jolien.van-Uden@etf.europa.eu::69cdb233-d88d-40c4-b602-23815daa2c41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8B6AB"/>
    <a:srgbClr val="EEE7E4"/>
    <a:srgbClr val="0E367B"/>
    <a:srgbClr val="F2F2F2"/>
    <a:srgbClr val="0B3A75"/>
    <a:srgbClr val="27257A"/>
    <a:srgbClr val="000000"/>
    <a:srgbClr val="005191"/>
    <a:srgbClr val="750D68"/>
    <a:srgbClr val="FFDC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F4F09BF1-861D-E74C-8112-DE5EEF3936BA}" v="1189" dt="2026-04-29T04:47:55.597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18603FDC-E32A-4AB5-989C-0864C3EAD2B8}" styleName="Themed Style 2 - Accent 2">
    <a:tblBg>
      <a:fillRef idx="3">
        <a:schemeClr val="accent2"/>
      </a:fillRef>
      <a:effectRef idx="3">
        <a:schemeClr val="accent2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2">
                <a:tint val="50000"/>
              </a:schemeClr>
            </a:lnRef>
          </a:left>
          <a:right>
            <a:lnRef idx="1">
              <a:schemeClr val="accent2">
                <a:tint val="50000"/>
              </a:schemeClr>
            </a:lnRef>
          </a:right>
          <a:top>
            <a:lnRef idx="1">
              <a:schemeClr val="accent2">
                <a:tint val="50000"/>
              </a:schemeClr>
            </a:lnRef>
          </a:top>
          <a:bottom>
            <a:lnRef idx="1">
              <a:schemeClr val="accent2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D113A9D2-9D6B-4929-AA2D-F23B5EE8CBE7}" styleName="Themed Style 2 - Accent 1">
    <a:tblBg>
      <a:fillRef idx="3">
        <a:schemeClr val="accent1"/>
      </a:fillRef>
      <a:effectRef idx="3">
        <a:schemeClr val="accent1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1">
                <a:tint val="50000"/>
              </a:schemeClr>
            </a:lnRef>
          </a:left>
          <a:right>
            <a:lnRef idx="1">
              <a:schemeClr val="accent1">
                <a:tint val="50000"/>
              </a:schemeClr>
            </a:lnRef>
          </a:right>
          <a:top>
            <a:lnRef idx="1">
              <a:schemeClr val="accent1">
                <a:tint val="50000"/>
              </a:schemeClr>
            </a:lnRef>
          </a:top>
          <a:bottom>
            <a:lnRef idx="1">
              <a:schemeClr val="accent1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327F97BB-C833-4FB7-BDE5-3F7075034690}" styleName="Themed Style 2 - Accent 5">
    <a:tblBg>
      <a:fillRef idx="3">
        <a:schemeClr val="accent5"/>
      </a:fillRef>
      <a:effectRef idx="3">
        <a:schemeClr val="accent5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5">
                <a:tint val="50000"/>
              </a:schemeClr>
            </a:lnRef>
          </a:left>
          <a:right>
            <a:lnRef idx="1">
              <a:schemeClr val="accent5">
                <a:tint val="50000"/>
              </a:schemeClr>
            </a:lnRef>
          </a:right>
          <a:top>
            <a:lnRef idx="1">
              <a:schemeClr val="accent5">
                <a:tint val="50000"/>
              </a:schemeClr>
            </a:lnRef>
          </a:top>
          <a:bottom>
            <a:lnRef idx="1">
              <a:schemeClr val="accent5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638B1855-1B75-4FBE-930C-398BA8C253C6}" styleName="Themed Style 2 - Accent 6">
    <a:tblBg>
      <a:fillRef idx="3">
        <a:schemeClr val="accent6"/>
      </a:fillRef>
      <a:effectRef idx="3">
        <a:schemeClr val="accent6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6">
                <a:tint val="50000"/>
              </a:schemeClr>
            </a:lnRef>
          </a:left>
          <a:right>
            <a:lnRef idx="1">
              <a:schemeClr val="accent6">
                <a:tint val="50000"/>
              </a:schemeClr>
            </a:lnRef>
          </a:right>
          <a:top>
            <a:lnRef idx="1">
              <a:schemeClr val="accent6">
                <a:tint val="50000"/>
              </a:schemeClr>
            </a:lnRef>
          </a:top>
          <a:bottom>
            <a:lnRef idx="1">
              <a:schemeClr val="accent6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9DCAF9ED-07DC-4A11-8D7F-57B35C25682E}" styleName="Medium Style 1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9756"/>
    <p:restoredTop sz="91641"/>
  </p:normalViewPr>
  <p:slideViewPr>
    <p:cSldViewPr snapToGrid="0">
      <p:cViewPr varScale="1">
        <p:scale>
          <a:sx n="98" d="100"/>
          <a:sy n="98" d="100"/>
        </p:scale>
        <p:origin x="776" y="19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80" d="100"/>
        <a:sy n="8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117" Type="http://schemas.openxmlformats.org/officeDocument/2006/relationships/slide" Target="slides/slide112.xml"/><Relationship Id="rId21" Type="http://schemas.openxmlformats.org/officeDocument/2006/relationships/slide" Target="slides/slide16.xml"/><Relationship Id="rId42" Type="http://schemas.openxmlformats.org/officeDocument/2006/relationships/slide" Target="slides/slide37.xml"/><Relationship Id="rId63" Type="http://schemas.openxmlformats.org/officeDocument/2006/relationships/slide" Target="slides/slide58.xml"/><Relationship Id="rId84" Type="http://schemas.openxmlformats.org/officeDocument/2006/relationships/slide" Target="slides/slide79.xml"/><Relationship Id="rId138" Type="http://schemas.openxmlformats.org/officeDocument/2006/relationships/slide" Target="slides/slide133.xml"/><Relationship Id="rId159" Type="http://schemas.openxmlformats.org/officeDocument/2006/relationships/slide" Target="slides/slide154.xml"/><Relationship Id="rId170" Type="http://schemas.openxmlformats.org/officeDocument/2006/relationships/slide" Target="slides/slide165.xml"/><Relationship Id="rId191" Type="http://schemas.openxmlformats.org/officeDocument/2006/relationships/slide" Target="slides/slide186.xml"/><Relationship Id="rId205" Type="http://schemas.openxmlformats.org/officeDocument/2006/relationships/tableStyles" Target="tableStyles.xml"/><Relationship Id="rId107" Type="http://schemas.openxmlformats.org/officeDocument/2006/relationships/slide" Target="slides/slide102.xml"/><Relationship Id="rId11" Type="http://schemas.openxmlformats.org/officeDocument/2006/relationships/slide" Target="slides/slide6.xml"/><Relationship Id="rId32" Type="http://schemas.openxmlformats.org/officeDocument/2006/relationships/slide" Target="slides/slide27.xml"/><Relationship Id="rId53" Type="http://schemas.openxmlformats.org/officeDocument/2006/relationships/slide" Target="slides/slide48.xml"/><Relationship Id="rId74" Type="http://schemas.openxmlformats.org/officeDocument/2006/relationships/slide" Target="slides/slide69.xml"/><Relationship Id="rId128" Type="http://schemas.openxmlformats.org/officeDocument/2006/relationships/slide" Target="slides/slide123.xml"/><Relationship Id="rId149" Type="http://schemas.openxmlformats.org/officeDocument/2006/relationships/slide" Target="slides/slide144.xml"/><Relationship Id="rId5" Type="http://schemas.openxmlformats.org/officeDocument/2006/relationships/slideMaster" Target="slideMasters/slideMaster2.xml"/><Relationship Id="rId95" Type="http://schemas.openxmlformats.org/officeDocument/2006/relationships/slide" Target="slides/slide90.xml"/><Relationship Id="rId160" Type="http://schemas.openxmlformats.org/officeDocument/2006/relationships/slide" Target="slides/slide155.xml"/><Relationship Id="rId181" Type="http://schemas.openxmlformats.org/officeDocument/2006/relationships/slide" Target="slides/slide176.xml"/><Relationship Id="rId22" Type="http://schemas.openxmlformats.org/officeDocument/2006/relationships/slide" Target="slides/slide17.xml"/><Relationship Id="rId43" Type="http://schemas.openxmlformats.org/officeDocument/2006/relationships/slide" Target="slides/slide38.xml"/><Relationship Id="rId64" Type="http://schemas.openxmlformats.org/officeDocument/2006/relationships/slide" Target="slides/slide59.xml"/><Relationship Id="rId118" Type="http://schemas.openxmlformats.org/officeDocument/2006/relationships/slide" Target="slides/slide113.xml"/><Relationship Id="rId139" Type="http://schemas.openxmlformats.org/officeDocument/2006/relationships/slide" Target="slides/slide134.xml"/><Relationship Id="rId85" Type="http://schemas.openxmlformats.org/officeDocument/2006/relationships/slide" Target="slides/slide80.xml"/><Relationship Id="rId150" Type="http://schemas.openxmlformats.org/officeDocument/2006/relationships/slide" Target="slides/slide145.xml"/><Relationship Id="rId171" Type="http://schemas.openxmlformats.org/officeDocument/2006/relationships/slide" Target="slides/slide166.xml"/><Relationship Id="rId192" Type="http://schemas.openxmlformats.org/officeDocument/2006/relationships/slide" Target="slides/slide187.xml"/><Relationship Id="rId206" Type="http://schemas.microsoft.com/office/2015/10/relationships/revisionInfo" Target="revisionInfo.xml"/><Relationship Id="rId12" Type="http://schemas.openxmlformats.org/officeDocument/2006/relationships/slide" Target="slides/slide7.xml"/><Relationship Id="rId33" Type="http://schemas.openxmlformats.org/officeDocument/2006/relationships/slide" Target="slides/slide28.xml"/><Relationship Id="rId108" Type="http://schemas.openxmlformats.org/officeDocument/2006/relationships/slide" Target="slides/slide103.xml"/><Relationship Id="rId129" Type="http://schemas.openxmlformats.org/officeDocument/2006/relationships/slide" Target="slides/slide124.xml"/><Relationship Id="rId54" Type="http://schemas.openxmlformats.org/officeDocument/2006/relationships/slide" Target="slides/slide49.xml"/><Relationship Id="rId75" Type="http://schemas.openxmlformats.org/officeDocument/2006/relationships/slide" Target="slides/slide70.xml"/><Relationship Id="rId96" Type="http://schemas.openxmlformats.org/officeDocument/2006/relationships/slide" Target="slides/slide91.xml"/><Relationship Id="rId140" Type="http://schemas.openxmlformats.org/officeDocument/2006/relationships/slide" Target="slides/slide135.xml"/><Relationship Id="rId161" Type="http://schemas.openxmlformats.org/officeDocument/2006/relationships/slide" Target="slides/slide156.xml"/><Relationship Id="rId182" Type="http://schemas.openxmlformats.org/officeDocument/2006/relationships/slide" Target="slides/slide177.xml"/><Relationship Id="rId6" Type="http://schemas.openxmlformats.org/officeDocument/2006/relationships/slide" Target="slides/slide1.xml"/><Relationship Id="rId23" Type="http://schemas.openxmlformats.org/officeDocument/2006/relationships/slide" Target="slides/slide18.xml"/><Relationship Id="rId119" Type="http://schemas.openxmlformats.org/officeDocument/2006/relationships/slide" Target="slides/slide114.xml"/><Relationship Id="rId44" Type="http://schemas.openxmlformats.org/officeDocument/2006/relationships/slide" Target="slides/slide39.xml"/><Relationship Id="rId65" Type="http://schemas.openxmlformats.org/officeDocument/2006/relationships/slide" Target="slides/slide60.xml"/><Relationship Id="rId86" Type="http://schemas.openxmlformats.org/officeDocument/2006/relationships/slide" Target="slides/slide81.xml"/><Relationship Id="rId130" Type="http://schemas.openxmlformats.org/officeDocument/2006/relationships/slide" Target="slides/slide125.xml"/><Relationship Id="rId151" Type="http://schemas.openxmlformats.org/officeDocument/2006/relationships/slide" Target="slides/slide146.xml"/><Relationship Id="rId172" Type="http://schemas.openxmlformats.org/officeDocument/2006/relationships/slide" Target="slides/slide167.xml"/><Relationship Id="rId193" Type="http://schemas.openxmlformats.org/officeDocument/2006/relationships/slide" Target="slides/slide188.xml"/><Relationship Id="rId207" Type="http://schemas.microsoft.com/office/2018/10/relationships/authors" Target="authors.xml"/><Relationship Id="rId13" Type="http://schemas.openxmlformats.org/officeDocument/2006/relationships/slide" Target="slides/slide8.xml"/><Relationship Id="rId109" Type="http://schemas.openxmlformats.org/officeDocument/2006/relationships/slide" Target="slides/slide104.xml"/><Relationship Id="rId34" Type="http://schemas.openxmlformats.org/officeDocument/2006/relationships/slide" Target="slides/slide29.xml"/><Relationship Id="rId55" Type="http://schemas.openxmlformats.org/officeDocument/2006/relationships/slide" Target="slides/slide50.xml"/><Relationship Id="rId76" Type="http://schemas.openxmlformats.org/officeDocument/2006/relationships/slide" Target="slides/slide71.xml"/><Relationship Id="rId97" Type="http://schemas.openxmlformats.org/officeDocument/2006/relationships/slide" Target="slides/slide92.xml"/><Relationship Id="rId120" Type="http://schemas.openxmlformats.org/officeDocument/2006/relationships/slide" Target="slides/slide115.xml"/><Relationship Id="rId141" Type="http://schemas.openxmlformats.org/officeDocument/2006/relationships/slide" Target="slides/slide136.xml"/><Relationship Id="rId7" Type="http://schemas.openxmlformats.org/officeDocument/2006/relationships/slide" Target="slides/slide2.xml"/><Relationship Id="rId162" Type="http://schemas.openxmlformats.org/officeDocument/2006/relationships/slide" Target="slides/slide157.xml"/><Relationship Id="rId183" Type="http://schemas.openxmlformats.org/officeDocument/2006/relationships/slide" Target="slides/slide178.xml"/><Relationship Id="rId24" Type="http://schemas.openxmlformats.org/officeDocument/2006/relationships/slide" Target="slides/slide19.xml"/><Relationship Id="rId40" Type="http://schemas.openxmlformats.org/officeDocument/2006/relationships/slide" Target="slides/slide35.xml"/><Relationship Id="rId45" Type="http://schemas.openxmlformats.org/officeDocument/2006/relationships/slide" Target="slides/slide40.xml"/><Relationship Id="rId66" Type="http://schemas.openxmlformats.org/officeDocument/2006/relationships/slide" Target="slides/slide61.xml"/><Relationship Id="rId87" Type="http://schemas.openxmlformats.org/officeDocument/2006/relationships/slide" Target="slides/slide82.xml"/><Relationship Id="rId110" Type="http://schemas.openxmlformats.org/officeDocument/2006/relationships/slide" Target="slides/slide105.xml"/><Relationship Id="rId115" Type="http://schemas.openxmlformats.org/officeDocument/2006/relationships/slide" Target="slides/slide110.xml"/><Relationship Id="rId131" Type="http://schemas.openxmlformats.org/officeDocument/2006/relationships/slide" Target="slides/slide126.xml"/><Relationship Id="rId136" Type="http://schemas.openxmlformats.org/officeDocument/2006/relationships/slide" Target="slides/slide131.xml"/><Relationship Id="rId157" Type="http://schemas.openxmlformats.org/officeDocument/2006/relationships/slide" Target="slides/slide152.xml"/><Relationship Id="rId178" Type="http://schemas.openxmlformats.org/officeDocument/2006/relationships/slide" Target="slides/slide173.xml"/><Relationship Id="rId61" Type="http://schemas.openxmlformats.org/officeDocument/2006/relationships/slide" Target="slides/slide56.xml"/><Relationship Id="rId82" Type="http://schemas.openxmlformats.org/officeDocument/2006/relationships/slide" Target="slides/slide77.xml"/><Relationship Id="rId152" Type="http://schemas.openxmlformats.org/officeDocument/2006/relationships/slide" Target="slides/slide147.xml"/><Relationship Id="rId173" Type="http://schemas.openxmlformats.org/officeDocument/2006/relationships/slide" Target="slides/slide168.xml"/><Relationship Id="rId194" Type="http://schemas.openxmlformats.org/officeDocument/2006/relationships/slide" Target="slides/slide189.xml"/><Relationship Id="rId199" Type="http://schemas.openxmlformats.org/officeDocument/2006/relationships/notesMaster" Target="notesMasters/notesMaster1.xml"/><Relationship Id="rId203" Type="http://schemas.openxmlformats.org/officeDocument/2006/relationships/viewProps" Target="viewProps.xml"/><Relationship Id="rId19" Type="http://schemas.openxmlformats.org/officeDocument/2006/relationships/slide" Target="slides/slide14.xml"/><Relationship Id="rId14" Type="http://schemas.openxmlformats.org/officeDocument/2006/relationships/slide" Target="slides/slide9.xml"/><Relationship Id="rId30" Type="http://schemas.openxmlformats.org/officeDocument/2006/relationships/slide" Target="slides/slide25.xml"/><Relationship Id="rId35" Type="http://schemas.openxmlformats.org/officeDocument/2006/relationships/slide" Target="slides/slide30.xml"/><Relationship Id="rId56" Type="http://schemas.openxmlformats.org/officeDocument/2006/relationships/slide" Target="slides/slide51.xml"/><Relationship Id="rId77" Type="http://schemas.openxmlformats.org/officeDocument/2006/relationships/slide" Target="slides/slide72.xml"/><Relationship Id="rId100" Type="http://schemas.openxmlformats.org/officeDocument/2006/relationships/slide" Target="slides/slide95.xml"/><Relationship Id="rId105" Type="http://schemas.openxmlformats.org/officeDocument/2006/relationships/slide" Target="slides/slide100.xml"/><Relationship Id="rId126" Type="http://schemas.openxmlformats.org/officeDocument/2006/relationships/slide" Target="slides/slide121.xml"/><Relationship Id="rId147" Type="http://schemas.openxmlformats.org/officeDocument/2006/relationships/slide" Target="slides/slide142.xml"/><Relationship Id="rId168" Type="http://schemas.openxmlformats.org/officeDocument/2006/relationships/slide" Target="slides/slide163.xml"/><Relationship Id="rId8" Type="http://schemas.openxmlformats.org/officeDocument/2006/relationships/slide" Target="slides/slide3.xml"/><Relationship Id="rId51" Type="http://schemas.openxmlformats.org/officeDocument/2006/relationships/slide" Target="slides/slide46.xml"/><Relationship Id="rId72" Type="http://schemas.openxmlformats.org/officeDocument/2006/relationships/slide" Target="slides/slide67.xml"/><Relationship Id="rId93" Type="http://schemas.openxmlformats.org/officeDocument/2006/relationships/slide" Target="slides/slide88.xml"/><Relationship Id="rId98" Type="http://schemas.openxmlformats.org/officeDocument/2006/relationships/slide" Target="slides/slide93.xml"/><Relationship Id="rId121" Type="http://schemas.openxmlformats.org/officeDocument/2006/relationships/slide" Target="slides/slide116.xml"/><Relationship Id="rId142" Type="http://schemas.openxmlformats.org/officeDocument/2006/relationships/slide" Target="slides/slide137.xml"/><Relationship Id="rId163" Type="http://schemas.openxmlformats.org/officeDocument/2006/relationships/slide" Target="slides/slide158.xml"/><Relationship Id="rId184" Type="http://schemas.openxmlformats.org/officeDocument/2006/relationships/slide" Target="slides/slide179.xml"/><Relationship Id="rId189" Type="http://schemas.openxmlformats.org/officeDocument/2006/relationships/slide" Target="slides/slide184.xml"/><Relationship Id="rId3" Type="http://schemas.openxmlformats.org/officeDocument/2006/relationships/customXml" Target="../customXml/item3.xml"/><Relationship Id="rId25" Type="http://schemas.openxmlformats.org/officeDocument/2006/relationships/slide" Target="slides/slide20.xml"/><Relationship Id="rId46" Type="http://schemas.openxmlformats.org/officeDocument/2006/relationships/slide" Target="slides/slide41.xml"/><Relationship Id="rId67" Type="http://schemas.openxmlformats.org/officeDocument/2006/relationships/slide" Target="slides/slide62.xml"/><Relationship Id="rId116" Type="http://schemas.openxmlformats.org/officeDocument/2006/relationships/slide" Target="slides/slide111.xml"/><Relationship Id="rId137" Type="http://schemas.openxmlformats.org/officeDocument/2006/relationships/slide" Target="slides/slide132.xml"/><Relationship Id="rId158" Type="http://schemas.openxmlformats.org/officeDocument/2006/relationships/slide" Target="slides/slide153.xml"/><Relationship Id="rId20" Type="http://schemas.openxmlformats.org/officeDocument/2006/relationships/slide" Target="slides/slide15.xml"/><Relationship Id="rId41" Type="http://schemas.openxmlformats.org/officeDocument/2006/relationships/slide" Target="slides/slide36.xml"/><Relationship Id="rId62" Type="http://schemas.openxmlformats.org/officeDocument/2006/relationships/slide" Target="slides/slide57.xml"/><Relationship Id="rId83" Type="http://schemas.openxmlformats.org/officeDocument/2006/relationships/slide" Target="slides/slide78.xml"/><Relationship Id="rId88" Type="http://schemas.openxmlformats.org/officeDocument/2006/relationships/slide" Target="slides/slide83.xml"/><Relationship Id="rId111" Type="http://schemas.openxmlformats.org/officeDocument/2006/relationships/slide" Target="slides/slide106.xml"/><Relationship Id="rId132" Type="http://schemas.openxmlformats.org/officeDocument/2006/relationships/slide" Target="slides/slide127.xml"/><Relationship Id="rId153" Type="http://schemas.openxmlformats.org/officeDocument/2006/relationships/slide" Target="slides/slide148.xml"/><Relationship Id="rId174" Type="http://schemas.openxmlformats.org/officeDocument/2006/relationships/slide" Target="slides/slide169.xml"/><Relationship Id="rId179" Type="http://schemas.openxmlformats.org/officeDocument/2006/relationships/slide" Target="slides/slide174.xml"/><Relationship Id="rId195" Type="http://schemas.openxmlformats.org/officeDocument/2006/relationships/slide" Target="slides/slide190.xml"/><Relationship Id="rId190" Type="http://schemas.openxmlformats.org/officeDocument/2006/relationships/slide" Target="slides/slide185.xml"/><Relationship Id="rId204" Type="http://schemas.openxmlformats.org/officeDocument/2006/relationships/theme" Target="theme/theme1.xml"/><Relationship Id="rId15" Type="http://schemas.openxmlformats.org/officeDocument/2006/relationships/slide" Target="slides/slide10.xml"/><Relationship Id="rId36" Type="http://schemas.openxmlformats.org/officeDocument/2006/relationships/slide" Target="slides/slide31.xml"/><Relationship Id="rId57" Type="http://schemas.openxmlformats.org/officeDocument/2006/relationships/slide" Target="slides/slide52.xml"/><Relationship Id="rId106" Type="http://schemas.openxmlformats.org/officeDocument/2006/relationships/slide" Target="slides/slide101.xml"/><Relationship Id="rId127" Type="http://schemas.openxmlformats.org/officeDocument/2006/relationships/slide" Target="slides/slide122.xml"/><Relationship Id="rId10" Type="http://schemas.openxmlformats.org/officeDocument/2006/relationships/slide" Target="slides/slide5.xml"/><Relationship Id="rId31" Type="http://schemas.openxmlformats.org/officeDocument/2006/relationships/slide" Target="slides/slide26.xml"/><Relationship Id="rId52" Type="http://schemas.openxmlformats.org/officeDocument/2006/relationships/slide" Target="slides/slide47.xml"/><Relationship Id="rId73" Type="http://schemas.openxmlformats.org/officeDocument/2006/relationships/slide" Target="slides/slide68.xml"/><Relationship Id="rId78" Type="http://schemas.openxmlformats.org/officeDocument/2006/relationships/slide" Target="slides/slide73.xml"/><Relationship Id="rId94" Type="http://schemas.openxmlformats.org/officeDocument/2006/relationships/slide" Target="slides/slide89.xml"/><Relationship Id="rId99" Type="http://schemas.openxmlformats.org/officeDocument/2006/relationships/slide" Target="slides/slide94.xml"/><Relationship Id="rId101" Type="http://schemas.openxmlformats.org/officeDocument/2006/relationships/slide" Target="slides/slide96.xml"/><Relationship Id="rId122" Type="http://schemas.openxmlformats.org/officeDocument/2006/relationships/slide" Target="slides/slide117.xml"/><Relationship Id="rId143" Type="http://schemas.openxmlformats.org/officeDocument/2006/relationships/slide" Target="slides/slide138.xml"/><Relationship Id="rId148" Type="http://schemas.openxmlformats.org/officeDocument/2006/relationships/slide" Target="slides/slide143.xml"/><Relationship Id="rId164" Type="http://schemas.openxmlformats.org/officeDocument/2006/relationships/slide" Target="slides/slide159.xml"/><Relationship Id="rId169" Type="http://schemas.openxmlformats.org/officeDocument/2006/relationships/slide" Target="slides/slide164.xml"/><Relationship Id="rId185" Type="http://schemas.openxmlformats.org/officeDocument/2006/relationships/slide" Target="slides/slide180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80" Type="http://schemas.openxmlformats.org/officeDocument/2006/relationships/slide" Target="slides/slide175.xml"/><Relationship Id="rId26" Type="http://schemas.openxmlformats.org/officeDocument/2006/relationships/slide" Target="slides/slide21.xml"/><Relationship Id="rId47" Type="http://schemas.openxmlformats.org/officeDocument/2006/relationships/slide" Target="slides/slide42.xml"/><Relationship Id="rId68" Type="http://schemas.openxmlformats.org/officeDocument/2006/relationships/slide" Target="slides/slide63.xml"/><Relationship Id="rId89" Type="http://schemas.openxmlformats.org/officeDocument/2006/relationships/slide" Target="slides/slide84.xml"/><Relationship Id="rId112" Type="http://schemas.openxmlformats.org/officeDocument/2006/relationships/slide" Target="slides/slide107.xml"/><Relationship Id="rId133" Type="http://schemas.openxmlformats.org/officeDocument/2006/relationships/slide" Target="slides/slide128.xml"/><Relationship Id="rId154" Type="http://schemas.openxmlformats.org/officeDocument/2006/relationships/slide" Target="slides/slide149.xml"/><Relationship Id="rId175" Type="http://schemas.openxmlformats.org/officeDocument/2006/relationships/slide" Target="slides/slide170.xml"/><Relationship Id="rId196" Type="http://schemas.openxmlformats.org/officeDocument/2006/relationships/slide" Target="slides/slide191.xml"/><Relationship Id="rId200" Type="http://schemas.openxmlformats.org/officeDocument/2006/relationships/handoutMaster" Target="handoutMasters/handoutMaster1.xml"/><Relationship Id="rId16" Type="http://schemas.openxmlformats.org/officeDocument/2006/relationships/slide" Target="slides/slide11.xml"/><Relationship Id="rId37" Type="http://schemas.openxmlformats.org/officeDocument/2006/relationships/slide" Target="slides/slide32.xml"/><Relationship Id="rId58" Type="http://schemas.openxmlformats.org/officeDocument/2006/relationships/slide" Target="slides/slide53.xml"/><Relationship Id="rId79" Type="http://schemas.openxmlformats.org/officeDocument/2006/relationships/slide" Target="slides/slide74.xml"/><Relationship Id="rId102" Type="http://schemas.openxmlformats.org/officeDocument/2006/relationships/slide" Target="slides/slide97.xml"/><Relationship Id="rId123" Type="http://schemas.openxmlformats.org/officeDocument/2006/relationships/slide" Target="slides/slide118.xml"/><Relationship Id="rId144" Type="http://schemas.openxmlformats.org/officeDocument/2006/relationships/slide" Target="slides/slide139.xml"/><Relationship Id="rId90" Type="http://schemas.openxmlformats.org/officeDocument/2006/relationships/slide" Target="slides/slide85.xml"/><Relationship Id="rId165" Type="http://schemas.openxmlformats.org/officeDocument/2006/relationships/slide" Target="slides/slide160.xml"/><Relationship Id="rId186" Type="http://schemas.openxmlformats.org/officeDocument/2006/relationships/slide" Target="slides/slide181.xml"/><Relationship Id="rId27" Type="http://schemas.openxmlformats.org/officeDocument/2006/relationships/slide" Target="slides/slide22.xml"/><Relationship Id="rId48" Type="http://schemas.openxmlformats.org/officeDocument/2006/relationships/slide" Target="slides/slide43.xml"/><Relationship Id="rId69" Type="http://schemas.openxmlformats.org/officeDocument/2006/relationships/slide" Target="slides/slide64.xml"/><Relationship Id="rId113" Type="http://schemas.openxmlformats.org/officeDocument/2006/relationships/slide" Target="slides/slide108.xml"/><Relationship Id="rId134" Type="http://schemas.openxmlformats.org/officeDocument/2006/relationships/slide" Target="slides/slide129.xml"/><Relationship Id="rId80" Type="http://schemas.openxmlformats.org/officeDocument/2006/relationships/slide" Target="slides/slide75.xml"/><Relationship Id="rId155" Type="http://schemas.openxmlformats.org/officeDocument/2006/relationships/slide" Target="slides/slide150.xml"/><Relationship Id="rId176" Type="http://schemas.openxmlformats.org/officeDocument/2006/relationships/slide" Target="slides/slide171.xml"/><Relationship Id="rId197" Type="http://schemas.openxmlformats.org/officeDocument/2006/relationships/slide" Target="slides/slide192.xml"/><Relationship Id="rId201" Type="http://schemas.openxmlformats.org/officeDocument/2006/relationships/tags" Target="tags/tag1.xml"/><Relationship Id="rId17" Type="http://schemas.openxmlformats.org/officeDocument/2006/relationships/slide" Target="slides/slide12.xml"/><Relationship Id="rId38" Type="http://schemas.openxmlformats.org/officeDocument/2006/relationships/slide" Target="slides/slide33.xml"/><Relationship Id="rId59" Type="http://schemas.openxmlformats.org/officeDocument/2006/relationships/slide" Target="slides/slide54.xml"/><Relationship Id="rId103" Type="http://schemas.openxmlformats.org/officeDocument/2006/relationships/slide" Target="slides/slide98.xml"/><Relationship Id="rId124" Type="http://schemas.openxmlformats.org/officeDocument/2006/relationships/slide" Target="slides/slide119.xml"/><Relationship Id="rId70" Type="http://schemas.openxmlformats.org/officeDocument/2006/relationships/slide" Target="slides/slide65.xml"/><Relationship Id="rId91" Type="http://schemas.openxmlformats.org/officeDocument/2006/relationships/slide" Target="slides/slide86.xml"/><Relationship Id="rId145" Type="http://schemas.openxmlformats.org/officeDocument/2006/relationships/slide" Target="slides/slide140.xml"/><Relationship Id="rId166" Type="http://schemas.openxmlformats.org/officeDocument/2006/relationships/slide" Target="slides/slide161.xml"/><Relationship Id="rId187" Type="http://schemas.openxmlformats.org/officeDocument/2006/relationships/slide" Target="slides/slide182.xml"/><Relationship Id="rId1" Type="http://schemas.openxmlformats.org/officeDocument/2006/relationships/customXml" Target="../customXml/item1.xml"/><Relationship Id="rId28" Type="http://schemas.openxmlformats.org/officeDocument/2006/relationships/slide" Target="slides/slide23.xml"/><Relationship Id="rId49" Type="http://schemas.openxmlformats.org/officeDocument/2006/relationships/slide" Target="slides/slide44.xml"/><Relationship Id="rId114" Type="http://schemas.openxmlformats.org/officeDocument/2006/relationships/slide" Target="slides/slide109.xml"/><Relationship Id="rId60" Type="http://schemas.openxmlformats.org/officeDocument/2006/relationships/slide" Target="slides/slide55.xml"/><Relationship Id="rId81" Type="http://schemas.openxmlformats.org/officeDocument/2006/relationships/slide" Target="slides/slide76.xml"/><Relationship Id="rId135" Type="http://schemas.openxmlformats.org/officeDocument/2006/relationships/slide" Target="slides/slide130.xml"/><Relationship Id="rId156" Type="http://schemas.openxmlformats.org/officeDocument/2006/relationships/slide" Target="slides/slide151.xml"/><Relationship Id="rId177" Type="http://schemas.openxmlformats.org/officeDocument/2006/relationships/slide" Target="slides/slide172.xml"/><Relationship Id="rId198" Type="http://schemas.openxmlformats.org/officeDocument/2006/relationships/slide" Target="slides/slide193.xml"/><Relationship Id="rId202" Type="http://schemas.openxmlformats.org/officeDocument/2006/relationships/presProps" Target="presProps.xml"/><Relationship Id="rId18" Type="http://schemas.openxmlformats.org/officeDocument/2006/relationships/slide" Target="slides/slide13.xml"/><Relationship Id="rId39" Type="http://schemas.openxmlformats.org/officeDocument/2006/relationships/slide" Target="slides/slide34.xml"/><Relationship Id="rId50" Type="http://schemas.openxmlformats.org/officeDocument/2006/relationships/slide" Target="slides/slide45.xml"/><Relationship Id="rId104" Type="http://schemas.openxmlformats.org/officeDocument/2006/relationships/slide" Target="slides/slide99.xml"/><Relationship Id="rId125" Type="http://schemas.openxmlformats.org/officeDocument/2006/relationships/slide" Target="slides/slide120.xml"/><Relationship Id="rId146" Type="http://schemas.openxmlformats.org/officeDocument/2006/relationships/slide" Target="slides/slide141.xml"/><Relationship Id="rId167" Type="http://schemas.openxmlformats.org/officeDocument/2006/relationships/slide" Target="slides/slide162.xml"/><Relationship Id="rId188" Type="http://schemas.openxmlformats.org/officeDocument/2006/relationships/slide" Target="slides/slide183.xml"/><Relationship Id="rId71" Type="http://schemas.openxmlformats.org/officeDocument/2006/relationships/slide" Target="slides/slide66.xml"/><Relationship Id="rId92" Type="http://schemas.openxmlformats.org/officeDocument/2006/relationships/slide" Target="slides/slide87.xml"/><Relationship Id="rId2" Type="http://schemas.openxmlformats.org/officeDocument/2006/relationships/customXml" Target="../customXml/item2.xml"/><Relationship Id="rId29" Type="http://schemas.openxmlformats.org/officeDocument/2006/relationships/slide" Target="slides/slide24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5">
  <dgm:title val=""/>
  <dgm:desc val=""/>
  <dgm:catLst>
    <dgm:cat type="colorful" pri="105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/>
      <a:schemeClr val="accent6"/>
    </dgm:fillClrLst>
    <dgm:linClrLst>
      <a:schemeClr val="accent5"/>
      <a:schemeClr val="accent6"/>
    </dgm:linClrLst>
    <dgm:effectClrLst/>
    <dgm:txLinClrLst/>
    <dgm:txFillClrLst/>
    <dgm:txEffectClrLst/>
  </dgm:styleLbl>
  <dgm:styleLbl name="ln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1B09DC7F-21FF-440A-8626-CB3F5131AC5F}" type="doc">
      <dgm:prSet loTypeId="urn:microsoft.com/office/officeart/2005/8/layout/balance1" loCatId="relationship" qsTypeId="urn:microsoft.com/office/officeart/2005/8/quickstyle/3d1" qsCatId="3D" csTypeId="urn:microsoft.com/office/officeart/2005/8/colors/colorful5" csCatId="colorful" phldr="1"/>
      <dgm:spPr/>
      <dgm:t>
        <a:bodyPr/>
        <a:lstStyle/>
        <a:p>
          <a:endParaRPr lang="ru-RU"/>
        </a:p>
      </dgm:t>
    </dgm:pt>
    <dgm:pt modelId="{17EB3EEE-F170-4857-BC63-4BEB75C67DEC}">
      <dgm:prSet phldrT="[Текст]"/>
      <dgm:spPr/>
      <dgm:t>
        <a:bodyPr/>
        <a:lstStyle/>
        <a:p>
          <a:r>
            <a:rPr lang="ru-RU" noProof="1">
              <a:latin typeface="Times New Roman" panose="02020603050405020304" pitchFamily="18" charset="0"/>
              <a:cs typeface="Times New Roman" panose="02020603050405020304" pitchFamily="18" charset="0"/>
            </a:rPr>
            <a:t>2025</a:t>
          </a:r>
        </a:p>
      </dgm:t>
    </dgm:pt>
    <dgm:pt modelId="{04C36DEE-5C9D-40B3-A721-60EC8B01FCEC}" type="parTrans" cxnId="{F114D0BE-2EE3-46E4-8F92-D246F22EA859}">
      <dgm:prSet/>
      <dgm:spPr/>
      <dgm:t>
        <a:bodyPr/>
        <a:lstStyle/>
        <a:p>
          <a:endParaRPr lang="ru-RU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7B22BE5B-9803-4A01-9084-A106BBB76C42}" type="sibTrans" cxnId="{F114D0BE-2EE3-46E4-8F92-D246F22EA859}">
      <dgm:prSet/>
      <dgm:spPr/>
      <dgm:t>
        <a:bodyPr/>
        <a:lstStyle/>
        <a:p>
          <a:endParaRPr lang="ru-RU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E2EE4CCC-D7E5-4066-94E5-E75DD367B28A}">
      <dgm:prSet phldrT="[Текст]"/>
      <dgm:spPr>
        <a:solidFill>
          <a:srgbClr val="63A1DB"/>
        </a:solidFill>
      </dgm:spPr>
      <dgm:t>
        <a:bodyPr/>
        <a:lstStyle/>
        <a:p>
          <a:r>
            <a:rPr lang="ru-RU" noProof="1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Методисты</a:t>
          </a:r>
        </a:p>
      </dgm:t>
    </dgm:pt>
    <dgm:pt modelId="{5069A72C-1A21-446B-A68E-4F586A6402BC}" type="parTrans" cxnId="{31C2D7A4-782E-4620-8FBE-AFCDF7353700}">
      <dgm:prSet/>
      <dgm:spPr/>
      <dgm:t>
        <a:bodyPr/>
        <a:lstStyle/>
        <a:p>
          <a:endParaRPr lang="ru-RU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9B084EA7-FE3F-4951-B91B-95B729DD8E67}" type="sibTrans" cxnId="{31C2D7A4-782E-4620-8FBE-AFCDF7353700}">
      <dgm:prSet/>
      <dgm:spPr/>
      <dgm:t>
        <a:bodyPr/>
        <a:lstStyle/>
        <a:p>
          <a:endParaRPr lang="ru-RU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B9708203-8384-4D32-9D61-A9B276A1978A}">
      <dgm:prSet phldrT="[Текст]"/>
      <dgm:spPr/>
      <dgm:t>
        <a:bodyPr/>
        <a:lstStyle/>
        <a:p>
          <a:r>
            <a:rPr lang="ru-RU" noProof="1">
              <a:latin typeface="Times New Roman" panose="02020603050405020304" pitchFamily="18" charset="0"/>
              <a:cs typeface="Times New Roman" panose="02020603050405020304" pitchFamily="18" charset="0"/>
            </a:rPr>
            <a:t>2026</a:t>
          </a:r>
        </a:p>
      </dgm:t>
    </dgm:pt>
    <dgm:pt modelId="{61287128-F599-441A-B449-518D20559E53}" type="parTrans" cxnId="{8738FAA2-1905-4050-A66D-D4079D03F6EB}">
      <dgm:prSet/>
      <dgm:spPr/>
      <dgm:t>
        <a:bodyPr/>
        <a:lstStyle/>
        <a:p>
          <a:endParaRPr lang="ru-RU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95838F9D-8770-4243-B825-FEECECED10F5}" type="sibTrans" cxnId="{8738FAA2-1905-4050-A66D-D4079D03F6EB}">
      <dgm:prSet/>
      <dgm:spPr/>
      <dgm:t>
        <a:bodyPr/>
        <a:lstStyle/>
        <a:p>
          <a:endParaRPr lang="ru-RU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6EE6D0E6-77C9-4B0F-AB4A-2B43B0BBBB2A}">
      <dgm:prSet phldrT="[Текст]"/>
      <dgm:spPr/>
      <dgm:t>
        <a:bodyPr/>
        <a:lstStyle/>
        <a:p>
          <a:pPr>
            <a:buFont typeface="+mj-lt"/>
            <a:buAutoNum type="arabicPeriod"/>
          </a:pPr>
          <a:r>
            <a:rPr lang="ru-RU" noProof="1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Методисты </a:t>
          </a:r>
        </a:p>
      </dgm:t>
    </dgm:pt>
    <dgm:pt modelId="{2FC89817-B7AB-4DA2-B2E1-CA638F2A4EA7}" type="parTrans" cxnId="{BC59DDFC-AC13-4605-BA01-3110AA297807}">
      <dgm:prSet/>
      <dgm:spPr/>
      <dgm:t>
        <a:bodyPr/>
        <a:lstStyle/>
        <a:p>
          <a:endParaRPr lang="ru-RU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E1FD4265-9A01-4243-9ED0-6AB7E4256431}" type="sibTrans" cxnId="{BC59DDFC-AC13-4605-BA01-3110AA297807}">
      <dgm:prSet/>
      <dgm:spPr/>
      <dgm:t>
        <a:bodyPr/>
        <a:lstStyle/>
        <a:p>
          <a:endParaRPr lang="ru-RU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EC77423B-2EDD-44DD-8002-5AD363280411}">
      <dgm:prSet phldrT="[Текст]"/>
      <dgm:spPr/>
      <dgm:t>
        <a:bodyPr/>
        <a:lstStyle/>
        <a:p>
          <a:pPr>
            <a:buFont typeface="+mj-lt"/>
            <a:buAutoNum type="arabicPeriod"/>
          </a:pPr>
          <a:r>
            <a:rPr lang="ru-RU" noProof="1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Начальники методического отдела</a:t>
          </a:r>
        </a:p>
      </dgm:t>
    </dgm:pt>
    <dgm:pt modelId="{E12BCB4B-D7E6-4056-BB68-4E450C2C79B1}" type="parTrans" cxnId="{18201372-3920-4F3F-A3ED-0F21A637F640}">
      <dgm:prSet/>
      <dgm:spPr/>
      <dgm:t>
        <a:bodyPr/>
        <a:lstStyle/>
        <a:p>
          <a:endParaRPr lang="ru-RU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DD092EDD-5952-4DAA-B4E7-530E738349C0}" type="sibTrans" cxnId="{18201372-3920-4F3F-A3ED-0F21A637F640}">
      <dgm:prSet/>
      <dgm:spPr/>
      <dgm:t>
        <a:bodyPr/>
        <a:lstStyle/>
        <a:p>
          <a:endParaRPr lang="ru-RU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1E0016A4-8EB0-42A9-BCFA-7CEC00D09289}">
      <dgm:prSet phldrT="[Текст]" custT="1"/>
      <dgm:spPr/>
      <dgm:t>
        <a:bodyPr/>
        <a:lstStyle/>
        <a:p>
          <a:pPr>
            <a:buFont typeface="+mj-lt"/>
            <a:buAutoNum type="arabicPeriod"/>
          </a:pPr>
          <a:r>
            <a:rPr lang="ru-RU" sz="1200" noProof="1">
              <a:solidFill>
                <a:schemeClr val="bg1"/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Заместители директоров по учебной части</a:t>
          </a:r>
        </a:p>
      </dgm:t>
    </dgm:pt>
    <dgm:pt modelId="{0C1EFD0B-D333-4A09-98FA-6221ED9E6568}" type="parTrans" cxnId="{BED9DB6C-817D-423F-95A9-4E89DB2D3001}">
      <dgm:prSet/>
      <dgm:spPr/>
      <dgm:t>
        <a:bodyPr/>
        <a:lstStyle/>
        <a:p>
          <a:endParaRPr lang="ru-RU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55BA6337-CBB0-4A1D-9CA3-EA783B32E697}" type="sibTrans" cxnId="{BED9DB6C-817D-423F-95A9-4E89DB2D3001}">
      <dgm:prSet/>
      <dgm:spPr/>
      <dgm:t>
        <a:bodyPr/>
        <a:lstStyle/>
        <a:p>
          <a:endParaRPr lang="ru-RU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DCE87160-E51F-4C63-A729-0DDFF8FB9F14}">
      <dgm:prSet custT="1"/>
      <dgm:spPr>
        <a:solidFill>
          <a:schemeClr val="accent6">
            <a:lumMod val="60000"/>
            <a:lumOff val="40000"/>
          </a:schemeClr>
        </a:solidFill>
        <a:ln>
          <a:noFill/>
        </a:ln>
        <a:effectLst/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gm:spPr>
      <dgm:t>
        <a:bodyPr spcFirstLastPara="0" vert="horz" wrap="square" lIns="41910" tIns="41910" rIns="41910" bIns="41910" numCol="1" spcCol="1270" anchor="ctr" anchorCtr="0"/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Font typeface="+mj-lt"/>
            <a:buNone/>
          </a:pPr>
          <a:r>
            <a:rPr lang="ru-RU" sz="1200" kern="1200" noProof="1">
              <a:solidFill>
                <a:prstClr val="black"/>
              </a:solidFill>
              <a:latin typeface="Times New Roman" panose="02020603050405020304" pitchFamily="18" charset="0"/>
              <a:ea typeface="+mn-ea"/>
              <a:cs typeface="Times New Roman" panose="02020603050405020304" pitchFamily="18" charset="0"/>
            </a:rPr>
            <a:t>Преподаватели спец. дисциплин</a:t>
          </a:r>
        </a:p>
      </dgm:t>
    </dgm:pt>
    <dgm:pt modelId="{A1BAC443-C340-48F8-825D-C0DD2E1D6D73}" type="parTrans" cxnId="{C676C35B-64D3-4E1B-A89E-10554E020639}">
      <dgm:prSet/>
      <dgm:spPr/>
      <dgm:t>
        <a:bodyPr/>
        <a:lstStyle/>
        <a:p>
          <a:endParaRPr lang="ru-RU"/>
        </a:p>
      </dgm:t>
    </dgm:pt>
    <dgm:pt modelId="{E846A210-D9BB-4F08-A0D1-9EF04E9E66E8}" type="sibTrans" cxnId="{C676C35B-64D3-4E1B-A89E-10554E020639}">
      <dgm:prSet/>
      <dgm:spPr/>
      <dgm:t>
        <a:bodyPr/>
        <a:lstStyle/>
        <a:p>
          <a:endParaRPr lang="ru-RU"/>
        </a:p>
      </dgm:t>
    </dgm:pt>
    <dgm:pt modelId="{4BD4A4BB-E785-4ACB-8876-31C12C551FB8}" type="pres">
      <dgm:prSet presAssocID="{1B09DC7F-21FF-440A-8626-CB3F5131AC5F}" presName="outerComposite" presStyleCnt="0">
        <dgm:presLayoutVars>
          <dgm:chMax val="2"/>
          <dgm:animLvl val="lvl"/>
          <dgm:resizeHandles val="exact"/>
        </dgm:presLayoutVars>
      </dgm:prSet>
      <dgm:spPr/>
    </dgm:pt>
    <dgm:pt modelId="{21721D9D-0DEC-49D7-8643-65DAE03C9E81}" type="pres">
      <dgm:prSet presAssocID="{1B09DC7F-21FF-440A-8626-CB3F5131AC5F}" presName="dummyMaxCanvas" presStyleCnt="0"/>
      <dgm:spPr/>
    </dgm:pt>
    <dgm:pt modelId="{2DFEA047-A80B-4380-A0B7-EB6B7C6267A1}" type="pres">
      <dgm:prSet presAssocID="{1B09DC7F-21FF-440A-8626-CB3F5131AC5F}" presName="parentComposite" presStyleCnt="0"/>
      <dgm:spPr/>
    </dgm:pt>
    <dgm:pt modelId="{22729859-725F-4C8F-84BB-7C898582217D}" type="pres">
      <dgm:prSet presAssocID="{1B09DC7F-21FF-440A-8626-CB3F5131AC5F}" presName="parent1" presStyleLbl="alignAccFollowNode1" presStyleIdx="0" presStyleCnt="4">
        <dgm:presLayoutVars>
          <dgm:chMax val="4"/>
        </dgm:presLayoutVars>
      </dgm:prSet>
      <dgm:spPr/>
    </dgm:pt>
    <dgm:pt modelId="{A432B345-49D2-4403-83A9-3A2645F341D1}" type="pres">
      <dgm:prSet presAssocID="{1B09DC7F-21FF-440A-8626-CB3F5131AC5F}" presName="parent2" presStyleLbl="alignAccFollowNode1" presStyleIdx="1" presStyleCnt="4">
        <dgm:presLayoutVars>
          <dgm:chMax val="4"/>
        </dgm:presLayoutVars>
      </dgm:prSet>
      <dgm:spPr/>
    </dgm:pt>
    <dgm:pt modelId="{9454FA8B-D53D-4492-AD18-14565AB2C3FE}" type="pres">
      <dgm:prSet presAssocID="{1B09DC7F-21FF-440A-8626-CB3F5131AC5F}" presName="childrenComposite" presStyleCnt="0"/>
      <dgm:spPr/>
    </dgm:pt>
    <dgm:pt modelId="{1EAC2D2A-EED0-4EFA-82BD-A97A62A8F263}" type="pres">
      <dgm:prSet presAssocID="{1B09DC7F-21FF-440A-8626-CB3F5131AC5F}" presName="dummyMaxCanvas_ChildArea" presStyleCnt="0"/>
      <dgm:spPr/>
    </dgm:pt>
    <dgm:pt modelId="{395E8C77-F25A-4C7F-8F3D-DDB2C844D06A}" type="pres">
      <dgm:prSet presAssocID="{1B09DC7F-21FF-440A-8626-CB3F5131AC5F}" presName="fulcrum" presStyleLbl="alignAccFollowNode1" presStyleIdx="2" presStyleCnt="4"/>
      <dgm:spPr>
        <a:solidFill>
          <a:schemeClr val="accent5">
            <a:lumMod val="50000"/>
            <a:alpha val="90000"/>
          </a:schemeClr>
        </a:solidFill>
      </dgm:spPr>
    </dgm:pt>
    <dgm:pt modelId="{9D8DAC9D-D262-4486-8468-E5B64C125B33}" type="pres">
      <dgm:prSet presAssocID="{1B09DC7F-21FF-440A-8626-CB3F5131AC5F}" presName="balance_14" presStyleLbl="alignAccFollowNode1" presStyleIdx="3" presStyleCnt="4">
        <dgm:presLayoutVars>
          <dgm:bulletEnabled val="1"/>
        </dgm:presLayoutVars>
      </dgm:prSet>
      <dgm:spPr>
        <a:solidFill>
          <a:schemeClr val="accent5">
            <a:lumMod val="50000"/>
            <a:alpha val="90000"/>
          </a:schemeClr>
        </a:solidFill>
      </dgm:spPr>
    </dgm:pt>
    <dgm:pt modelId="{ED20D85B-CA99-4473-A045-8F7D94158FAC}" type="pres">
      <dgm:prSet presAssocID="{1B09DC7F-21FF-440A-8626-CB3F5131AC5F}" presName="right_14_1" presStyleLbl="node1" presStyleIdx="0" presStyleCnt="5">
        <dgm:presLayoutVars>
          <dgm:bulletEnabled val="1"/>
        </dgm:presLayoutVars>
      </dgm:prSet>
      <dgm:spPr/>
    </dgm:pt>
    <dgm:pt modelId="{162F55FD-49EC-469E-9EF5-CEC3858D9DD0}" type="pres">
      <dgm:prSet presAssocID="{1B09DC7F-21FF-440A-8626-CB3F5131AC5F}" presName="right_14_2" presStyleLbl="node1" presStyleIdx="1" presStyleCnt="5">
        <dgm:presLayoutVars>
          <dgm:bulletEnabled val="1"/>
        </dgm:presLayoutVars>
      </dgm:prSet>
      <dgm:spPr>
        <a:xfrm rot="240000">
          <a:off x="4256852" y="2587236"/>
          <a:ext cx="1710730" cy="590791"/>
        </a:xfrm>
        <a:prstGeom prst="roundRect">
          <a:avLst/>
        </a:prstGeom>
      </dgm:spPr>
    </dgm:pt>
    <dgm:pt modelId="{A37134A3-0D56-4C13-8D61-A5EC7674309C}" type="pres">
      <dgm:prSet presAssocID="{1B09DC7F-21FF-440A-8626-CB3F5131AC5F}" presName="right_14_3" presStyleLbl="node1" presStyleIdx="2" presStyleCnt="5">
        <dgm:presLayoutVars>
          <dgm:bulletEnabled val="1"/>
        </dgm:presLayoutVars>
      </dgm:prSet>
      <dgm:spPr/>
    </dgm:pt>
    <dgm:pt modelId="{79B27E4F-23D8-41F9-99DD-D13256BB7E1A}" type="pres">
      <dgm:prSet presAssocID="{1B09DC7F-21FF-440A-8626-CB3F5131AC5F}" presName="right_14_4" presStyleLbl="node1" presStyleIdx="3" presStyleCnt="5">
        <dgm:presLayoutVars>
          <dgm:bulletEnabled val="1"/>
        </dgm:presLayoutVars>
      </dgm:prSet>
      <dgm:spPr/>
    </dgm:pt>
    <dgm:pt modelId="{BFB329B6-2850-408F-A6EC-AA3A11C292E0}" type="pres">
      <dgm:prSet presAssocID="{1B09DC7F-21FF-440A-8626-CB3F5131AC5F}" presName="left_14_1" presStyleLbl="node1" presStyleIdx="4" presStyleCnt="5">
        <dgm:presLayoutVars>
          <dgm:bulletEnabled val="1"/>
        </dgm:presLayoutVars>
      </dgm:prSet>
      <dgm:spPr/>
    </dgm:pt>
  </dgm:ptLst>
  <dgm:cxnLst>
    <dgm:cxn modelId="{14279234-96C0-4AD0-910C-AC41CF98D9D7}" type="presOf" srcId="{DCE87160-E51F-4C63-A729-0DDFF8FB9F14}" destId="{162F55FD-49EC-469E-9EF5-CEC3858D9DD0}" srcOrd="0" destOrd="0" presId="urn:microsoft.com/office/officeart/2005/8/layout/balance1"/>
    <dgm:cxn modelId="{6016DF35-4CBB-4992-A8B1-13B630B1BE7E}" type="presOf" srcId="{1E0016A4-8EB0-42A9-BCFA-7CEC00D09289}" destId="{79B27E4F-23D8-41F9-99DD-D13256BB7E1A}" srcOrd="0" destOrd="0" presId="urn:microsoft.com/office/officeart/2005/8/layout/balance1"/>
    <dgm:cxn modelId="{C676C35B-64D3-4E1B-A89E-10554E020639}" srcId="{B9708203-8384-4D32-9D61-A9B276A1978A}" destId="{DCE87160-E51F-4C63-A729-0DDFF8FB9F14}" srcOrd="1" destOrd="0" parTransId="{A1BAC443-C340-48F8-825D-C0DD2E1D6D73}" sibTransId="{E846A210-D9BB-4F08-A0D1-9EF04E9E66E8}"/>
    <dgm:cxn modelId="{BED9DB6C-817D-423F-95A9-4E89DB2D3001}" srcId="{B9708203-8384-4D32-9D61-A9B276A1978A}" destId="{1E0016A4-8EB0-42A9-BCFA-7CEC00D09289}" srcOrd="3" destOrd="0" parTransId="{0C1EFD0B-D333-4A09-98FA-6221ED9E6568}" sibTransId="{55BA6337-CBB0-4A1D-9CA3-EA783B32E697}"/>
    <dgm:cxn modelId="{18201372-3920-4F3F-A3ED-0F21A637F640}" srcId="{B9708203-8384-4D32-9D61-A9B276A1978A}" destId="{EC77423B-2EDD-44DD-8002-5AD363280411}" srcOrd="2" destOrd="0" parTransId="{E12BCB4B-D7E6-4056-BB68-4E450C2C79B1}" sibTransId="{DD092EDD-5952-4DAA-B4E7-530E738349C0}"/>
    <dgm:cxn modelId="{79F1FC83-8CB3-4236-8E77-D02913D2367B}" type="presOf" srcId="{EC77423B-2EDD-44DD-8002-5AD363280411}" destId="{A37134A3-0D56-4C13-8D61-A5EC7674309C}" srcOrd="0" destOrd="0" presId="urn:microsoft.com/office/officeart/2005/8/layout/balance1"/>
    <dgm:cxn modelId="{3411CE8F-E9AC-4F05-9BE1-1D2CE4932EA7}" type="presOf" srcId="{17EB3EEE-F170-4857-BC63-4BEB75C67DEC}" destId="{22729859-725F-4C8F-84BB-7C898582217D}" srcOrd="0" destOrd="0" presId="urn:microsoft.com/office/officeart/2005/8/layout/balance1"/>
    <dgm:cxn modelId="{B9633F9A-49C7-4BDA-8300-1C5F0E8E32E4}" type="presOf" srcId="{B9708203-8384-4D32-9D61-A9B276A1978A}" destId="{A432B345-49D2-4403-83A9-3A2645F341D1}" srcOrd="0" destOrd="0" presId="urn:microsoft.com/office/officeart/2005/8/layout/balance1"/>
    <dgm:cxn modelId="{8738FAA2-1905-4050-A66D-D4079D03F6EB}" srcId="{1B09DC7F-21FF-440A-8626-CB3F5131AC5F}" destId="{B9708203-8384-4D32-9D61-A9B276A1978A}" srcOrd="1" destOrd="0" parTransId="{61287128-F599-441A-B449-518D20559E53}" sibTransId="{95838F9D-8770-4243-B825-FEECECED10F5}"/>
    <dgm:cxn modelId="{31C2D7A4-782E-4620-8FBE-AFCDF7353700}" srcId="{17EB3EEE-F170-4857-BC63-4BEB75C67DEC}" destId="{E2EE4CCC-D7E5-4066-94E5-E75DD367B28A}" srcOrd="0" destOrd="0" parTransId="{5069A72C-1A21-446B-A68E-4F586A6402BC}" sibTransId="{9B084EA7-FE3F-4951-B91B-95B729DD8E67}"/>
    <dgm:cxn modelId="{33C1F3A6-88EE-403C-AD69-944795D1D295}" type="presOf" srcId="{6EE6D0E6-77C9-4B0F-AB4A-2B43B0BBBB2A}" destId="{ED20D85B-CA99-4473-A045-8F7D94158FAC}" srcOrd="0" destOrd="0" presId="urn:microsoft.com/office/officeart/2005/8/layout/balance1"/>
    <dgm:cxn modelId="{CF3401B3-1AAF-4AC9-8C13-31B43692E962}" type="presOf" srcId="{1B09DC7F-21FF-440A-8626-CB3F5131AC5F}" destId="{4BD4A4BB-E785-4ACB-8876-31C12C551FB8}" srcOrd="0" destOrd="0" presId="urn:microsoft.com/office/officeart/2005/8/layout/balance1"/>
    <dgm:cxn modelId="{F114D0BE-2EE3-46E4-8F92-D246F22EA859}" srcId="{1B09DC7F-21FF-440A-8626-CB3F5131AC5F}" destId="{17EB3EEE-F170-4857-BC63-4BEB75C67DEC}" srcOrd="0" destOrd="0" parTransId="{04C36DEE-5C9D-40B3-A721-60EC8B01FCEC}" sibTransId="{7B22BE5B-9803-4A01-9084-A106BBB76C42}"/>
    <dgm:cxn modelId="{C89492C7-26B3-4DF3-9451-4607640E35FA}" type="presOf" srcId="{E2EE4CCC-D7E5-4066-94E5-E75DD367B28A}" destId="{BFB329B6-2850-408F-A6EC-AA3A11C292E0}" srcOrd="0" destOrd="0" presId="urn:microsoft.com/office/officeart/2005/8/layout/balance1"/>
    <dgm:cxn modelId="{BC59DDFC-AC13-4605-BA01-3110AA297807}" srcId="{B9708203-8384-4D32-9D61-A9B276A1978A}" destId="{6EE6D0E6-77C9-4B0F-AB4A-2B43B0BBBB2A}" srcOrd="0" destOrd="0" parTransId="{2FC89817-B7AB-4DA2-B2E1-CA638F2A4EA7}" sibTransId="{E1FD4265-9A01-4243-9ED0-6AB7E4256431}"/>
    <dgm:cxn modelId="{054EDDB3-A692-4281-8282-497842BB2035}" type="presParOf" srcId="{4BD4A4BB-E785-4ACB-8876-31C12C551FB8}" destId="{21721D9D-0DEC-49D7-8643-65DAE03C9E81}" srcOrd="0" destOrd="0" presId="urn:microsoft.com/office/officeart/2005/8/layout/balance1"/>
    <dgm:cxn modelId="{C630CF66-A730-4A40-A8D5-98D29824296D}" type="presParOf" srcId="{4BD4A4BB-E785-4ACB-8876-31C12C551FB8}" destId="{2DFEA047-A80B-4380-A0B7-EB6B7C6267A1}" srcOrd="1" destOrd="0" presId="urn:microsoft.com/office/officeart/2005/8/layout/balance1"/>
    <dgm:cxn modelId="{5A1B5B00-581E-41AD-8B89-87A4CAAF9326}" type="presParOf" srcId="{2DFEA047-A80B-4380-A0B7-EB6B7C6267A1}" destId="{22729859-725F-4C8F-84BB-7C898582217D}" srcOrd="0" destOrd="0" presId="urn:microsoft.com/office/officeart/2005/8/layout/balance1"/>
    <dgm:cxn modelId="{E888C313-30DC-4EBD-A89A-67DED0C15873}" type="presParOf" srcId="{2DFEA047-A80B-4380-A0B7-EB6B7C6267A1}" destId="{A432B345-49D2-4403-83A9-3A2645F341D1}" srcOrd="1" destOrd="0" presId="urn:microsoft.com/office/officeart/2005/8/layout/balance1"/>
    <dgm:cxn modelId="{89F2BC99-6F6E-432B-930A-D9FECA5C1519}" type="presParOf" srcId="{4BD4A4BB-E785-4ACB-8876-31C12C551FB8}" destId="{9454FA8B-D53D-4492-AD18-14565AB2C3FE}" srcOrd="2" destOrd="0" presId="urn:microsoft.com/office/officeart/2005/8/layout/balance1"/>
    <dgm:cxn modelId="{5EFC551D-77D8-4C96-BF7C-3085F6D1BAD8}" type="presParOf" srcId="{9454FA8B-D53D-4492-AD18-14565AB2C3FE}" destId="{1EAC2D2A-EED0-4EFA-82BD-A97A62A8F263}" srcOrd="0" destOrd="0" presId="urn:microsoft.com/office/officeart/2005/8/layout/balance1"/>
    <dgm:cxn modelId="{1C6AF0FA-2A68-4FBF-A4FF-20717F6D1536}" type="presParOf" srcId="{9454FA8B-D53D-4492-AD18-14565AB2C3FE}" destId="{395E8C77-F25A-4C7F-8F3D-DDB2C844D06A}" srcOrd="1" destOrd="0" presId="urn:microsoft.com/office/officeart/2005/8/layout/balance1"/>
    <dgm:cxn modelId="{8F8CD84B-02D9-470D-899B-34391EB6BD4A}" type="presParOf" srcId="{9454FA8B-D53D-4492-AD18-14565AB2C3FE}" destId="{9D8DAC9D-D262-4486-8468-E5B64C125B33}" srcOrd="2" destOrd="0" presId="urn:microsoft.com/office/officeart/2005/8/layout/balance1"/>
    <dgm:cxn modelId="{D8FAB11B-DE8B-45E3-A07D-B2510652EF21}" type="presParOf" srcId="{9454FA8B-D53D-4492-AD18-14565AB2C3FE}" destId="{ED20D85B-CA99-4473-A045-8F7D94158FAC}" srcOrd="3" destOrd="0" presId="urn:microsoft.com/office/officeart/2005/8/layout/balance1"/>
    <dgm:cxn modelId="{49EC19D7-1D82-466D-9D70-9BA9A7C64794}" type="presParOf" srcId="{9454FA8B-D53D-4492-AD18-14565AB2C3FE}" destId="{162F55FD-49EC-469E-9EF5-CEC3858D9DD0}" srcOrd="4" destOrd="0" presId="urn:microsoft.com/office/officeart/2005/8/layout/balance1"/>
    <dgm:cxn modelId="{907FF1B1-3EDF-4E56-9665-D54B61B25CB5}" type="presParOf" srcId="{9454FA8B-D53D-4492-AD18-14565AB2C3FE}" destId="{A37134A3-0D56-4C13-8D61-A5EC7674309C}" srcOrd="5" destOrd="0" presId="urn:microsoft.com/office/officeart/2005/8/layout/balance1"/>
    <dgm:cxn modelId="{AE311CFA-9EDB-4757-9125-FEF6D0611ADB}" type="presParOf" srcId="{9454FA8B-D53D-4492-AD18-14565AB2C3FE}" destId="{79B27E4F-23D8-41F9-99DD-D13256BB7E1A}" srcOrd="6" destOrd="0" presId="urn:microsoft.com/office/officeart/2005/8/layout/balance1"/>
    <dgm:cxn modelId="{C82400A0-A39C-4F5D-9EE2-35C1B6B05461}" type="presParOf" srcId="{9454FA8B-D53D-4492-AD18-14565AB2C3FE}" destId="{BFB329B6-2850-408F-A6EC-AA3A11C292E0}" srcOrd="7" destOrd="0" presId="urn:microsoft.com/office/officeart/2005/8/layout/balance1"/>
  </dgm:cxnLst>
  <dgm:bg>
    <a:effectLst/>
  </dgm:bg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2729859-725F-4C8F-84BB-7C898582217D}">
      <dsp:nvSpPr>
        <dsp:cNvPr id="0" name=""/>
        <dsp:cNvSpPr/>
      </dsp:nvSpPr>
      <dsp:spPr>
        <a:xfrm>
          <a:off x="1878734" y="0"/>
          <a:ext cx="1582529" cy="879183"/>
        </a:xfrm>
        <a:prstGeom prst="roundRect">
          <a:avLst>
            <a:gd name="adj" fmla="val 10000"/>
          </a:avLst>
        </a:prstGeom>
        <a:solidFill>
          <a:schemeClr val="accent5">
            <a:tint val="40000"/>
            <a:alpha val="90000"/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accent5">
              <a:tint val="40000"/>
              <a:alpha val="9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  <a:scene3d>
          <a:camera prst="orthographicFront"/>
          <a:lightRig rig="flat" dir="t"/>
        </a:scene3d>
        <a:sp3d extrusionH="12700" prstMaterial="plastic">
          <a:bevelT w="50800" h="50800"/>
        </a:sp3d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152400" tIns="152400" rIns="152400" bIns="152400" numCol="1" spcCol="1270" anchor="ctr" anchorCtr="0">
          <a:noAutofit/>
        </a:bodyPr>
        <a:lstStyle/>
        <a:p>
          <a:pPr marL="0" lvl="0" indent="0" algn="ctr" defTabSz="1778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4000" kern="1200" noProof="1">
              <a:latin typeface="Times New Roman" panose="02020603050405020304" pitchFamily="18" charset="0"/>
              <a:cs typeface="Times New Roman" panose="02020603050405020304" pitchFamily="18" charset="0"/>
            </a:rPr>
            <a:t>2025</a:t>
          </a:r>
        </a:p>
      </dsp:txBody>
      <dsp:txXfrm>
        <a:off x="1904484" y="25750"/>
        <a:ext cx="1531029" cy="827683"/>
      </dsp:txXfrm>
    </dsp:sp>
    <dsp:sp modelId="{A432B345-49D2-4403-83A9-3A2645F341D1}">
      <dsp:nvSpPr>
        <dsp:cNvPr id="0" name=""/>
        <dsp:cNvSpPr/>
      </dsp:nvSpPr>
      <dsp:spPr>
        <a:xfrm>
          <a:off x="4164610" y="0"/>
          <a:ext cx="1582529" cy="879183"/>
        </a:xfrm>
        <a:prstGeom prst="roundRect">
          <a:avLst>
            <a:gd name="adj" fmla="val 10000"/>
          </a:avLst>
        </a:prstGeom>
        <a:solidFill>
          <a:schemeClr val="accent5">
            <a:tint val="40000"/>
            <a:alpha val="90000"/>
            <a:hueOff val="6901126"/>
            <a:satOff val="-3702"/>
            <a:lumOff val="-490"/>
            <a:alphaOff val="0"/>
          </a:schemeClr>
        </a:solidFill>
        <a:ln w="6350" cap="flat" cmpd="sng" algn="ctr">
          <a:solidFill>
            <a:schemeClr val="accent5">
              <a:tint val="40000"/>
              <a:alpha val="90000"/>
              <a:hueOff val="6901126"/>
              <a:satOff val="-3702"/>
              <a:lumOff val="-490"/>
              <a:alphaOff val="0"/>
            </a:schemeClr>
          </a:solidFill>
          <a:prstDash val="solid"/>
          <a:miter lim="800000"/>
        </a:ln>
        <a:effectLst/>
        <a:scene3d>
          <a:camera prst="orthographicFront"/>
          <a:lightRig rig="flat" dir="t"/>
        </a:scene3d>
        <a:sp3d extrusionH="12700" prstMaterial="plastic">
          <a:bevelT w="50800" h="50800"/>
        </a:sp3d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152400" tIns="152400" rIns="152400" bIns="152400" numCol="1" spcCol="1270" anchor="ctr" anchorCtr="0">
          <a:noAutofit/>
        </a:bodyPr>
        <a:lstStyle/>
        <a:p>
          <a:pPr marL="0" lvl="0" indent="0" algn="ctr" defTabSz="1778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4000" kern="1200" noProof="1">
              <a:latin typeface="Times New Roman" panose="02020603050405020304" pitchFamily="18" charset="0"/>
              <a:cs typeface="Times New Roman" panose="02020603050405020304" pitchFamily="18" charset="0"/>
            </a:rPr>
            <a:t>2026</a:t>
          </a:r>
        </a:p>
      </dsp:txBody>
      <dsp:txXfrm>
        <a:off x="4190360" y="25750"/>
        <a:ext cx="1531029" cy="827683"/>
      </dsp:txXfrm>
    </dsp:sp>
    <dsp:sp modelId="{395E8C77-F25A-4C7F-8F3D-DDB2C844D06A}">
      <dsp:nvSpPr>
        <dsp:cNvPr id="0" name=""/>
        <dsp:cNvSpPr/>
      </dsp:nvSpPr>
      <dsp:spPr>
        <a:xfrm>
          <a:off x="3483243" y="3736528"/>
          <a:ext cx="659387" cy="659387"/>
        </a:xfrm>
        <a:prstGeom prst="triangle">
          <a:avLst/>
        </a:prstGeom>
        <a:solidFill>
          <a:schemeClr val="accent5">
            <a:lumMod val="50000"/>
            <a:alpha val="90000"/>
          </a:schemeClr>
        </a:solidFill>
        <a:ln w="6350" cap="flat" cmpd="sng" algn="ctr">
          <a:solidFill>
            <a:schemeClr val="accent5">
              <a:tint val="40000"/>
              <a:alpha val="90000"/>
              <a:hueOff val="13802252"/>
              <a:satOff val="-7404"/>
              <a:lumOff val="-981"/>
              <a:alphaOff val="0"/>
            </a:schemeClr>
          </a:solidFill>
          <a:prstDash val="solid"/>
          <a:miter lim="800000"/>
        </a:ln>
        <a:effectLst/>
        <a:scene3d>
          <a:camera prst="orthographicFront"/>
          <a:lightRig rig="flat" dir="t"/>
        </a:scene3d>
        <a:sp3d extrusionH="12700" prstMaterial="plastic">
          <a:bevelT w="50800" h="50800"/>
        </a:sp3d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</dsp:sp>
    <dsp:sp modelId="{9D8DAC9D-D262-4486-8468-E5B64C125B33}">
      <dsp:nvSpPr>
        <dsp:cNvPr id="0" name=""/>
        <dsp:cNvSpPr/>
      </dsp:nvSpPr>
      <dsp:spPr>
        <a:xfrm rot="240000">
          <a:off x="1834171" y="3453973"/>
          <a:ext cx="3957532" cy="276737"/>
        </a:xfrm>
        <a:prstGeom prst="rect">
          <a:avLst/>
        </a:prstGeom>
        <a:solidFill>
          <a:schemeClr val="accent5">
            <a:lumMod val="50000"/>
            <a:alpha val="90000"/>
          </a:schemeClr>
        </a:solidFill>
        <a:ln w="6350" cap="flat" cmpd="sng" algn="ctr">
          <a:solidFill>
            <a:schemeClr val="accent5">
              <a:tint val="40000"/>
              <a:alpha val="90000"/>
              <a:hueOff val="20703378"/>
              <a:satOff val="-11106"/>
              <a:lumOff val="-1471"/>
              <a:alphaOff val="0"/>
            </a:schemeClr>
          </a:solidFill>
          <a:prstDash val="solid"/>
          <a:miter lim="800000"/>
        </a:ln>
        <a:effectLst/>
        <a:scene3d>
          <a:camera prst="orthographicFront"/>
          <a:lightRig rig="flat" dir="t"/>
        </a:scene3d>
        <a:sp3d extrusionH="12700" prstMaterial="plastic">
          <a:bevelT w="50800" h="50800"/>
        </a:sp3d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</dsp:sp>
    <dsp:sp modelId="{ED20D85B-CA99-4473-A045-8F7D94158FAC}">
      <dsp:nvSpPr>
        <dsp:cNvPr id="0" name=""/>
        <dsp:cNvSpPr/>
      </dsp:nvSpPr>
      <dsp:spPr>
        <a:xfrm rot="240000">
          <a:off x="4214584" y="2955420"/>
          <a:ext cx="1570501" cy="542364"/>
        </a:xfrm>
        <a:prstGeom prst="roundRect">
          <a:avLst/>
        </a:prstGeom>
        <a:gradFill rotWithShape="0">
          <a:gsLst>
            <a:gs pos="0">
              <a:schemeClr val="accent5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5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5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Font typeface="+mj-lt"/>
            <a:buNone/>
          </a:pPr>
          <a:r>
            <a:rPr lang="ru-RU" sz="1200" kern="1200" noProof="1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Методисты </a:t>
          </a:r>
        </a:p>
      </dsp:txBody>
      <dsp:txXfrm>
        <a:off x="4241060" y="2981896"/>
        <a:ext cx="1517549" cy="489412"/>
      </dsp:txXfrm>
    </dsp:sp>
    <dsp:sp modelId="{162F55FD-49EC-469E-9EF5-CEC3858D9DD0}">
      <dsp:nvSpPr>
        <dsp:cNvPr id="0" name=""/>
        <dsp:cNvSpPr/>
      </dsp:nvSpPr>
      <dsp:spPr>
        <a:xfrm rot="240000">
          <a:off x="4258543" y="2375159"/>
          <a:ext cx="1570501" cy="542364"/>
        </a:xfrm>
        <a:prstGeom prst="roundRect">
          <a:avLst/>
        </a:prstGeom>
        <a:solidFill>
          <a:schemeClr val="accent6">
            <a:lumMod val="60000"/>
            <a:lumOff val="40000"/>
          </a:schemeClr>
        </a:solidFill>
        <a:ln>
          <a:noFill/>
        </a:ln>
        <a:effectLst/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41910" tIns="41910" rIns="41910" bIns="41910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Font typeface="+mj-lt"/>
            <a:buNone/>
          </a:pPr>
          <a:r>
            <a:rPr lang="ru-RU" sz="1200" kern="1200" noProof="1">
              <a:solidFill>
                <a:prstClr val="black"/>
              </a:solidFill>
              <a:latin typeface="Times New Roman" panose="02020603050405020304" pitchFamily="18" charset="0"/>
              <a:ea typeface="+mn-ea"/>
              <a:cs typeface="Times New Roman" panose="02020603050405020304" pitchFamily="18" charset="0"/>
            </a:rPr>
            <a:t>Преподаватели спец. дисциплин</a:t>
          </a:r>
        </a:p>
      </dsp:txBody>
      <dsp:txXfrm>
        <a:off x="4285019" y="2401635"/>
        <a:ext cx="1517549" cy="489412"/>
      </dsp:txXfrm>
    </dsp:sp>
    <dsp:sp modelId="{A37134A3-0D56-4C13-8D61-A5EC7674309C}">
      <dsp:nvSpPr>
        <dsp:cNvPr id="0" name=""/>
        <dsp:cNvSpPr/>
      </dsp:nvSpPr>
      <dsp:spPr>
        <a:xfrm rot="240000">
          <a:off x="4302502" y="1794898"/>
          <a:ext cx="1570501" cy="542364"/>
        </a:xfrm>
        <a:prstGeom prst="roundRect">
          <a:avLst/>
        </a:prstGeom>
        <a:gradFill rotWithShape="0">
          <a:gsLst>
            <a:gs pos="0">
              <a:schemeClr val="accent5">
                <a:hueOff val="9819918"/>
                <a:satOff val="10185"/>
                <a:lumOff val="-7255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5">
                <a:hueOff val="9819918"/>
                <a:satOff val="10185"/>
                <a:lumOff val="-7255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5">
                <a:hueOff val="9819918"/>
                <a:satOff val="10185"/>
                <a:lumOff val="-7255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Font typeface="+mj-lt"/>
            <a:buNone/>
          </a:pPr>
          <a:r>
            <a:rPr lang="ru-RU" sz="1200" kern="1200" noProof="1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Начальники методического отдела</a:t>
          </a:r>
        </a:p>
      </dsp:txBody>
      <dsp:txXfrm>
        <a:off x="4328978" y="1821374"/>
        <a:ext cx="1517549" cy="489412"/>
      </dsp:txXfrm>
    </dsp:sp>
    <dsp:sp modelId="{79B27E4F-23D8-41F9-99DD-D13256BB7E1A}">
      <dsp:nvSpPr>
        <dsp:cNvPr id="0" name=""/>
        <dsp:cNvSpPr/>
      </dsp:nvSpPr>
      <dsp:spPr>
        <a:xfrm rot="240000">
          <a:off x="4346461" y="1214637"/>
          <a:ext cx="1570501" cy="542364"/>
        </a:xfrm>
        <a:prstGeom prst="roundRect">
          <a:avLst/>
        </a:prstGeom>
        <a:gradFill rotWithShape="0">
          <a:gsLst>
            <a:gs pos="0">
              <a:schemeClr val="accent5">
                <a:hueOff val="14729877"/>
                <a:satOff val="15278"/>
                <a:lumOff val="-10883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5">
                <a:hueOff val="14729877"/>
                <a:satOff val="15278"/>
                <a:lumOff val="-10883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5">
                <a:hueOff val="14729877"/>
                <a:satOff val="15278"/>
                <a:lumOff val="-10883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Font typeface="+mj-lt"/>
            <a:buNone/>
          </a:pPr>
          <a:r>
            <a:rPr lang="ru-RU" sz="1200" kern="1200" noProof="1">
              <a:solidFill>
                <a:schemeClr val="bg1"/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Заместители директоров по учебной части</a:t>
          </a:r>
        </a:p>
      </dsp:txBody>
      <dsp:txXfrm>
        <a:off x="4372937" y="1241113"/>
        <a:ext cx="1517549" cy="489412"/>
      </dsp:txXfrm>
    </dsp:sp>
    <dsp:sp modelId="{BFB329B6-2850-408F-A6EC-AA3A11C292E0}">
      <dsp:nvSpPr>
        <dsp:cNvPr id="0" name=""/>
        <dsp:cNvSpPr/>
      </dsp:nvSpPr>
      <dsp:spPr>
        <a:xfrm rot="240000">
          <a:off x="1928707" y="2797167"/>
          <a:ext cx="1570501" cy="542364"/>
        </a:xfrm>
        <a:prstGeom prst="roundRect">
          <a:avLst/>
        </a:prstGeom>
        <a:solidFill>
          <a:srgbClr val="63A1DB"/>
        </a:solidFill>
        <a:ln>
          <a:noFill/>
        </a:ln>
        <a:effectLst/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200" kern="1200" noProof="1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Методисты</a:t>
          </a:r>
        </a:p>
      </dsp:txBody>
      <dsp:txXfrm>
        <a:off x="1955183" y="2823643"/>
        <a:ext cx="1517549" cy="489412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balance1">
  <dgm:title val=""/>
  <dgm:desc val=""/>
  <dgm:catLst>
    <dgm:cat type="relationship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23">
          <dgm:prSet phldr="1"/>
        </dgm:pt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14" srcId="1" destId="12" srcOrd="0" destOrd="0"/>
        <dgm:cxn modelId="23" srcId="2" destId="21" srcOrd="0" destOrd="0"/>
        <dgm:cxn modelId="24" srcId="2" destId="22" srcOrd="0" destOrd="0"/>
        <dgm:cxn modelId="25" srcId="2" destId="23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2"/>
        <dgm:pt modelId="21"/>
        <dgm:pt modelId="22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14" srcId="1" destId="12" srcOrd="0" destOrd="0"/>
        <dgm:cxn modelId="23" srcId="2" destId="21" srcOrd="0" destOrd="0"/>
        <dgm:cxn modelId="24" srcId="2" destId="22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2"/>
        <dgm:pt modelId="21"/>
        <dgm:pt modelId="22"/>
        <dgm:pt modelId="23"/>
      </dgm:ptLst>
      <dgm:cxnLst>
        <dgm:cxn modelId="4" srcId="0" destId="1" srcOrd="0" destOrd="0"/>
        <dgm:cxn modelId="5" srcId="0" destId="2" srcOrd="1" destOrd="0"/>
        <dgm:cxn modelId="15" srcId="1" destId="11" srcOrd="0" destOrd="0"/>
        <dgm:cxn modelId="16" srcId="1" destId="12" srcOrd="0" destOrd="0"/>
        <dgm:cxn modelId="17" srcId="1" destId="13" srcOrd="0" destOrd="0"/>
        <dgm:cxn modelId="25" srcId="2" destId="21" srcOrd="0" destOrd="0"/>
        <dgm:cxn modelId="26" srcId="2" destId="22" srcOrd="0" destOrd="0"/>
        <dgm:cxn modelId="27" srcId="2" destId="23" srcOrd="0" destOrd="0"/>
      </dgm:cxnLst>
      <dgm:bg/>
      <dgm:whole/>
    </dgm:dataModel>
  </dgm:clrData>
  <dgm:layoutNode name="outerComposite">
    <dgm:varLst>
      <dgm:chMax val="2"/>
      <dgm:animLvl val="lvl"/>
      <dgm:resizeHandles val="exact"/>
    </dgm:varLst>
    <dgm:alg type="composite">
      <dgm:param type="ar" val="1"/>
    </dgm:alg>
    <dgm:shape xmlns:r="http://schemas.openxmlformats.org/officeDocument/2006/relationships" r:blip="">
      <dgm:adjLst/>
    </dgm:shape>
    <dgm:presOf/>
    <dgm:constrLst>
      <dgm:constr type="h" for="ch" forName="parentComposite" refType="h" refFor="ch" refForName="dummyMaxCanvas" op="equ" fact="0.2"/>
      <dgm:constr type="t" for="ch" forName="parentComposite"/>
      <dgm:constr type="h" for="ch" forName="childrenComposite" refType="h" refFor="ch" refForName="dummyMaxCanvas" op="equ" fact="0.8"/>
      <dgm:constr type="t" for="ch" forName="childrenComposite" refType="h" refFor="ch" refForName="dummyMaxCanvas" fact="0.2"/>
    </dgm:constrLst>
    <dgm:ruleLst/>
    <dgm:layoutNode name="dummyMaxCanvas">
      <dgm:alg type="sp"/>
      <dgm:shape xmlns:r="http://schemas.openxmlformats.org/officeDocument/2006/relationships" r:blip="">
        <dgm:adjLst/>
      </dgm:shape>
      <dgm:presOf/>
      <dgm:constrLst/>
      <dgm:ruleLst/>
    </dgm:layoutNode>
    <dgm:layoutNode name="parentComposite">
      <dgm:alg type="composite"/>
      <dgm:shape xmlns:r="http://schemas.openxmlformats.org/officeDocument/2006/relationships" r:blip="">
        <dgm:adjLst/>
      </dgm:shape>
      <dgm:presOf/>
      <dgm:constrLst>
        <dgm:constr type="w" for="ch" forName="parent1" refType="w" fact="0.36"/>
        <dgm:constr type="ctrX" for="ch" forName="parent1" refType="w" fact="0.24"/>
        <dgm:constr type="w" for="ch" forName="parent2" refType="w" fact="0.36"/>
        <dgm:constr type="ctrX" for="ch" forName="parent2" refType="w" fact="0.76"/>
        <dgm:constr type="primFontSz" for="ch" ptType="node" op="equ"/>
      </dgm:constrLst>
      <dgm:ruleLst/>
      <dgm:layoutNode name="parent1" styleLbl="alignAccFollowNode1">
        <dgm:varLst>
          <dgm:chMax val="4"/>
        </dgm:varLst>
        <dgm:alg type="tx"/>
        <dgm:shape xmlns:r="http://schemas.openxmlformats.org/officeDocument/2006/relationships" type="roundRect" r:blip="">
          <dgm:adjLst>
            <dgm:adj idx="1" val="0.1"/>
          </dgm:adjLst>
        </dgm:shape>
        <dgm:presOf axis="ch" ptType="node" cnt="1"/>
        <dgm:constrLst>
          <dgm:constr type="primFontSz" val="65"/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layoutNode name="parent2" styleLbl="alignAccFollowNode1">
        <dgm:varLst>
          <dgm:chMax val="4"/>
        </dgm:varLst>
        <dgm:alg type="tx"/>
        <dgm:shape xmlns:r="http://schemas.openxmlformats.org/officeDocument/2006/relationships" type="roundRect" r:blip="">
          <dgm:adjLst>
            <dgm:adj idx="1" val="0.1"/>
          </dgm:adjLst>
        </dgm:shape>
        <dgm:presOf axis="ch" ptType="node" st="2" cnt="1"/>
        <dgm:constrLst>
          <dgm:constr type="primFontSz" val="65"/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</dgm:layoutNode>
    <dgm:layoutNode name="childrenComposite">
      <dgm:alg type="composite"/>
      <dgm:shape xmlns:r="http://schemas.openxmlformats.org/officeDocument/2006/relationships" r:blip="">
        <dgm:adjLst/>
      </dgm:shape>
      <dgm:presOf/>
      <dgm:constrLst>
        <dgm:constr type="primFontSz" for="ch" ptType="node" op="equ" val="65"/>
        <dgm:constr type="w" for="ch" forName="fulcrum" refType="w" fact="0.15"/>
        <dgm:constr type="h" for="ch" forName="fulcrum" refType="w" refFor="ch" refForName="fulcrum"/>
        <dgm:constr type="b" for="ch" forName="fulcrum" refType="h"/>
        <dgm:constr type="ctrX" for="ch" forName="fulcrum" refType="w" fact="0.5"/>
        <dgm:constr type="w" for="ch" forName="balance_00" refType="w" fact="0.9"/>
        <dgm:constr type="h" for="ch" forName="balance_00" refType="h" fact="0.076"/>
        <dgm:constr type="b" for="ch" forName="balance_00" refType="h" fact="0.81"/>
        <dgm:constr type="ctrX" for="ch" forName="balance_00" refType="w" fact="0.5"/>
        <dgm:constr type="w" for="ch" forName="balance_01" refType="w"/>
        <dgm:constr type="h" for="ch" forName="balance_01" refType="h" fact="0.157"/>
        <dgm:constr type="b" for="ch" forName="balance_01" refType="h" fact="0.85"/>
        <dgm:constr type="ctrX" for="ch" forName="balance_01" refType="w" fact="0.5"/>
        <dgm:constr type="w" for="ch" forName="balance_02" refType="w"/>
        <dgm:constr type="h" for="ch" forName="balance_02" refType="h" fact="0.157"/>
        <dgm:constr type="b" for="ch" forName="balance_02" refType="h" fact="0.85"/>
        <dgm:constr type="ctrX" for="ch" forName="balance_02" refType="w" fact="0.5"/>
        <dgm:constr type="w" for="ch" forName="balance_03" refType="w"/>
        <dgm:constr type="h" for="ch" forName="balance_03" refType="h" fact="0.157"/>
        <dgm:constr type="b" for="ch" forName="balance_03" refType="h" fact="0.85"/>
        <dgm:constr type="ctrX" for="ch" forName="balance_03" refType="w" fact="0.5"/>
        <dgm:constr type="w" for="ch" forName="balance_04" refType="w"/>
        <dgm:constr type="h" for="ch" forName="balance_04" refType="h" fact="0.157"/>
        <dgm:constr type="b" for="ch" forName="balance_04" refType="h" fact="0.85"/>
        <dgm:constr type="ctrX" for="ch" forName="balance_04" refType="w" fact="0.5"/>
        <dgm:constr type="w" for="ch" forName="balance_10" refType="w"/>
        <dgm:constr type="h" for="ch" forName="balance_10" refType="h" fact="0.157"/>
        <dgm:constr type="b" for="ch" forName="balance_10" refType="h" fact="0.85"/>
        <dgm:constr type="ctrX" for="ch" forName="balance_10" refType="w" fact="0.5"/>
        <dgm:constr type="w" for="ch" forName="balance_11" refType="w" fact="0.9"/>
        <dgm:constr type="h" for="ch" forName="balance_11" refType="h" fact="0.076"/>
        <dgm:constr type="b" for="ch" forName="balance_11" refType="h" fact="0.81"/>
        <dgm:constr type="ctrX" for="ch" forName="balance_11" refType="w" fact="0.5"/>
        <dgm:constr type="w" for="ch" forName="balance_12" refType="w"/>
        <dgm:constr type="h" for="ch" forName="balance_12" refType="h" fact="0.157"/>
        <dgm:constr type="b" for="ch" forName="balance_12" refType="h" fact="0.85"/>
        <dgm:constr type="ctrX" for="ch" forName="balance_12" refType="w" fact="0.5"/>
        <dgm:constr type="w" for="ch" forName="balance_13" refType="w"/>
        <dgm:constr type="h" for="ch" forName="balance_13" refType="h" fact="0.157"/>
        <dgm:constr type="b" for="ch" forName="balance_13" refType="h" fact="0.85"/>
        <dgm:constr type="ctrX" for="ch" forName="balance_13" refType="w" fact="0.5"/>
        <dgm:constr type="w" for="ch" forName="balance_14" refType="w"/>
        <dgm:constr type="h" for="ch" forName="balance_14" refType="h" fact="0.157"/>
        <dgm:constr type="b" for="ch" forName="balance_14" refType="h" fact="0.85"/>
        <dgm:constr type="ctrX" for="ch" forName="balance_14" refType="w" fact="0.5"/>
        <dgm:constr type="w" for="ch" forName="balance_20" refType="w"/>
        <dgm:constr type="h" for="ch" forName="balance_20" refType="h" fact="0.157"/>
        <dgm:constr type="b" for="ch" forName="balance_20" refType="h" fact="0.85"/>
        <dgm:constr type="ctrX" for="ch" forName="balance_20" refType="w" fact="0.5"/>
        <dgm:constr type="w" for="ch" forName="balance_21" refType="w"/>
        <dgm:constr type="h" for="ch" forName="balance_21" refType="h" fact="0.157"/>
        <dgm:constr type="b" for="ch" forName="balance_21" refType="h" fact="0.85"/>
        <dgm:constr type="ctrX" for="ch" forName="balance_21" refType="w" fact="0.5"/>
        <dgm:constr type="w" for="ch" forName="balance_22" refType="w" fact="0.9"/>
        <dgm:constr type="h" for="ch" forName="balance_22" refType="h" fact="0.076"/>
        <dgm:constr type="b" for="ch" forName="balance_22" refType="h" fact="0.81"/>
        <dgm:constr type="ctrX" for="ch" forName="balance_22" refType="w" fact="0.5"/>
        <dgm:constr type="w" for="ch" forName="balance_23" refType="w"/>
        <dgm:constr type="h" for="ch" forName="balance_23" refType="h" fact="0.157"/>
        <dgm:constr type="b" for="ch" forName="balance_23" refType="h" fact="0.85"/>
        <dgm:constr type="ctrX" for="ch" forName="balance_23" refType="w" fact="0.5"/>
        <dgm:constr type="w" for="ch" forName="balance_24" refType="w"/>
        <dgm:constr type="h" for="ch" forName="balance_24" refType="h" fact="0.157"/>
        <dgm:constr type="b" for="ch" forName="balance_24" refType="h" fact="0.85"/>
        <dgm:constr type="ctrX" for="ch" forName="balance_24" refType="w" fact="0.5"/>
        <dgm:constr type="w" for="ch" forName="balance_30" refType="w"/>
        <dgm:constr type="h" for="ch" forName="balance_30" refType="h" fact="0.157"/>
        <dgm:constr type="b" for="ch" forName="balance_30" refType="h" fact="0.85"/>
        <dgm:constr type="ctrX" for="ch" forName="balance_30" refType="w" fact="0.5"/>
        <dgm:constr type="w" for="ch" forName="balance_31" refType="w"/>
        <dgm:constr type="h" for="ch" forName="balance_31" refType="h" fact="0.157"/>
        <dgm:constr type="b" for="ch" forName="balance_31" refType="h" fact="0.85"/>
        <dgm:constr type="ctrX" for="ch" forName="balance_31" refType="w" fact="0.5"/>
        <dgm:constr type="w" for="ch" forName="balance_32" refType="w"/>
        <dgm:constr type="h" for="ch" forName="balance_32" refType="h" fact="0.157"/>
        <dgm:constr type="b" for="ch" forName="balance_32" refType="h" fact="0.85"/>
        <dgm:constr type="ctrX" for="ch" forName="balance_32" refType="w" fact="0.5"/>
        <dgm:constr type="w" for="ch" forName="balance_33" refType="w" fact="0.9"/>
        <dgm:constr type="h" for="ch" forName="balance_33" refType="h" fact="0.076"/>
        <dgm:constr type="b" for="ch" forName="balance_33" refType="h" fact="0.81"/>
        <dgm:constr type="ctrX" for="ch" forName="balance_33" refType="w" fact="0.5"/>
        <dgm:constr type="w" for="ch" forName="balance_34" refType="w"/>
        <dgm:constr type="h" for="ch" forName="balance_34" refType="h" fact="0.157"/>
        <dgm:constr type="b" for="ch" forName="balance_34" refType="h" fact="0.85"/>
        <dgm:constr type="ctrX" for="ch" forName="balance_34" refType="w" fact="0.5"/>
        <dgm:constr type="w" for="ch" forName="balance_40" refType="w"/>
        <dgm:constr type="h" for="ch" forName="balance_40" refType="h" fact="0.157"/>
        <dgm:constr type="b" for="ch" forName="balance_40" refType="h" fact="0.85"/>
        <dgm:constr type="ctrX" for="ch" forName="balance_40" refType="w" fact="0.5"/>
        <dgm:constr type="w" for="ch" forName="balance_41" refType="w"/>
        <dgm:constr type="h" for="ch" forName="balance_41" refType="h" fact="0.157"/>
        <dgm:constr type="b" for="ch" forName="balance_41" refType="h" fact="0.85"/>
        <dgm:constr type="ctrX" for="ch" forName="balance_41" refType="w" fact="0.5"/>
        <dgm:constr type="w" for="ch" forName="balance_42" refType="w"/>
        <dgm:constr type="h" for="ch" forName="balance_42" refType="h" fact="0.157"/>
        <dgm:constr type="b" for="ch" forName="balance_42" refType="h" fact="0.85"/>
        <dgm:constr type="ctrX" for="ch" forName="balance_42" refType="w" fact="0.5"/>
        <dgm:constr type="w" for="ch" forName="balance_43" refType="w"/>
        <dgm:constr type="h" for="ch" forName="balance_43" refType="h" fact="0.157"/>
        <dgm:constr type="b" for="ch" forName="balance_43" refType="h" fact="0.85"/>
        <dgm:constr type="ctrX" for="ch" forName="balance_43" refType="w" fact="0.5"/>
        <dgm:constr type="w" for="ch" forName="balance_44" refType="w" fact="0.9"/>
        <dgm:constr type="h" for="ch" forName="balance_44" refType="h" fact="0.076"/>
        <dgm:constr type="b" for="ch" forName="balance_44" refType="h" fact="0.81"/>
        <dgm:constr type="ctrX" for="ch" forName="balance_44" refType="w" fact="0.5"/>
        <dgm:constr type="w" for="ch" forName="right_01_1" refType="w" fact="0.4"/>
        <dgm:constr type="h" for="ch" forName="right_01_1" refType="h" fact="0.7"/>
        <dgm:constr type="b" for="ch" forName="right_01_1" refType="h" fact="0.76"/>
        <dgm:constr type="ctrX" for="ch" forName="right_01_1" refType="w" fact="0.78"/>
        <dgm:constr type="w" for="ch" forName="left_10_1" refType="w" fact="0.4"/>
        <dgm:constr type="h" for="ch" forName="left_10_1" refType="h" fact="0.7"/>
        <dgm:constr type="b" for="ch" forName="left_10_1" refType="h" fact="0.76"/>
        <dgm:constr type="ctrX" for="ch" forName="left_10_1" refType="w" fact="0.22"/>
        <dgm:constr type="w" for="ch" forName="right_11_1" refType="w" fact="0.36"/>
        <dgm:constr type="h" for="ch" forName="right_11_1" refType="h" fact="0.67"/>
        <dgm:constr type="b" for="ch" forName="right_11_1" refType="h" fact="0.725"/>
        <dgm:constr type="ctrX" for="ch" forName="right_11_1" refType="w" fact="0.76"/>
        <dgm:constr type="w" for="ch" forName="left_11_1" refType="w" fact="0.36"/>
        <dgm:constr type="h" for="ch" forName="left_11_1" refType="h" fact="0.67"/>
        <dgm:constr type="b" for="ch" forName="left_11_1" refType="h" fact="0.725"/>
        <dgm:constr type="ctrX" for="ch" forName="left_11_1" refType="w" fact="0.24"/>
        <dgm:constr type="w" for="ch" forName="right_02_1" refType="w" fact="0.388"/>
        <dgm:constr type="h" for="ch" forName="right_02_1" refType="h" fact="0.36"/>
        <dgm:constr type="b" for="ch" forName="right_02_1" refType="h" fact="0.76"/>
        <dgm:constr type="ctrX" for="ch" forName="right_02_1" refType="w" fact="0.77"/>
        <dgm:constr type="w" for="ch" forName="right_02_2" refType="w" fact="0.388"/>
        <dgm:constr type="h" for="ch" forName="right_02_2" refType="h" fact="0.36"/>
        <dgm:constr type="b" for="ch" forName="right_02_2" refType="h" fact="0.42"/>
        <dgm:constr type="ctrX" for="ch" forName="right_02_2" refType="w" fact="0.79"/>
        <dgm:constr type="w" for="ch" forName="left_20_1" refType="w" fact="0.388"/>
        <dgm:constr type="h" for="ch" forName="left_20_1" refType="h" fact="0.36"/>
        <dgm:constr type="b" for="ch" forName="left_20_1" refType="h" fact="0.76"/>
        <dgm:constr type="ctrX" for="ch" forName="left_20_1" refType="w" fact="0.23"/>
        <dgm:constr type="w" for="ch" forName="left_20_2" refType="w" fact="0.388"/>
        <dgm:constr type="h" for="ch" forName="left_20_2" refType="h" fact="0.36"/>
        <dgm:constr type="b" for="ch" forName="left_20_2" refType="h" fact="0.42"/>
        <dgm:constr type="ctrX" for="ch" forName="left_20_2" refType="w" fact="0.21"/>
        <dgm:constr type="w" for="ch" forName="right_12_1" refType="w" fact="0.388"/>
        <dgm:constr type="h" for="ch" forName="right_12_1" refType="h" fact="0.36"/>
        <dgm:constr type="b" for="ch" forName="right_12_1" refType="h" fact="0.76"/>
        <dgm:constr type="ctrX" for="ch" forName="right_12_1" refType="w" fact="0.77"/>
        <dgm:constr type="w" for="ch" forName="right_12_2" refType="w" fact="0.388"/>
        <dgm:constr type="h" for="ch" forName="right_12_2" refType="h" fact="0.36"/>
        <dgm:constr type="b" for="ch" forName="right_12_2" refType="h" fact="0.42"/>
        <dgm:constr type="ctrX" for="ch" forName="right_12_2" refType="w" fact="0.79"/>
        <dgm:constr type="w" for="ch" forName="left_12_1" refType="w" fact="0.388"/>
        <dgm:constr type="h" for="ch" forName="left_12_1" refType="h" fact="0.36"/>
        <dgm:constr type="b" for="ch" forName="left_12_1" refType="h" fact="0.715"/>
        <dgm:constr type="ctrX" for="ch" forName="left_12_1" refType="w" fact="0.255"/>
        <dgm:constr type="w" for="ch" forName="right_22_1" refType="w" fact="0.36"/>
        <dgm:constr type="h" for="ch" forName="right_22_1" refType="h" fact="0.32"/>
        <dgm:constr type="b" for="ch" forName="right_22_1" refType="h" fact="0.725"/>
        <dgm:constr type="ctrX" for="ch" forName="right_22_1" refType="w" fact="0.76"/>
        <dgm:constr type="w" for="ch" forName="right_22_2" refType="w" fact="0.36"/>
        <dgm:constr type="h" for="ch" forName="right_22_2" refType="h" fact="0.32"/>
        <dgm:constr type="b" for="ch" forName="right_22_2" refType="h" fact="0.39"/>
        <dgm:constr type="ctrX" for="ch" forName="right_22_2" refType="w" fact="0.76"/>
        <dgm:constr type="w" for="ch" forName="left_22_1" refType="w" fact="0.36"/>
        <dgm:constr type="h" for="ch" forName="left_22_1" refType="h" fact="0.32"/>
        <dgm:constr type="b" for="ch" forName="left_22_1" refType="h" fact="0.725"/>
        <dgm:constr type="ctrX" for="ch" forName="left_22_1" refType="w" fact="0.24"/>
        <dgm:constr type="w" for="ch" forName="left_22_2" refType="w" fact="0.36"/>
        <dgm:constr type="h" for="ch" forName="left_22_2" refType="h" fact="0.32"/>
        <dgm:constr type="b" for="ch" forName="left_22_2" refType="h" fact="0.39"/>
        <dgm:constr type="ctrX" for="ch" forName="left_22_2" refType="w" fact="0.24"/>
        <dgm:constr type="w" for="ch" forName="left_21_1" refType="w" fact="0.388"/>
        <dgm:constr type="h" for="ch" forName="left_21_1" refType="h" fact="0.36"/>
        <dgm:constr type="b" for="ch" forName="left_21_1" refType="h" fact="0.76"/>
        <dgm:constr type="ctrX" for="ch" forName="left_21_1" refType="w" fact="0.23"/>
        <dgm:constr type="w" for="ch" forName="left_21_2" refType="w" fact="0.388"/>
        <dgm:constr type="h" for="ch" forName="left_21_2" refType="h" fact="0.36"/>
        <dgm:constr type="b" for="ch" forName="left_21_2" refType="h" fact="0.42"/>
        <dgm:constr type="ctrX" for="ch" forName="left_21_2" refType="w" fact="0.21"/>
        <dgm:constr type="w" for="ch" forName="right_21_1" refType="w" fact="0.388"/>
        <dgm:constr type="h" for="ch" forName="right_21_1" refType="h" fact="0.36"/>
        <dgm:constr type="b" for="ch" forName="right_21_1" refType="h" fact="0.715"/>
        <dgm:constr type="ctrX" for="ch" forName="right_21_1" refType="w" fact="0.745"/>
        <dgm:constr type="w" for="ch" forName="right_03_1" refType="w" fact="0.37"/>
        <dgm:constr type="h" for="ch" forName="right_03_1" refType="h" fact="0.24"/>
        <dgm:constr type="b" for="ch" forName="right_03_1" refType="h" fact="0.76"/>
        <dgm:constr type="ctrX" for="ch" forName="right_03_1" refType="w" fact="0.77"/>
        <dgm:constr type="w" for="ch" forName="right_03_2" refType="w" fact="0.37"/>
        <dgm:constr type="h" for="ch" forName="right_03_2" refType="h" fact="0.24"/>
        <dgm:constr type="b" for="ch" forName="right_03_2" refType="h" fact="0.535"/>
        <dgm:constr type="ctrX" for="ch" forName="right_03_2" refType="w" fact="0.783"/>
        <dgm:constr type="w" for="ch" forName="right_03_3" refType="w" fact="0.37"/>
        <dgm:constr type="h" for="ch" forName="right_03_3" refType="h" fact="0.24"/>
        <dgm:constr type="b" for="ch" forName="right_03_3" refType="h" fact="0.315"/>
        <dgm:constr type="ctrX" for="ch" forName="right_03_3" refType="w" fact="0.796"/>
        <dgm:constr type="w" for="ch" forName="left_30_1" refType="w" fact="0.37"/>
        <dgm:constr type="h" for="ch" forName="left_30_1" refType="h" fact="0.24"/>
        <dgm:constr type="b" for="ch" forName="left_30_1" refType="h" fact="0.76"/>
        <dgm:constr type="ctrX" for="ch" forName="left_30_1" refType="w" fact="0.23"/>
        <dgm:constr type="w" for="ch" forName="left_30_2" refType="w" fact="0.37"/>
        <dgm:constr type="h" for="ch" forName="left_30_2" refType="h" fact="0.24"/>
        <dgm:constr type="b" for="ch" forName="left_30_2" refType="h" fact="0.535"/>
        <dgm:constr type="ctrX" for="ch" forName="left_30_2" refType="w" fact="0.217"/>
        <dgm:constr type="w" for="ch" forName="left_30_3" refType="w" fact="0.37"/>
        <dgm:constr type="h" for="ch" forName="left_30_3" refType="h" fact="0.24"/>
        <dgm:constr type="b" for="ch" forName="left_30_3" refType="h" fact="0.315"/>
        <dgm:constr type="ctrX" for="ch" forName="left_30_3" refType="w" fact="0.204"/>
        <dgm:constr type="w" for="ch" forName="right_13_1" refType="w" fact="0.37"/>
        <dgm:constr type="h" for="ch" forName="right_13_1" refType="h" fact="0.24"/>
        <dgm:constr type="b" for="ch" forName="right_13_1" refType="h" fact="0.76"/>
        <dgm:constr type="ctrX" for="ch" forName="right_13_1" refType="w" fact="0.77"/>
        <dgm:constr type="w" for="ch" forName="right_13_2" refType="w" fact="0.37"/>
        <dgm:constr type="h" for="ch" forName="right_13_2" refType="h" fact="0.24"/>
        <dgm:constr type="b" for="ch" forName="right_13_2" refType="h" fact="0.535"/>
        <dgm:constr type="ctrX" for="ch" forName="right_13_2" refType="w" fact="0.783"/>
        <dgm:constr type="w" for="ch" forName="right_13_3" refType="w" fact="0.37"/>
        <dgm:constr type="h" for="ch" forName="right_13_3" refType="h" fact="0.24"/>
        <dgm:constr type="b" for="ch" forName="right_13_3" refType="h" fact="0.315"/>
        <dgm:constr type="ctrX" for="ch" forName="right_13_3" refType="w" fact="0.796"/>
        <dgm:constr type="w" for="ch" forName="left_13_1" refType="w" fact="0.37"/>
        <dgm:constr type="h" for="ch" forName="left_13_1" refType="h" fact="0.24"/>
        <dgm:constr type="b" for="ch" forName="left_13_1" refType="h" fact="0.715"/>
        <dgm:constr type="ctrX" for="ch" forName="left_13_1" refType="w" fact="0.255"/>
        <dgm:constr type="w" for="ch" forName="left_31_1" refType="w" fact="0.37"/>
        <dgm:constr type="h" for="ch" forName="left_31_1" refType="h" fact="0.24"/>
        <dgm:constr type="b" for="ch" forName="left_31_1" refType="h" fact="0.76"/>
        <dgm:constr type="ctrX" for="ch" forName="left_31_1" refType="w" fact="0.23"/>
        <dgm:constr type="w" for="ch" forName="left_31_2" refType="w" fact="0.37"/>
        <dgm:constr type="h" for="ch" forName="left_31_2" refType="h" fact="0.24"/>
        <dgm:constr type="b" for="ch" forName="left_31_2" refType="h" fact="0.535"/>
        <dgm:constr type="ctrX" for="ch" forName="left_31_2" refType="w" fact="0.217"/>
        <dgm:constr type="w" for="ch" forName="left_31_3" refType="w" fact="0.37"/>
        <dgm:constr type="h" for="ch" forName="left_31_3" refType="h" fact="0.24"/>
        <dgm:constr type="b" for="ch" forName="left_31_3" refType="h" fact="0.315"/>
        <dgm:constr type="ctrX" for="ch" forName="left_31_3" refType="w" fact="0.204"/>
        <dgm:constr type="w" for="ch" forName="right_31_1" refType="w" fact="0.37"/>
        <dgm:constr type="h" for="ch" forName="right_31_1" refType="h" fact="0.24"/>
        <dgm:constr type="b" for="ch" forName="right_31_1" refType="h" fact="0.715"/>
        <dgm:constr type="ctrX" for="ch" forName="right_31_1" refType="w" fact="0.745"/>
        <dgm:constr type="w" for="ch" forName="right_23_1" refType="w" fact="0.37"/>
        <dgm:constr type="h" for="ch" forName="right_23_1" refType="h" fact="0.24"/>
        <dgm:constr type="b" for="ch" forName="right_23_1" refType="h" fact="0.76"/>
        <dgm:constr type="ctrX" for="ch" forName="right_23_1" refType="w" fact="0.77"/>
        <dgm:constr type="w" for="ch" forName="right_23_2" refType="w" fact="0.37"/>
        <dgm:constr type="h" for="ch" forName="right_23_2" refType="h" fact="0.24"/>
        <dgm:constr type="b" for="ch" forName="right_23_2" refType="h" fact="0.535"/>
        <dgm:constr type="ctrX" for="ch" forName="right_23_2" refType="w" fact="0.783"/>
        <dgm:constr type="w" for="ch" forName="right_23_3" refType="w" fact="0.37"/>
        <dgm:constr type="h" for="ch" forName="right_23_3" refType="h" fact="0.24"/>
        <dgm:constr type="b" for="ch" forName="right_23_3" refType="h" fact="0.315"/>
        <dgm:constr type="ctrX" for="ch" forName="right_23_3" refType="w" fact="0.796"/>
        <dgm:constr type="w" for="ch" forName="left_23_1" refType="w" fact="0.37"/>
        <dgm:constr type="h" for="ch" forName="left_23_1" refType="h" fact="0.24"/>
        <dgm:constr type="b" for="ch" forName="left_23_1" refType="h" fact="0.715"/>
        <dgm:constr type="ctrX" for="ch" forName="left_23_1" refType="w" fact="0.255"/>
        <dgm:constr type="w" for="ch" forName="left_23_2" refType="w" fact="0.37"/>
        <dgm:constr type="h" for="ch" forName="left_23_2" refType="h" fact="0.24"/>
        <dgm:constr type="b" for="ch" forName="left_23_2" refType="h" fact="0.49"/>
        <dgm:constr type="ctrX" for="ch" forName="left_23_2" refType="w" fact="0.268"/>
        <dgm:constr type="w" for="ch" forName="left_32_1" refType="w" fact="0.37"/>
        <dgm:constr type="h" for="ch" forName="left_32_1" refType="h" fact="0.24"/>
        <dgm:constr type="b" for="ch" forName="left_32_1" refType="h" fact="0.76"/>
        <dgm:constr type="ctrX" for="ch" forName="left_32_1" refType="w" fact="0.23"/>
        <dgm:constr type="w" for="ch" forName="left_32_2" refType="w" fact="0.37"/>
        <dgm:constr type="h" for="ch" forName="left_32_2" refType="h" fact="0.24"/>
        <dgm:constr type="b" for="ch" forName="left_32_2" refType="h" fact="0.535"/>
        <dgm:constr type="ctrX" for="ch" forName="left_32_2" refType="w" fact="0.217"/>
        <dgm:constr type="w" for="ch" forName="left_32_3" refType="w" fact="0.37"/>
        <dgm:constr type="h" for="ch" forName="left_32_3" refType="h" fact="0.24"/>
        <dgm:constr type="b" for="ch" forName="left_32_3" refType="h" fact="0.315"/>
        <dgm:constr type="ctrX" for="ch" forName="left_32_3" refType="w" fact="0.204"/>
        <dgm:constr type="w" for="ch" forName="right_32_1" refType="w" fact="0.37"/>
        <dgm:constr type="h" for="ch" forName="right_32_1" refType="h" fact="0.24"/>
        <dgm:constr type="b" for="ch" forName="right_32_1" refType="h" fact="0.715"/>
        <dgm:constr type="ctrX" for="ch" forName="right_32_1" refType="w" fact="0.745"/>
        <dgm:constr type="w" for="ch" forName="right_32_2" refType="w" fact="0.37"/>
        <dgm:constr type="h" for="ch" forName="right_32_2" refType="h" fact="0.24"/>
        <dgm:constr type="b" for="ch" forName="right_32_2" refType="h" fact="0.49"/>
        <dgm:constr type="ctrX" for="ch" forName="right_32_2" refType="w" fact="0.732"/>
        <dgm:constr type="w" for="ch" forName="right_33_1" refType="w" fact="0.36"/>
        <dgm:constr type="h" for="ch" forName="right_33_1" refType="h" fact="0.21"/>
        <dgm:constr type="b" for="ch" forName="right_33_1" refType="h" fact="0.725"/>
        <dgm:constr type="ctrX" for="ch" forName="right_33_1" refType="w" fact="0.76"/>
        <dgm:constr type="w" for="ch" forName="right_33_2" refType="w" fact="0.36"/>
        <dgm:constr type="h" for="ch" forName="right_33_2" refType="h" fact="0.21"/>
        <dgm:constr type="b" for="ch" forName="right_33_2" refType="h" fact="0.5"/>
        <dgm:constr type="ctrX" for="ch" forName="right_33_2" refType="w" fact="0.76"/>
        <dgm:constr type="w" for="ch" forName="right_33_3" refType="w" fact="0.36"/>
        <dgm:constr type="h" for="ch" forName="right_33_3" refType="h" fact="0.21"/>
        <dgm:constr type="b" for="ch" forName="right_33_3" refType="h" fact="0.275"/>
        <dgm:constr type="ctrX" for="ch" forName="right_33_3" refType="w" fact="0.76"/>
        <dgm:constr type="w" for="ch" forName="left_33_1" refType="w" fact="0.36"/>
        <dgm:constr type="h" for="ch" forName="left_33_1" refType="h" fact="0.21"/>
        <dgm:constr type="b" for="ch" forName="left_33_1" refType="h" fact="0.725"/>
        <dgm:constr type="ctrX" for="ch" forName="left_33_1" refType="w" fact="0.24"/>
        <dgm:constr type="w" for="ch" forName="left_33_2" refType="w" fact="0.36"/>
        <dgm:constr type="h" for="ch" forName="left_33_2" refType="h" fact="0.21"/>
        <dgm:constr type="b" for="ch" forName="left_33_2" refType="h" fact="0.5"/>
        <dgm:constr type="ctrX" for="ch" forName="left_33_2" refType="w" fact="0.24"/>
        <dgm:constr type="w" for="ch" forName="left_33_3" refType="w" fact="0.36"/>
        <dgm:constr type="h" for="ch" forName="left_33_3" refType="h" fact="0.21"/>
        <dgm:constr type="b" for="ch" forName="left_33_3" refType="h" fact="0.275"/>
        <dgm:constr type="ctrX" for="ch" forName="left_33_3" refType="w" fact="0.24"/>
        <dgm:constr type="w" for="ch" forName="right_04_1" refType="w" fact="0.365"/>
        <dgm:constr type="h" for="ch" forName="right_04_1" refType="h" fact="0.185"/>
        <dgm:constr type="b" for="ch" forName="right_04_1" refType="h" fact="0.76"/>
        <dgm:constr type="ctrX" for="ch" forName="right_04_1" refType="w" fact="0.77"/>
        <dgm:constr type="w" for="ch" forName="right_04_2" refType="w" fact="0.365"/>
        <dgm:constr type="h" for="ch" forName="right_04_2" refType="h" fact="0.185"/>
        <dgm:constr type="b" for="ch" forName="right_04_2" refType="h" fact="0.595"/>
        <dgm:constr type="ctrX" for="ch" forName="right_04_2" refType="w" fact="0.78"/>
        <dgm:constr type="w" for="ch" forName="right_04_3" refType="w" fact="0.365"/>
        <dgm:constr type="h" for="ch" forName="right_04_3" refType="h" fact="0.185"/>
        <dgm:constr type="b" for="ch" forName="right_04_3" refType="h" fact="0.43"/>
        <dgm:constr type="ctrX" for="ch" forName="right_04_3" refType="w" fact="0.79"/>
        <dgm:constr type="w" for="ch" forName="right_04_4" refType="w" fact="0.365"/>
        <dgm:constr type="h" for="ch" forName="right_04_4" refType="h" fact="0.185"/>
        <dgm:constr type="b" for="ch" forName="right_04_4" refType="h" fact="0.265"/>
        <dgm:constr type="ctrX" for="ch" forName="right_04_4" refType="w" fact="0.8"/>
        <dgm:constr type="w" for="ch" forName="left_40_1" refType="w" fact="0.365"/>
        <dgm:constr type="h" for="ch" forName="left_40_1" refType="h" fact="0.185"/>
        <dgm:constr type="b" for="ch" forName="left_40_1" refType="h" fact="0.76"/>
        <dgm:constr type="ctrX" for="ch" forName="left_40_1" refType="w" fact="0.23"/>
        <dgm:constr type="w" for="ch" forName="left_40_2" refType="w" fact="0.365"/>
        <dgm:constr type="h" for="ch" forName="left_40_2" refType="h" fact="0.185"/>
        <dgm:constr type="b" for="ch" forName="left_40_2" refType="h" fact="0.595"/>
        <dgm:constr type="ctrX" for="ch" forName="left_40_2" refType="w" fact="0.22"/>
        <dgm:constr type="w" for="ch" forName="left_40_3" refType="w" fact="0.365"/>
        <dgm:constr type="h" for="ch" forName="left_40_3" refType="h" fact="0.185"/>
        <dgm:constr type="b" for="ch" forName="left_40_3" refType="h" fact="0.43"/>
        <dgm:constr type="ctrX" for="ch" forName="left_40_3" refType="w" fact="0.21"/>
        <dgm:constr type="w" for="ch" forName="left_40_4" refType="w" fact="0.365"/>
        <dgm:constr type="h" for="ch" forName="left_40_4" refType="h" fact="0.185"/>
        <dgm:constr type="b" for="ch" forName="left_40_4" refType="h" fact="0.265"/>
        <dgm:constr type="ctrX" for="ch" forName="left_40_4" refType="w" fact="0.2"/>
        <dgm:constr type="w" for="ch" forName="right_14_1" refType="w" fact="0.365"/>
        <dgm:constr type="h" for="ch" forName="right_14_1" refType="h" fact="0.185"/>
        <dgm:constr type="b" for="ch" forName="right_14_1" refType="h" fact="0.76"/>
        <dgm:constr type="ctrX" for="ch" forName="right_14_1" refType="w" fact="0.77"/>
        <dgm:constr type="w" for="ch" forName="right_14_2" refType="w" fact="0.365"/>
        <dgm:constr type="h" for="ch" forName="right_14_2" refType="h" fact="0.185"/>
        <dgm:constr type="b" for="ch" forName="right_14_2" refType="h" fact="0.595"/>
        <dgm:constr type="ctrX" for="ch" forName="right_14_2" refType="w" fact="0.78"/>
        <dgm:constr type="w" for="ch" forName="right_14_3" refType="w" fact="0.365"/>
        <dgm:constr type="h" for="ch" forName="right_14_3" refType="h" fact="0.185"/>
        <dgm:constr type="b" for="ch" forName="right_14_3" refType="h" fact="0.43"/>
        <dgm:constr type="ctrX" for="ch" forName="right_14_3" refType="w" fact="0.79"/>
        <dgm:constr type="w" for="ch" forName="right_14_4" refType="w" fact="0.365"/>
        <dgm:constr type="h" for="ch" forName="right_14_4" refType="h" fact="0.185"/>
        <dgm:constr type="b" for="ch" forName="right_14_4" refType="h" fact="0.265"/>
        <dgm:constr type="ctrX" for="ch" forName="right_14_4" refType="w" fact="0.8"/>
        <dgm:constr type="w" for="ch" forName="left_14_1" refType="w" fact="0.365"/>
        <dgm:constr type="h" for="ch" forName="left_14_1" refType="h" fact="0.185"/>
        <dgm:constr type="b" for="ch" forName="left_14_1" refType="h" fact="0.715"/>
        <dgm:constr type="ctrX" for="ch" forName="left_14_1" refType="w" fact="0.25"/>
        <dgm:constr type="w" for="ch" forName="left_41_1" refType="w" fact="0.365"/>
        <dgm:constr type="h" for="ch" forName="left_41_1" refType="h" fact="0.185"/>
        <dgm:constr type="b" for="ch" forName="left_41_1" refType="h" fact="0.76"/>
        <dgm:constr type="ctrX" for="ch" forName="left_41_1" refType="w" fact="0.23"/>
        <dgm:constr type="w" for="ch" forName="left_41_2" refType="w" fact="0.365"/>
        <dgm:constr type="h" for="ch" forName="left_41_2" refType="h" fact="0.185"/>
        <dgm:constr type="b" for="ch" forName="left_41_2" refType="h" fact="0.595"/>
        <dgm:constr type="ctrX" for="ch" forName="left_41_2" refType="w" fact="0.22"/>
        <dgm:constr type="w" for="ch" forName="left_41_3" refType="w" fact="0.365"/>
        <dgm:constr type="h" for="ch" forName="left_41_3" refType="h" fact="0.185"/>
        <dgm:constr type="b" for="ch" forName="left_41_3" refType="h" fact="0.43"/>
        <dgm:constr type="ctrX" for="ch" forName="left_41_3" refType="w" fact="0.21"/>
        <dgm:constr type="w" for="ch" forName="left_41_4" refType="w" fact="0.365"/>
        <dgm:constr type="h" for="ch" forName="left_41_4" refType="h" fact="0.185"/>
        <dgm:constr type="b" for="ch" forName="left_41_4" refType="h" fact="0.265"/>
        <dgm:constr type="ctrX" for="ch" forName="left_41_4" refType="w" fact="0.2"/>
        <dgm:constr type="w" for="ch" forName="right_41_1" refType="w" fact="0.365"/>
        <dgm:constr type="h" for="ch" forName="right_41_1" refType="h" fact="0.185"/>
        <dgm:constr type="b" for="ch" forName="right_41_1" refType="h" fact="0.715"/>
        <dgm:constr type="ctrX" for="ch" forName="right_41_1" refType="w" fact="0.75"/>
        <dgm:constr type="w" for="ch" forName="right_24_1" refType="w" fact="0.365"/>
        <dgm:constr type="h" for="ch" forName="right_24_1" refType="h" fact="0.185"/>
        <dgm:constr type="b" for="ch" forName="right_24_1" refType="h" fact="0.76"/>
        <dgm:constr type="ctrX" for="ch" forName="right_24_1" refType="w" fact="0.77"/>
        <dgm:constr type="w" for="ch" forName="right_24_2" refType="w" fact="0.365"/>
        <dgm:constr type="h" for="ch" forName="right_24_2" refType="h" fact="0.185"/>
        <dgm:constr type="b" for="ch" forName="right_24_2" refType="h" fact="0.595"/>
        <dgm:constr type="ctrX" for="ch" forName="right_24_2" refType="w" fact="0.78"/>
        <dgm:constr type="w" for="ch" forName="right_24_3" refType="w" fact="0.365"/>
        <dgm:constr type="h" for="ch" forName="right_24_3" refType="h" fact="0.185"/>
        <dgm:constr type="b" for="ch" forName="right_24_3" refType="h" fact="0.43"/>
        <dgm:constr type="ctrX" for="ch" forName="right_24_3" refType="w" fact="0.79"/>
        <dgm:constr type="w" for="ch" forName="right_24_4" refType="w" fact="0.365"/>
        <dgm:constr type="h" for="ch" forName="right_24_4" refType="h" fact="0.185"/>
        <dgm:constr type="b" for="ch" forName="right_24_4" refType="h" fact="0.265"/>
        <dgm:constr type="ctrX" for="ch" forName="right_24_4" refType="w" fact="0.8"/>
        <dgm:constr type="w" for="ch" forName="left_24_1" refType="w" fact="0.365"/>
        <dgm:constr type="h" for="ch" forName="left_24_1" refType="h" fact="0.185"/>
        <dgm:constr type="b" for="ch" forName="left_24_1" refType="h" fact="0.715"/>
        <dgm:constr type="ctrX" for="ch" forName="left_24_1" refType="w" fact="0.25"/>
        <dgm:constr type="w" for="ch" forName="left_24_2" refType="w" fact="0.365"/>
        <dgm:constr type="h" for="ch" forName="left_24_2" refType="h" fact="0.185"/>
        <dgm:constr type="b" for="ch" forName="left_24_2" refType="h" fact="0.55"/>
        <dgm:constr type="ctrX" for="ch" forName="left_24_2" refType="w" fact="0.26"/>
        <dgm:constr type="w" for="ch" forName="left_42_1" refType="w" fact="0.365"/>
        <dgm:constr type="h" for="ch" forName="left_42_1" refType="h" fact="0.185"/>
        <dgm:constr type="b" for="ch" forName="left_42_1" refType="h" fact="0.76"/>
        <dgm:constr type="ctrX" for="ch" forName="left_42_1" refType="w" fact="0.23"/>
        <dgm:constr type="w" for="ch" forName="left_42_2" refType="w" fact="0.365"/>
        <dgm:constr type="h" for="ch" forName="left_42_2" refType="h" fact="0.185"/>
        <dgm:constr type="b" for="ch" forName="left_42_2" refType="h" fact="0.595"/>
        <dgm:constr type="ctrX" for="ch" forName="left_42_2" refType="w" fact="0.22"/>
        <dgm:constr type="w" for="ch" forName="left_42_3" refType="w" fact="0.365"/>
        <dgm:constr type="h" for="ch" forName="left_42_3" refType="h" fact="0.185"/>
        <dgm:constr type="b" for="ch" forName="left_42_3" refType="h" fact="0.43"/>
        <dgm:constr type="ctrX" for="ch" forName="left_42_3" refType="w" fact="0.21"/>
        <dgm:constr type="w" for="ch" forName="left_42_4" refType="w" fact="0.365"/>
        <dgm:constr type="h" for="ch" forName="left_42_4" refType="h" fact="0.185"/>
        <dgm:constr type="b" for="ch" forName="left_42_4" refType="h" fact="0.265"/>
        <dgm:constr type="ctrX" for="ch" forName="left_42_4" refType="w" fact="0.2"/>
        <dgm:constr type="w" for="ch" forName="right_42_1" refType="w" fact="0.365"/>
        <dgm:constr type="h" for="ch" forName="right_42_1" refType="h" fact="0.185"/>
        <dgm:constr type="b" for="ch" forName="right_42_1" refType="h" fact="0.715"/>
        <dgm:constr type="ctrX" for="ch" forName="right_42_1" refType="w" fact="0.75"/>
        <dgm:constr type="w" for="ch" forName="right_42_2" refType="w" fact="0.365"/>
        <dgm:constr type="h" for="ch" forName="right_42_2" refType="h" fact="0.185"/>
        <dgm:constr type="b" for="ch" forName="right_42_2" refType="h" fact="0.55"/>
        <dgm:constr type="ctrX" for="ch" forName="right_42_2" refType="w" fact="0.74"/>
        <dgm:constr type="w" for="ch" forName="right_34_1" refType="w" fact="0.365"/>
        <dgm:constr type="h" for="ch" forName="right_34_1" refType="h" fact="0.185"/>
        <dgm:constr type="b" for="ch" forName="right_34_1" refType="h" fact="0.76"/>
        <dgm:constr type="ctrX" for="ch" forName="right_34_1" refType="w" fact="0.77"/>
        <dgm:constr type="w" for="ch" forName="right_34_2" refType="w" fact="0.365"/>
        <dgm:constr type="h" for="ch" forName="right_34_2" refType="h" fact="0.185"/>
        <dgm:constr type="b" for="ch" forName="right_34_2" refType="h" fact="0.595"/>
        <dgm:constr type="ctrX" for="ch" forName="right_34_2" refType="w" fact="0.78"/>
        <dgm:constr type="w" for="ch" forName="right_34_3" refType="w" fact="0.365"/>
        <dgm:constr type="h" for="ch" forName="right_34_3" refType="h" fact="0.185"/>
        <dgm:constr type="b" for="ch" forName="right_34_3" refType="h" fact="0.43"/>
        <dgm:constr type="ctrX" for="ch" forName="right_34_3" refType="w" fact="0.79"/>
        <dgm:constr type="w" for="ch" forName="right_34_4" refType="w" fact="0.365"/>
        <dgm:constr type="h" for="ch" forName="right_34_4" refType="h" fact="0.185"/>
        <dgm:constr type="b" for="ch" forName="right_34_4" refType="h" fact="0.265"/>
        <dgm:constr type="ctrX" for="ch" forName="right_34_4" refType="w" fact="0.8"/>
        <dgm:constr type="w" for="ch" forName="left_34_1" refType="w" fact="0.365"/>
        <dgm:constr type="h" for="ch" forName="left_34_1" refType="h" fact="0.185"/>
        <dgm:constr type="b" for="ch" forName="left_34_1" refType="h" fact="0.715"/>
        <dgm:constr type="ctrX" for="ch" forName="left_34_1" refType="w" fact="0.25"/>
        <dgm:constr type="w" for="ch" forName="left_34_2" refType="w" fact="0.365"/>
        <dgm:constr type="h" for="ch" forName="left_34_2" refType="h" fact="0.185"/>
        <dgm:constr type="b" for="ch" forName="left_34_2" refType="h" fact="0.55"/>
        <dgm:constr type="ctrX" for="ch" forName="left_34_2" refType="w" fact="0.26"/>
        <dgm:constr type="w" for="ch" forName="left_34_3" refType="w" fact="0.365"/>
        <dgm:constr type="h" for="ch" forName="left_34_3" refType="h" fact="0.185"/>
        <dgm:constr type="b" for="ch" forName="left_34_3" refType="h" fact="0.385"/>
        <dgm:constr type="ctrX" for="ch" forName="left_34_3" refType="w" fact="0.27"/>
        <dgm:constr type="w" for="ch" forName="left_43_1" refType="w" fact="0.365"/>
        <dgm:constr type="h" for="ch" forName="left_43_1" refType="h" fact="0.185"/>
        <dgm:constr type="b" for="ch" forName="left_43_1" refType="h" fact="0.76"/>
        <dgm:constr type="ctrX" for="ch" forName="left_43_1" refType="w" fact="0.23"/>
        <dgm:constr type="w" for="ch" forName="left_43_2" refType="w" fact="0.365"/>
        <dgm:constr type="h" for="ch" forName="left_43_2" refType="h" fact="0.185"/>
        <dgm:constr type="b" for="ch" forName="left_43_2" refType="h" fact="0.595"/>
        <dgm:constr type="ctrX" for="ch" forName="left_43_2" refType="w" fact="0.22"/>
        <dgm:constr type="w" for="ch" forName="left_43_3" refType="w" fact="0.365"/>
        <dgm:constr type="h" for="ch" forName="left_43_3" refType="h" fact="0.185"/>
        <dgm:constr type="b" for="ch" forName="left_43_3" refType="h" fact="0.43"/>
        <dgm:constr type="ctrX" for="ch" forName="left_43_3" refType="w" fact="0.21"/>
        <dgm:constr type="w" for="ch" forName="left_43_4" refType="w" fact="0.365"/>
        <dgm:constr type="h" for="ch" forName="left_43_4" refType="h" fact="0.185"/>
        <dgm:constr type="b" for="ch" forName="left_43_4" refType="h" fact="0.265"/>
        <dgm:constr type="ctrX" for="ch" forName="left_43_4" refType="w" fact="0.2"/>
        <dgm:constr type="w" for="ch" forName="right_43_1" refType="w" fact="0.365"/>
        <dgm:constr type="h" for="ch" forName="right_43_1" refType="h" fact="0.185"/>
        <dgm:constr type="b" for="ch" forName="right_43_1" refType="h" fact="0.715"/>
        <dgm:constr type="ctrX" for="ch" forName="right_43_1" refType="w" fact="0.75"/>
        <dgm:constr type="w" for="ch" forName="right_43_2" refType="w" fact="0.365"/>
        <dgm:constr type="h" for="ch" forName="right_43_2" refType="h" fact="0.185"/>
        <dgm:constr type="b" for="ch" forName="right_43_2" refType="h" fact="0.55"/>
        <dgm:constr type="ctrX" for="ch" forName="right_43_2" refType="w" fact="0.74"/>
        <dgm:constr type="w" for="ch" forName="right_43_3" refType="w" fact="0.365"/>
        <dgm:constr type="h" for="ch" forName="right_43_3" refType="h" fact="0.185"/>
        <dgm:constr type="b" for="ch" forName="right_43_3" refType="h" fact="0.385"/>
        <dgm:constr type="ctrX" for="ch" forName="right_43_3" refType="w" fact="0.73"/>
        <dgm:constr type="w" for="ch" forName="right_44_1" refType="w" fact="0.36"/>
        <dgm:constr type="h" for="ch" forName="right_44_1" refType="h" fact="0.154"/>
        <dgm:constr type="b" for="ch" forName="right_44_1" refType="h" fact="0.725"/>
        <dgm:constr type="ctrX" for="ch" forName="right_44_1" refType="w" fact="0.76"/>
        <dgm:constr type="w" for="ch" forName="right_44_2" refType="w" fact="0.36"/>
        <dgm:constr type="h" for="ch" forName="right_44_2" refType="h" fact="0.154"/>
        <dgm:constr type="b" for="ch" forName="right_44_2" refType="h" fact="0.559"/>
        <dgm:constr type="ctrX" for="ch" forName="right_44_2" refType="w" fact="0.76"/>
        <dgm:constr type="w" for="ch" forName="right_44_3" refType="w" fact="0.36"/>
        <dgm:constr type="h" for="ch" forName="right_44_3" refType="h" fact="0.154"/>
        <dgm:constr type="b" for="ch" forName="right_44_3" refType="h" fact="0.393"/>
        <dgm:constr type="ctrX" for="ch" forName="right_44_3" refType="w" fact="0.76"/>
        <dgm:constr type="w" for="ch" forName="right_44_4" refType="w" fact="0.36"/>
        <dgm:constr type="h" for="ch" forName="right_44_4" refType="h" fact="0.154"/>
        <dgm:constr type="b" for="ch" forName="right_44_4" refType="h" fact="0.224"/>
        <dgm:constr type="ctrX" for="ch" forName="right_44_4" refType="w" fact="0.76"/>
        <dgm:constr type="w" for="ch" forName="left_44_1" refType="w" fact="0.36"/>
        <dgm:constr type="h" for="ch" forName="left_44_1" refType="h" fact="0.154"/>
        <dgm:constr type="b" for="ch" forName="left_44_1" refType="h" fact="0.725"/>
        <dgm:constr type="ctrX" for="ch" forName="left_44_1" refType="w" fact="0.24"/>
        <dgm:constr type="w" for="ch" forName="left_44_2" refType="w" fact="0.36"/>
        <dgm:constr type="h" for="ch" forName="left_44_2" refType="h" fact="0.154"/>
        <dgm:constr type="b" for="ch" forName="left_44_2" refType="h" fact="0.559"/>
        <dgm:constr type="ctrX" for="ch" forName="left_44_2" refType="w" fact="0.24"/>
        <dgm:constr type="w" for="ch" forName="left_44_3" refType="w" fact="0.36"/>
        <dgm:constr type="h" for="ch" forName="left_44_3" refType="h" fact="0.154"/>
        <dgm:constr type="b" for="ch" forName="left_44_3" refType="h" fact="0.393"/>
        <dgm:constr type="ctrX" for="ch" forName="left_44_3" refType="w" fact="0.24"/>
        <dgm:constr type="w" for="ch" forName="left_44_4" refType="w" fact="0.36"/>
        <dgm:constr type="h" for="ch" forName="left_44_4" refType="h" fact="0.154"/>
        <dgm:constr type="b" for="ch" forName="left_44_4" refType="h" fact="0.224"/>
        <dgm:constr type="ctrX" for="ch" forName="left_44_4" refType="w" fact="0.24"/>
      </dgm:constrLst>
      <dgm:ruleLst/>
      <dgm:layoutNode name="dummyMaxCanvas_ChildArea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fulcrum" styleLbl="alignAccFollowNode1">
        <dgm:alg type="sp"/>
        <dgm:shape xmlns:r="http://schemas.openxmlformats.org/officeDocument/2006/relationships" type="triangle" r:blip="">
          <dgm:adjLst/>
        </dgm:shape>
        <dgm:presOf/>
        <dgm:constrLst/>
        <dgm:ruleLst/>
      </dgm:layoutNode>
      <dgm:choose name="Name0">
        <dgm:if name="Name1" axis="ch ch" ptType="node node" st="1 1" cnt="1 0" func="cnt" op="equ" val="0">
          <dgm:choose name="Name2">
            <dgm:if name="Name3" axis="ch ch" ptType="node node" st="2 1" cnt="1 0" func="cnt" op="equ" val="0">
              <dgm:layoutNode name="balance_00" styleLbl="alignAccFollowNode1">
                <dgm:varLst>
                  <dgm:bulletEnabled val="1"/>
                </dgm:varLst>
                <dgm:alg type="sp"/>
                <dgm:shape xmlns:r="http://schemas.openxmlformats.org/officeDocument/2006/relationships" type="rect" r:blip="">
                  <dgm:adjLst/>
                </dgm:shape>
                <dgm:presOf/>
                <dgm:constrLst/>
                <dgm:ruleLst/>
              </dgm:layoutNode>
            </dgm:if>
            <dgm:else name="Name4">
              <dgm:choose name="Name5">
                <dgm:if name="Name6" axis="ch ch" ptType="node node" st="2 1" cnt="1 0" func="cnt" op="equ" val="1">
                  <dgm:layoutNode name="balance_01" styleLbl="alignAccFollowNode1">
                    <dgm:varLst>
                      <dgm:bulletEnabled val="1"/>
                    </dgm:varLst>
                    <dgm:alg type="sp"/>
                    <dgm:shape xmlns:r="http://schemas.openxmlformats.org/officeDocument/2006/relationships" rot="4" type="rect" r:blip="">
                      <dgm:adjLst/>
                    </dgm:shape>
                    <dgm:presOf/>
                    <dgm:constrLst/>
                    <dgm:ruleLst/>
                  </dgm:layoutNode>
                  <dgm:layoutNode name="right_01_1" styleLbl="node1">
                    <dgm:varLst>
                      <dgm:bulletEnabled val="1"/>
                    </dgm:varLst>
                    <dgm:alg type="tx"/>
                    <dgm:shape xmlns:r="http://schemas.openxmlformats.org/officeDocument/2006/relationships" rot="4" type="roundRect" r:blip="">
                      <dgm:adjLst/>
                    </dgm:shape>
                    <dgm:presOf axis="ch ch desOrSelf" ptType="node node node" st="2 1 1" cnt="1 1 0"/>
                    <dgm:constrLst>
                      <dgm:constr type="lMarg" refType="primFontSz" fact="0.3"/>
                      <dgm:constr type="rMarg" refType="primFontSz" fact="0.3"/>
                      <dgm:constr type="tMarg" refType="primFontSz" fact="0.3"/>
                      <dgm:constr type="bMarg" refType="primFontSz" fact="0.3"/>
                    </dgm:constrLst>
                    <dgm:ruleLst>
                      <dgm:rule type="primFontSz" val="5" fact="NaN" max="NaN"/>
                    </dgm:ruleLst>
                  </dgm:layoutNode>
                </dgm:if>
                <dgm:else name="Name7">
                  <dgm:choose name="Name8">
                    <dgm:if name="Name9" axis="ch ch" ptType="node node" st="2 1" cnt="1 0" func="cnt" op="equ" val="2">
                      <dgm:layoutNode name="balance_02" styleLbl="alignAccFollowNode1">
                        <dgm:varLst>
                          <dgm:bulletEnabled val="1"/>
                        </dgm:varLst>
                        <dgm:alg type="sp"/>
                        <dgm:shape xmlns:r="http://schemas.openxmlformats.org/officeDocument/2006/relationships" rot="4" type="rect" r:blip="">
                          <dgm:adjLst/>
                        </dgm:shape>
                        <dgm:presOf/>
                        <dgm:constrLst/>
                        <dgm:ruleLst/>
                      </dgm:layoutNode>
                      <dgm:layoutNode name="right_02_1" styleLbl="node1">
                        <dgm:varLst>
                          <dgm:bulletEnabled val="1"/>
                        </dgm:varLst>
                        <dgm:alg type="tx"/>
                        <dgm:shape xmlns:r="http://schemas.openxmlformats.org/officeDocument/2006/relationships" rot="4" type="roundRect" r:blip="">
                          <dgm:adjLst/>
                        </dgm:shape>
                        <dgm:presOf axis="ch ch desOrSelf" ptType="node node node" st="2 1 1" cnt="1 1 0"/>
                        <dgm:constrLst>
                          <dgm:constr type="lMarg" refType="primFontSz" fact="0.3"/>
                          <dgm:constr type="rMarg" refType="primFontSz" fact="0.3"/>
                          <dgm:constr type="tMarg" refType="primFontSz" fact="0.3"/>
                          <dgm:constr type="bMarg" refType="primFontSz" fact="0.3"/>
                        </dgm:constrLst>
                        <dgm:ruleLst>
                          <dgm:rule type="primFontSz" val="5" fact="NaN" max="NaN"/>
                        </dgm:ruleLst>
                      </dgm:layoutNode>
                      <dgm:layoutNode name="right_02_2" styleLbl="node1">
                        <dgm:varLst>
                          <dgm:bulletEnabled val="1"/>
                        </dgm:varLst>
                        <dgm:alg type="tx"/>
                        <dgm:shape xmlns:r="http://schemas.openxmlformats.org/officeDocument/2006/relationships" rot="4" type="roundRect" r:blip="">
                          <dgm:adjLst/>
                        </dgm:shape>
                        <dgm:presOf axis="ch ch desOrSelf" ptType="node node node" st="2 2 1" cnt="1 1 0"/>
                        <dgm:constrLst>
                          <dgm:constr type="lMarg" refType="primFontSz" fact="0.3"/>
                          <dgm:constr type="rMarg" refType="primFontSz" fact="0.3"/>
                          <dgm:constr type="tMarg" refType="primFontSz" fact="0.3"/>
                          <dgm:constr type="bMarg" refType="primFontSz" fact="0.3"/>
                        </dgm:constrLst>
                        <dgm:ruleLst>
                          <dgm:rule type="primFontSz" val="5" fact="NaN" max="NaN"/>
                        </dgm:ruleLst>
                      </dgm:layoutNode>
                    </dgm:if>
                    <dgm:else name="Name10">
                      <dgm:choose name="Name11">
                        <dgm:if name="Name12" axis="ch ch" ptType="node node" st="2 1" cnt="1 0" func="cnt" op="equ" val="3">
                          <dgm:layoutNode name="balance_03" styleLbl="alignAccFollowNode1">
                            <dgm:varLst>
                              <dgm:bulletEnabled val="1"/>
                            </dgm:varLst>
                            <dgm:alg type="sp"/>
                            <dgm:shape xmlns:r="http://schemas.openxmlformats.org/officeDocument/2006/relationships" rot="4" type="rect" r:blip="">
                              <dgm:adjLst/>
                            </dgm:shape>
                            <dgm:presOf/>
                            <dgm:constrLst/>
                            <dgm:ruleLst/>
                          </dgm:layoutNode>
                          <dgm:layoutNode name="right_03_1" styleLbl="node1">
                            <dgm:varLst>
                              <dgm:bulletEnabled val="1"/>
                            </dgm:varLst>
                            <dgm:alg type="tx"/>
                            <dgm:shape xmlns:r="http://schemas.openxmlformats.org/officeDocument/2006/relationships" rot="4" type="roundRect" r:blip="">
                              <dgm:adjLst/>
                            </dgm:shape>
                            <dgm:presOf axis="ch ch desOrSelf" ptType="node node node" st="2 1 1" cnt="1 1 0"/>
                            <dgm:constrLst>
                              <dgm:constr type="lMarg" refType="primFontSz" fact="0.3"/>
                              <dgm:constr type="rMarg" refType="primFontSz" fact="0.3"/>
                              <dgm:constr type="tMarg" refType="primFontSz" fact="0.3"/>
                              <dgm:constr type="b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  <dgm:layoutNode name="right_03_2" styleLbl="node1">
                            <dgm:varLst>
                              <dgm:bulletEnabled val="1"/>
                            </dgm:varLst>
                            <dgm:alg type="tx"/>
                            <dgm:shape xmlns:r="http://schemas.openxmlformats.org/officeDocument/2006/relationships" rot="4" type="roundRect" r:blip="">
                              <dgm:adjLst/>
                            </dgm:shape>
                            <dgm:presOf axis="ch ch desOrSelf" ptType="node node node" st="2 2 1" cnt="1 1 0"/>
                            <dgm:constrLst>
                              <dgm:constr type="lMarg" refType="primFontSz" fact="0.3"/>
                              <dgm:constr type="rMarg" refType="primFontSz" fact="0.3"/>
                              <dgm:constr type="tMarg" refType="primFontSz" fact="0.3"/>
                              <dgm:constr type="b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  <dgm:layoutNode name="right_03_3" styleLbl="node1">
                            <dgm:varLst>
                              <dgm:bulletEnabled val="1"/>
                            </dgm:varLst>
                            <dgm:alg type="tx"/>
                            <dgm:shape xmlns:r="http://schemas.openxmlformats.org/officeDocument/2006/relationships" rot="4" type="roundRect" r:blip="">
                              <dgm:adjLst/>
                            </dgm:shape>
                            <dgm:presOf axis="ch ch desOrSelf" ptType="node node node" st="2 3 1" cnt="1 1 0"/>
                            <dgm:constrLst>
                              <dgm:constr type="lMarg" refType="primFontSz" fact="0.3"/>
                              <dgm:constr type="rMarg" refType="primFontSz" fact="0.3"/>
                              <dgm:constr type="tMarg" refType="primFontSz" fact="0.3"/>
                              <dgm:constr type="b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</dgm:if>
                        <dgm:else name="Name13">
                          <dgm:choose name="Name14">
                            <dgm:if name="Name15" axis="ch ch" ptType="node node" st="2 1" cnt="1 0" func="cnt" op="gte" val="4">
                              <dgm:layoutNode name="balance_04" styleLbl="alignAccFollowNode1">
                                <dgm:varLst>
                                  <dgm:bulletEnabled val="1"/>
                                </dgm:varLst>
                                <dgm:alg type="sp"/>
                                <dgm:shape xmlns:r="http://schemas.openxmlformats.org/officeDocument/2006/relationships" rot="4" type="rect" r:blip="">
                                  <dgm:adjLst/>
                                </dgm:shape>
                                <dgm:presOf/>
                                <dgm:constrLst/>
                                <dgm:ruleLst/>
                              </dgm:layoutNode>
                              <dgm:layoutNode name="right_04_1" styleLbl="node1">
                                <dgm:varLst>
                                  <dgm:bulletEnabled val="1"/>
                                </dgm:varLst>
                                <dgm:alg type="tx"/>
                                <dgm:shape xmlns:r="http://schemas.openxmlformats.org/officeDocument/2006/relationships" rot="4" type="roundRect" r:blip="">
                                  <dgm:adjLst/>
                                </dgm:shape>
                                <dgm:presOf axis="ch ch desOrSelf" ptType="node node node" st="2 1 1" cnt="1 1 0"/>
                                <dgm:constrLst>
                                  <dgm:constr type="lMarg" refType="primFontSz" fact="0.3"/>
                                  <dgm:constr type="rMarg" refType="primFontSz" fact="0.3"/>
                                  <dgm:constr type="tMarg" refType="primFontSz" fact="0.3"/>
                                  <dgm:constr type="bMarg" refType="primFontSz" fact="0.3"/>
                                </dgm:constrLst>
                                <dgm:ruleLst>
                                  <dgm:rule type="primFontSz" val="5" fact="NaN" max="NaN"/>
                                </dgm:ruleLst>
                              </dgm:layoutNode>
                              <dgm:layoutNode name="right_04_2" styleLbl="node1">
                                <dgm:varLst>
                                  <dgm:bulletEnabled val="1"/>
                                </dgm:varLst>
                                <dgm:alg type="tx"/>
                                <dgm:shape xmlns:r="http://schemas.openxmlformats.org/officeDocument/2006/relationships" rot="4" type="roundRect" r:blip="">
                                  <dgm:adjLst/>
                                </dgm:shape>
                                <dgm:presOf axis="ch ch desOrSelf" ptType="node node node" st="2 2 1" cnt="1 1 0"/>
                                <dgm:constrLst>
                                  <dgm:constr type="lMarg" refType="primFontSz" fact="0.3"/>
                                  <dgm:constr type="rMarg" refType="primFontSz" fact="0.3"/>
                                  <dgm:constr type="tMarg" refType="primFontSz" fact="0.3"/>
                                  <dgm:constr type="bMarg" refType="primFontSz" fact="0.3"/>
                                </dgm:constrLst>
                                <dgm:ruleLst>
                                  <dgm:rule type="primFontSz" val="5" fact="NaN" max="NaN"/>
                                </dgm:ruleLst>
                              </dgm:layoutNode>
                              <dgm:layoutNode name="right_04_3" styleLbl="node1">
                                <dgm:varLst>
                                  <dgm:bulletEnabled val="1"/>
                                </dgm:varLst>
                                <dgm:alg type="tx"/>
                                <dgm:shape xmlns:r="http://schemas.openxmlformats.org/officeDocument/2006/relationships" rot="4" type="roundRect" r:blip="">
                                  <dgm:adjLst/>
                                </dgm:shape>
                                <dgm:presOf axis="ch ch desOrSelf" ptType="node node node" st="2 3 1" cnt="1 1 0"/>
                                <dgm:constrLst>
                                  <dgm:constr type="lMarg" refType="primFontSz" fact="0.3"/>
                                  <dgm:constr type="rMarg" refType="primFontSz" fact="0.3"/>
                                  <dgm:constr type="tMarg" refType="primFontSz" fact="0.3"/>
                                  <dgm:constr type="bMarg" refType="primFontSz" fact="0.3"/>
                                </dgm:constrLst>
                                <dgm:ruleLst>
                                  <dgm:rule type="primFontSz" val="5" fact="NaN" max="NaN"/>
                                </dgm:ruleLst>
                              </dgm:layoutNode>
                              <dgm:layoutNode name="right_04_4" styleLbl="node1">
                                <dgm:varLst>
                                  <dgm:bulletEnabled val="1"/>
                                </dgm:varLst>
                                <dgm:alg type="tx"/>
                                <dgm:shape xmlns:r="http://schemas.openxmlformats.org/officeDocument/2006/relationships" rot="4" type="roundRect" r:blip="">
                                  <dgm:adjLst/>
                                </dgm:shape>
                                <dgm:presOf axis="ch ch desOrSelf" ptType="node node node" st="2 4 1" cnt="1 1 0"/>
                                <dgm:constrLst>
                                  <dgm:constr type="lMarg" refType="primFontSz" fact="0.3"/>
                                  <dgm:constr type="rMarg" refType="primFontSz" fact="0.3"/>
                                  <dgm:constr type="tMarg" refType="primFontSz" fact="0.3"/>
                                  <dgm:constr type="bMarg" refType="primFontSz" fact="0.3"/>
                                </dgm:constrLst>
                                <dgm:ruleLst>
                                  <dgm:rule type="primFontSz" val="5" fact="NaN" max="NaN"/>
                                </dgm:ruleLst>
                              </dgm:layoutNode>
                            </dgm:if>
                            <dgm:else name="Name16"/>
                          </dgm:choose>
                        </dgm:else>
                      </dgm:choose>
                    </dgm:else>
                  </dgm:choose>
                </dgm:else>
              </dgm:choose>
            </dgm:else>
          </dgm:choose>
        </dgm:if>
        <dgm:else name="Name17">
          <dgm:choose name="Name18">
            <dgm:if name="Name19" axis="ch ch" ptType="node node" st="1 1" cnt="1 0" func="cnt" op="equ" val="1">
              <dgm:choose name="Name20">
                <dgm:if name="Name21" axis="ch ch" ptType="node node" st="2 1" cnt="1 0" func="cnt" op="equ" val="0">
                  <dgm:layoutNode name="balance_10" styleLbl="alignAccFollowNode1">
                    <dgm:varLst>
                      <dgm:bulletEnabled val="1"/>
                    </dgm:varLst>
                    <dgm:alg type="sp"/>
                    <dgm:shape xmlns:r="http://schemas.openxmlformats.org/officeDocument/2006/relationships" rot="-4" type="rect" r:blip="">
                      <dgm:adjLst/>
                    </dgm:shape>
                    <dgm:presOf/>
                    <dgm:constrLst/>
                    <dgm:ruleLst/>
                  </dgm:layoutNode>
                  <dgm:layoutNode name="left_10_1" styleLbl="node1">
                    <dgm:varLst>
                      <dgm:bulletEnabled val="1"/>
                    </dgm:varLst>
                    <dgm:alg type="tx"/>
                    <dgm:shape xmlns:r="http://schemas.openxmlformats.org/officeDocument/2006/relationships" rot="-4" type="roundRect" r:blip="">
                      <dgm:adjLst/>
                    </dgm:shape>
                    <dgm:presOf axis="ch ch desOrSelf" ptType="node node node" st="1 1 1" cnt="1 1 0"/>
                    <dgm:constrLst>
                      <dgm:constr type="lMarg" refType="primFontSz" fact="0.3"/>
                      <dgm:constr type="rMarg" refType="primFontSz" fact="0.3"/>
                      <dgm:constr type="tMarg" refType="primFontSz" fact="0.3"/>
                      <dgm:constr type="bMarg" refType="primFontSz" fact="0.3"/>
                    </dgm:constrLst>
                    <dgm:ruleLst>
                      <dgm:rule type="primFontSz" val="5" fact="NaN" max="NaN"/>
                    </dgm:ruleLst>
                  </dgm:layoutNode>
                </dgm:if>
                <dgm:else name="Name22">
                  <dgm:choose name="Name23">
                    <dgm:if name="Name24" axis="ch ch" ptType="node node" st="2 1" cnt="1 0" func="cnt" op="equ" val="1">
                      <dgm:layoutNode name="balance_11" styleLbl="alignAccFollowNode1">
                        <dgm:varLst>
                          <dgm:bulletEnabled val="1"/>
                        </dgm:varLst>
                        <dgm:alg type="sp"/>
                        <dgm:shape xmlns:r="http://schemas.openxmlformats.org/officeDocument/2006/relationships" type="rect" r:blip="">
                          <dgm:adjLst/>
                        </dgm:shape>
                        <dgm:presOf/>
                        <dgm:constrLst/>
                        <dgm:ruleLst/>
                      </dgm:layoutNode>
                      <dgm:layoutNode name="left_11_1" styleLbl="node1">
                        <dgm:varLst>
                          <dgm:bulletEnabled val="1"/>
                        </dgm:varLst>
                        <dgm:alg type="tx"/>
                        <dgm:shape xmlns:r="http://schemas.openxmlformats.org/officeDocument/2006/relationships" type="roundRect" r:blip="">
                          <dgm:adjLst/>
                        </dgm:shape>
                        <dgm:presOf axis="ch ch desOrSelf" ptType="node node node" st="1 1 1" cnt="1 1 0"/>
                        <dgm:constrLst>
                          <dgm:constr type="lMarg" refType="primFontSz" fact="0.3"/>
                          <dgm:constr type="rMarg" refType="primFontSz" fact="0.3"/>
                          <dgm:constr type="tMarg" refType="primFontSz" fact="0.3"/>
                          <dgm:constr type="bMarg" refType="primFontSz" fact="0.3"/>
                        </dgm:constrLst>
                        <dgm:ruleLst>
                          <dgm:rule type="primFontSz" val="5" fact="NaN" max="NaN"/>
                        </dgm:ruleLst>
                      </dgm:layoutNode>
                      <dgm:layoutNode name="right_11_1" styleLbl="node1">
                        <dgm:varLst>
                          <dgm:bulletEnabled val="1"/>
                        </dgm:varLst>
                        <dgm:alg type="tx"/>
                        <dgm:shape xmlns:r="http://schemas.openxmlformats.org/officeDocument/2006/relationships" type="roundRect" r:blip="">
                          <dgm:adjLst/>
                        </dgm:shape>
                        <dgm:presOf axis="ch ch desOrSelf" ptType="node node node" st="2 1 1" cnt="1 1 0"/>
                        <dgm:constrLst>
                          <dgm:constr type="lMarg" refType="primFontSz" fact="0.3"/>
                          <dgm:constr type="rMarg" refType="primFontSz" fact="0.3"/>
                          <dgm:constr type="tMarg" refType="primFontSz" fact="0.3"/>
                          <dgm:constr type="bMarg" refType="primFontSz" fact="0.3"/>
                        </dgm:constrLst>
                        <dgm:ruleLst>
                          <dgm:rule type="primFontSz" val="5" fact="NaN" max="NaN"/>
                        </dgm:ruleLst>
                      </dgm:layoutNode>
                    </dgm:if>
                    <dgm:else name="Name25">
                      <dgm:choose name="Name26">
                        <dgm:if name="Name27" axis="ch ch" ptType="node node" st="2 1" cnt="1 0" func="cnt" op="equ" val="2">
                          <dgm:layoutNode name="balance_12" styleLbl="alignAccFollowNode1">
                            <dgm:varLst>
                              <dgm:bulletEnabled val="1"/>
                            </dgm:varLst>
                            <dgm:alg type="sp"/>
                            <dgm:shape xmlns:r="http://schemas.openxmlformats.org/officeDocument/2006/relationships" rot="4" type="rect" r:blip="">
                              <dgm:adjLst/>
                            </dgm:shape>
                            <dgm:presOf/>
                            <dgm:constrLst/>
                            <dgm:ruleLst/>
                          </dgm:layoutNode>
                          <dgm:layoutNode name="right_12_1" styleLbl="node1">
                            <dgm:varLst>
                              <dgm:bulletEnabled val="1"/>
                            </dgm:varLst>
                            <dgm:alg type="tx"/>
                            <dgm:shape xmlns:r="http://schemas.openxmlformats.org/officeDocument/2006/relationships" rot="4" type="roundRect" r:blip="">
                              <dgm:adjLst/>
                            </dgm:shape>
                            <dgm:presOf axis="ch ch desOrSelf" ptType="node node node" st="2 1 1" cnt="1 1 0"/>
                            <dgm:constrLst>
                              <dgm:constr type="lMarg" refType="primFontSz" fact="0.3"/>
                              <dgm:constr type="rMarg" refType="primFontSz" fact="0.3"/>
                              <dgm:constr type="tMarg" refType="primFontSz" fact="0.3"/>
                              <dgm:constr type="b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  <dgm:layoutNode name="right_12_2" styleLbl="node1">
                            <dgm:varLst>
                              <dgm:bulletEnabled val="1"/>
                            </dgm:varLst>
                            <dgm:alg type="tx"/>
                            <dgm:shape xmlns:r="http://schemas.openxmlformats.org/officeDocument/2006/relationships" rot="4" type="roundRect" r:blip="">
                              <dgm:adjLst/>
                            </dgm:shape>
                            <dgm:presOf axis="ch ch desOrSelf" ptType="node node node" st="2 2 1" cnt="1 1 0"/>
                            <dgm:constrLst>
                              <dgm:constr type="lMarg" refType="primFontSz" fact="0.3"/>
                              <dgm:constr type="rMarg" refType="primFontSz" fact="0.3"/>
                              <dgm:constr type="tMarg" refType="primFontSz" fact="0.3"/>
                              <dgm:constr type="b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  <dgm:layoutNode name="left_12_1" styleLbl="node1">
                            <dgm:varLst>
                              <dgm:bulletEnabled val="1"/>
                            </dgm:varLst>
                            <dgm:alg type="tx"/>
                            <dgm:shape xmlns:r="http://schemas.openxmlformats.org/officeDocument/2006/relationships" rot="4" type="roundRect" r:blip="">
                              <dgm:adjLst/>
                            </dgm:shape>
                            <dgm:presOf axis="ch ch desOrSelf" ptType="node node node" st="1 1 1" cnt="1 1 0"/>
                            <dgm:constrLst>
                              <dgm:constr type="lMarg" refType="primFontSz" fact="0.3"/>
                              <dgm:constr type="rMarg" refType="primFontSz" fact="0.3"/>
                              <dgm:constr type="tMarg" refType="primFontSz" fact="0.3"/>
                              <dgm:constr type="b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</dgm:if>
                        <dgm:else name="Name28">
                          <dgm:choose name="Name29">
                            <dgm:if name="Name30" axis="ch ch" ptType="node node" st="2 1" cnt="1 0" func="cnt" op="equ" val="3">
                              <dgm:layoutNode name="balance_13" styleLbl="alignAccFollowNode1">
                                <dgm:varLst>
                                  <dgm:bulletEnabled val="1"/>
                                </dgm:varLst>
                                <dgm:alg type="sp"/>
                                <dgm:shape xmlns:r="http://schemas.openxmlformats.org/officeDocument/2006/relationships" rot="4" type="rect" r:blip="">
                                  <dgm:adjLst/>
                                </dgm:shape>
                                <dgm:presOf/>
                                <dgm:constrLst/>
                                <dgm:ruleLst/>
                              </dgm:layoutNode>
                              <dgm:layoutNode name="right_13_1" styleLbl="node1">
                                <dgm:varLst>
                                  <dgm:bulletEnabled val="1"/>
                                </dgm:varLst>
                                <dgm:alg type="tx"/>
                                <dgm:shape xmlns:r="http://schemas.openxmlformats.org/officeDocument/2006/relationships" rot="4" type="roundRect" r:blip="">
                                  <dgm:adjLst/>
                                </dgm:shape>
                                <dgm:presOf axis="ch ch desOrSelf" ptType="node node node" st="2 1 1" cnt="1 1 0"/>
                                <dgm:constrLst>
                                  <dgm:constr type="lMarg" refType="primFontSz" fact="0.3"/>
                                  <dgm:constr type="rMarg" refType="primFontSz" fact="0.3"/>
                                  <dgm:constr type="tMarg" refType="primFontSz" fact="0.3"/>
                                  <dgm:constr type="bMarg" refType="primFontSz" fact="0.3"/>
                                </dgm:constrLst>
                                <dgm:ruleLst>
                                  <dgm:rule type="primFontSz" val="5" fact="NaN" max="NaN"/>
                                </dgm:ruleLst>
                              </dgm:layoutNode>
                              <dgm:layoutNode name="right_13_2" styleLbl="node1">
                                <dgm:varLst>
                                  <dgm:bulletEnabled val="1"/>
                                </dgm:varLst>
                                <dgm:alg type="tx"/>
                                <dgm:shape xmlns:r="http://schemas.openxmlformats.org/officeDocument/2006/relationships" rot="4" type="roundRect" r:blip="">
                                  <dgm:adjLst/>
                                </dgm:shape>
                                <dgm:presOf axis="ch ch desOrSelf" ptType="node node node" st="2 2 1" cnt="1 1 0"/>
                                <dgm:constrLst>
                                  <dgm:constr type="lMarg" refType="primFontSz" fact="0.3"/>
                                  <dgm:constr type="rMarg" refType="primFontSz" fact="0.3"/>
                                  <dgm:constr type="tMarg" refType="primFontSz" fact="0.3"/>
                                  <dgm:constr type="bMarg" refType="primFontSz" fact="0.3"/>
                                </dgm:constrLst>
                                <dgm:ruleLst>
                                  <dgm:rule type="primFontSz" val="5" fact="NaN" max="NaN"/>
                                </dgm:ruleLst>
                              </dgm:layoutNode>
                              <dgm:layoutNode name="right_13_3" styleLbl="node1">
                                <dgm:varLst>
                                  <dgm:bulletEnabled val="1"/>
                                </dgm:varLst>
                                <dgm:alg type="tx"/>
                                <dgm:shape xmlns:r="http://schemas.openxmlformats.org/officeDocument/2006/relationships" rot="4" type="roundRect" r:blip="">
                                  <dgm:adjLst/>
                                </dgm:shape>
                                <dgm:presOf axis="ch ch desOrSelf" ptType="node node node" st="2 3 1" cnt="1 1 0"/>
                                <dgm:constrLst>
                                  <dgm:constr type="lMarg" refType="primFontSz" fact="0.3"/>
                                  <dgm:constr type="rMarg" refType="primFontSz" fact="0.3"/>
                                  <dgm:constr type="tMarg" refType="primFontSz" fact="0.3"/>
                                  <dgm:constr type="bMarg" refType="primFontSz" fact="0.3"/>
                                </dgm:constrLst>
                                <dgm:ruleLst>
                                  <dgm:rule type="primFontSz" val="5" fact="NaN" max="NaN"/>
                                </dgm:ruleLst>
                              </dgm:layoutNode>
                              <dgm:layoutNode name="left_13_1" styleLbl="node1">
                                <dgm:varLst>
                                  <dgm:bulletEnabled val="1"/>
                                </dgm:varLst>
                                <dgm:alg type="tx"/>
                                <dgm:shape xmlns:r="http://schemas.openxmlformats.org/officeDocument/2006/relationships" rot="4" type="roundRect" r:blip="">
                                  <dgm:adjLst/>
                                </dgm:shape>
                                <dgm:presOf axis="ch ch desOrSelf" ptType="node node node" st="1 1 1" cnt="1 1 0"/>
                                <dgm:constrLst>
                                  <dgm:constr type="lMarg" refType="primFontSz" fact="0.3"/>
                                  <dgm:constr type="rMarg" refType="primFontSz" fact="0.3"/>
                                  <dgm:constr type="tMarg" refType="primFontSz" fact="0.3"/>
                                  <dgm:constr type="bMarg" refType="primFontSz" fact="0.3"/>
                                </dgm:constrLst>
                                <dgm:ruleLst>
                                  <dgm:rule type="primFontSz" val="5" fact="NaN" max="NaN"/>
                                </dgm:ruleLst>
                              </dgm:layoutNode>
                            </dgm:if>
                            <dgm:else name="Name31">
                              <dgm:choose name="Name32">
                                <dgm:if name="Name33" axis="ch ch" ptType="node node" st="2 1" cnt="1 0" func="cnt" op="gte" val="4">
                                  <dgm:layoutNode name="balance_14" styleLbl="alignAccFollowNode1">
                                    <dgm:varLst>
                                      <dgm:bulletEnabled val="1"/>
                                    </dgm:varLst>
                                    <dgm:alg type="sp"/>
                                    <dgm:shape xmlns:r="http://schemas.openxmlformats.org/officeDocument/2006/relationships" rot="4" type="rect" r:blip="">
                                      <dgm:adjLst/>
                                    </dgm:shape>
                                    <dgm:presOf/>
                                    <dgm:constrLst/>
                                    <dgm:ruleLst/>
                                  </dgm:layoutNode>
                                  <dgm:layoutNode name="right_14_1" styleLbl="node1">
                                    <dgm:varLst>
                                      <dgm:bulletEnabled val="1"/>
                                    </dgm:varLst>
                                    <dgm:alg type="tx"/>
                                    <dgm:shape xmlns:r="http://schemas.openxmlformats.org/officeDocument/2006/relationships" rot="4" type="roundRect" r:blip="">
                                      <dgm:adjLst/>
                                    </dgm:shape>
                                    <dgm:presOf axis="ch ch desOrSelf" ptType="node node node" st="2 1 1" cnt="1 1 0"/>
                                    <dgm:constrLst>
                                      <dgm:constr type="lMarg" refType="primFontSz" fact="0.3"/>
                                      <dgm:constr type="rMarg" refType="primFontSz" fact="0.3"/>
                                      <dgm:constr type="tMarg" refType="primFontSz" fact="0.3"/>
                                      <dgm:constr type="bMarg" refType="primFontSz" fact="0.3"/>
                                    </dgm:constrLst>
                                    <dgm:ruleLst>
                                      <dgm:rule type="primFontSz" val="5" fact="NaN" max="NaN"/>
                                    </dgm:ruleLst>
                                  </dgm:layoutNode>
                                  <dgm:layoutNode name="right_14_2" styleLbl="node1">
                                    <dgm:varLst>
                                      <dgm:bulletEnabled val="1"/>
                                    </dgm:varLst>
                                    <dgm:alg type="tx"/>
                                    <dgm:shape xmlns:r="http://schemas.openxmlformats.org/officeDocument/2006/relationships" rot="4" type="roundRect" r:blip="">
                                      <dgm:adjLst/>
                                    </dgm:shape>
                                    <dgm:presOf axis="ch ch desOrSelf" ptType="node node node" st="2 2 1" cnt="1 1 0"/>
                                    <dgm:constrLst>
                                      <dgm:constr type="lMarg" refType="primFontSz" fact="0.3"/>
                                      <dgm:constr type="rMarg" refType="primFontSz" fact="0.3"/>
                                      <dgm:constr type="tMarg" refType="primFontSz" fact="0.3"/>
                                      <dgm:constr type="bMarg" refType="primFontSz" fact="0.3"/>
                                    </dgm:constrLst>
                                    <dgm:ruleLst>
                                      <dgm:rule type="primFontSz" val="5" fact="NaN" max="NaN"/>
                                    </dgm:ruleLst>
                                  </dgm:layoutNode>
                                  <dgm:layoutNode name="right_14_3" styleLbl="node1">
                                    <dgm:varLst>
                                      <dgm:bulletEnabled val="1"/>
                                    </dgm:varLst>
                                    <dgm:alg type="tx"/>
                                    <dgm:shape xmlns:r="http://schemas.openxmlformats.org/officeDocument/2006/relationships" rot="4" type="roundRect" r:blip="">
                                      <dgm:adjLst/>
                                    </dgm:shape>
                                    <dgm:presOf axis="ch ch desOrSelf" ptType="node node node" st="2 3 1" cnt="1 1 0"/>
                                    <dgm:constrLst>
                                      <dgm:constr type="lMarg" refType="primFontSz" fact="0.3"/>
                                      <dgm:constr type="rMarg" refType="primFontSz" fact="0.3"/>
                                      <dgm:constr type="tMarg" refType="primFontSz" fact="0.3"/>
                                      <dgm:constr type="bMarg" refType="primFontSz" fact="0.3"/>
                                    </dgm:constrLst>
                                    <dgm:ruleLst>
                                      <dgm:rule type="primFontSz" val="5" fact="NaN" max="NaN"/>
                                    </dgm:ruleLst>
                                  </dgm:layoutNode>
                                  <dgm:layoutNode name="right_14_4" styleLbl="node1">
                                    <dgm:varLst>
                                      <dgm:bulletEnabled val="1"/>
                                    </dgm:varLst>
                                    <dgm:alg type="tx"/>
                                    <dgm:shape xmlns:r="http://schemas.openxmlformats.org/officeDocument/2006/relationships" rot="4" type="roundRect" r:blip="">
                                      <dgm:adjLst/>
                                    </dgm:shape>
                                    <dgm:presOf axis="ch ch desOrSelf" ptType="node node node" st="2 4 1" cnt="1 1 0"/>
                                    <dgm:constrLst>
                                      <dgm:constr type="lMarg" refType="primFontSz" fact="0.3"/>
                                      <dgm:constr type="rMarg" refType="primFontSz" fact="0.3"/>
                                      <dgm:constr type="tMarg" refType="primFontSz" fact="0.3"/>
                                      <dgm:constr type="bMarg" refType="primFontSz" fact="0.3"/>
                                    </dgm:constrLst>
                                    <dgm:ruleLst>
                                      <dgm:rule type="primFontSz" val="5" fact="NaN" max="NaN"/>
                                    </dgm:ruleLst>
                                  </dgm:layoutNode>
                                  <dgm:layoutNode name="left_14_1" styleLbl="node1">
                                    <dgm:varLst>
                                      <dgm:bulletEnabled val="1"/>
                                    </dgm:varLst>
                                    <dgm:alg type="tx"/>
                                    <dgm:shape xmlns:r="http://schemas.openxmlformats.org/officeDocument/2006/relationships" rot="4" type="roundRect" r:blip="">
                                      <dgm:adjLst/>
                                    </dgm:shape>
                                    <dgm:presOf axis="ch ch desOrSelf" ptType="node node node" st="1 1 1" cnt="1 1 0"/>
                                    <dgm:constrLst>
                                      <dgm:constr type="lMarg" refType="primFontSz" fact="0.3"/>
                                      <dgm:constr type="rMarg" refType="primFontSz" fact="0.3"/>
                                      <dgm:constr type="tMarg" refType="primFontSz" fact="0.3"/>
                                      <dgm:constr type="bMarg" refType="primFontSz" fact="0.3"/>
                                    </dgm:constrLst>
                                    <dgm:ruleLst>
                                      <dgm:rule type="primFontSz" val="5" fact="NaN" max="NaN"/>
                                    </dgm:ruleLst>
                                  </dgm:layoutNode>
                                </dgm:if>
                                <dgm:else name="Name34"/>
                              </dgm:choose>
                            </dgm:else>
                          </dgm:choose>
                        </dgm:else>
                      </dgm:choose>
                    </dgm:else>
                  </dgm:choose>
                </dgm:else>
              </dgm:choose>
            </dgm:if>
            <dgm:else name="Name35">
              <dgm:choose name="Name36">
                <dgm:if name="Name37" axis="ch ch" ptType="node node" st="1 1" cnt="1 0" func="cnt" op="equ" val="2">
                  <dgm:choose name="Name38">
                    <dgm:if name="Name39" axis="ch ch" ptType="node node" st="2 1" cnt="1 0" func="cnt" op="equ" val="0">
                      <dgm:layoutNode name="balance_20" styleLbl="alignAccFollowNode1">
                        <dgm:varLst>
                          <dgm:bulletEnabled val="1"/>
                        </dgm:varLst>
                        <dgm:alg type="sp"/>
                        <dgm:shape xmlns:r="http://schemas.openxmlformats.org/officeDocument/2006/relationships" rot="-4" type="rect" r:blip="">
                          <dgm:adjLst/>
                        </dgm:shape>
                        <dgm:presOf/>
                        <dgm:constrLst/>
                        <dgm:ruleLst/>
                      </dgm:layoutNode>
                      <dgm:layoutNode name="left_20_1" styleLbl="node1">
                        <dgm:varLst>
                          <dgm:bulletEnabled val="1"/>
                        </dgm:varLst>
                        <dgm:alg type="tx"/>
                        <dgm:shape xmlns:r="http://schemas.openxmlformats.org/officeDocument/2006/relationships" rot="-4" type="roundRect" r:blip="">
                          <dgm:adjLst/>
                        </dgm:shape>
                        <dgm:presOf axis="ch ch desOrSelf" ptType="node node node" st="1 1 1" cnt="1 1 0"/>
                        <dgm:constrLst>
                          <dgm:constr type="lMarg" refType="primFontSz" fact="0.3"/>
                          <dgm:constr type="rMarg" refType="primFontSz" fact="0.3"/>
                          <dgm:constr type="tMarg" refType="primFontSz" fact="0.3"/>
                          <dgm:constr type="bMarg" refType="primFontSz" fact="0.3"/>
                        </dgm:constrLst>
                        <dgm:ruleLst>
                          <dgm:rule type="primFontSz" val="5" fact="NaN" max="NaN"/>
                        </dgm:ruleLst>
                      </dgm:layoutNode>
                      <dgm:layoutNode name="left_20_2" styleLbl="node1">
                        <dgm:varLst>
                          <dgm:bulletEnabled val="1"/>
                        </dgm:varLst>
                        <dgm:alg type="tx"/>
                        <dgm:shape xmlns:r="http://schemas.openxmlformats.org/officeDocument/2006/relationships" rot="-4" type="roundRect" r:blip="">
                          <dgm:adjLst/>
                        </dgm:shape>
                        <dgm:presOf axis="ch ch desOrSelf" ptType="node node node" st="1 2 1" cnt="1 1 0"/>
                        <dgm:constrLst>
                          <dgm:constr type="lMarg" refType="primFontSz" fact="0.3"/>
                          <dgm:constr type="rMarg" refType="primFontSz" fact="0.3"/>
                          <dgm:constr type="tMarg" refType="primFontSz" fact="0.3"/>
                          <dgm:constr type="bMarg" refType="primFontSz" fact="0.3"/>
                        </dgm:constrLst>
                        <dgm:ruleLst>
                          <dgm:rule type="primFontSz" val="5" fact="NaN" max="NaN"/>
                        </dgm:ruleLst>
                      </dgm:layoutNode>
                    </dgm:if>
                    <dgm:else name="Name40">
                      <dgm:choose name="Name41">
                        <dgm:if name="Name42" axis="ch ch" ptType="node node" st="2 1" cnt="1 0" func="cnt" op="equ" val="1">
                          <dgm:layoutNode name="balance_21" styleLbl="alignAccFollowNode1">
                            <dgm:varLst>
                              <dgm:bulletEnabled val="1"/>
                            </dgm:varLst>
                            <dgm:alg type="sp"/>
                            <dgm:shape xmlns:r="http://schemas.openxmlformats.org/officeDocument/2006/relationships" rot="-4" type="rect" r:blip="">
                              <dgm:adjLst/>
                            </dgm:shape>
                            <dgm:presOf/>
                            <dgm:constrLst/>
                            <dgm:ruleLst/>
                          </dgm:layoutNode>
                          <dgm:layoutNode name="left_21_1" styleLbl="node1">
                            <dgm:varLst>
                              <dgm:bulletEnabled val="1"/>
                            </dgm:varLst>
                            <dgm:alg type="tx"/>
                            <dgm:shape xmlns:r="http://schemas.openxmlformats.org/officeDocument/2006/relationships" rot="-4" type="roundRect" r:blip="">
                              <dgm:adjLst/>
                            </dgm:shape>
                            <dgm:presOf axis="ch ch desOrSelf" ptType="node node node" st="1 1 1" cnt="1 1 0"/>
                            <dgm:constrLst>
                              <dgm:constr type="lMarg" refType="primFontSz" fact="0.3"/>
                              <dgm:constr type="rMarg" refType="primFontSz" fact="0.3"/>
                              <dgm:constr type="tMarg" refType="primFontSz" fact="0.3"/>
                              <dgm:constr type="b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  <dgm:layoutNode name="left_21_2" styleLbl="node1">
                            <dgm:varLst>
                              <dgm:bulletEnabled val="1"/>
                            </dgm:varLst>
                            <dgm:alg type="tx"/>
                            <dgm:shape xmlns:r="http://schemas.openxmlformats.org/officeDocument/2006/relationships" rot="-4" type="roundRect" r:blip="">
                              <dgm:adjLst/>
                            </dgm:shape>
                            <dgm:presOf axis="ch ch desOrSelf" ptType="node node node" st="1 2 1" cnt="1 1 0"/>
                            <dgm:constrLst>
                              <dgm:constr type="lMarg" refType="primFontSz" fact="0.3"/>
                              <dgm:constr type="rMarg" refType="primFontSz" fact="0.3"/>
                              <dgm:constr type="tMarg" refType="primFontSz" fact="0.3"/>
                              <dgm:constr type="b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  <dgm:layoutNode name="right_21_1" styleLbl="node1">
                            <dgm:varLst>
                              <dgm:bulletEnabled val="1"/>
                            </dgm:varLst>
                            <dgm:alg type="tx"/>
                            <dgm:shape xmlns:r="http://schemas.openxmlformats.org/officeDocument/2006/relationships" rot="-4" type="roundRect" r:blip="">
                              <dgm:adjLst/>
                            </dgm:shape>
                            <dgm:presOf axis="ch ch desOrSelf" ptType="node node node" st="2 1 1" cnt="1 1 0"/>
                            <dgm:constrLst>
                              <dgm:constr type="lMarg" refType="primFontSz" fact="0.3"/>
                              <dgm:constr type="rMarg" refType="primFontSz" fact="0.3"/>
                              <dgm:constr type="tMarg" refType="primFontSz" fact="0.3"/>
                              <dgm:constr type="b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</dgm:if>
                        <dgm:else name="Name43">
                          <dgm:choose name="Name44">
                            <dgm:if name="Name45" axis="ch ch" ptType="node node" st="2 1" cnt="1 0" func="cnt" op="equ" val="2">
                              <dgm:layoutNode name="balance_22" styleLbl="alignAccFollowNode1">
                                <dgm:varLst>
                                  <dgm:bulletEnabled val="1"/>
                                </dgm:varLst>
                                <dgm:alg type="sp"/>
                                <dgm:shape xmlns:r="http://schemas.openxmlformats.org/officeDocument/2006/relationships" type="rect" r:blip="">
                                  <dgm:adjLst/>
                                </dgm:shape>
                                <dgm:presOf/>
                                <dgm:constrLst/>
                                <dgm:ruleLst/>
                              </dgm:layoutNode>
                              <dgm:layoutNode name="right_22_1" styleLbl="node1">
                                <dgm:varLst>
                                  <dgm:bulletEnabled val="1"/>
                                </dgm:varLst>
                                <dgm:alg type="tx"/>
                                <dgm:shape xmlns:r="http://schemas.openxmlformats.org/officeDocument/2006/relationships" type="roundRect" r:blip="">
                                  <dgm:adjLst/>
                                </dgm:shape>
                                <dgm:presOf axis="ch ch desOrSelf" ptType="node node node" st="2 1 1" cnt="1 1 0"/>
                                <dgm:constrLst>
                                  <dgm:constr type="lMarg" refType="primFontSz" fact="0.3"/>
                                  <dgm:constr type="rMarg" refType="primFontSz" fact="0.3"/>
                                  <dgm:constr type="tMarg" refType="primFontSz" fact="0.3"/>
                                  <dgm:constr type="bMarg" refType="primFontSz" fact="0.3"/>
                                </dgm:constrLst>
                                <dgm:ruleLst>
                                  <dgm:rule type="primFontSz" val="5" fact="NaN" max="NaN"/>
                                </dgm:ruleLst>
                              </dgm:layoutNode>
                              <dgm:layoutNode name="right_22_2" styleLbl="node1">
                                <dgm:varLst>
                                  <dgm:bulletEnabled val="1"/>
                                </dgm:varLst>
                                <dgm:alg type="tx"/>
                                <dgm:shape xmlns:r="http://schemas.openxmlformats.org/officeDocument/2006/relationships" type="roundRect" r:blip="">
                                  <dgm:adjLst/>
                                </dgm:shape>
                                <dgm:presOf axis="ch ch desOrSelf" ptType="node node node" st="2 2 1" cnt="1 1 0"/>
                                <dgm:constrLst>
                                  <dgm:constr type="lMarg" refType="primFontSz" fact="0.3"/>
                                  <dgm:constr type="rMarg" refType="primFontSz" fact="0.3"/>
                                  <dgm:constr type="tMarg" refType="primFontSz" fact="0.3"/>
                                  <dgm:constr type="bMarg" refType="primFontSz" fact="0.3"/>
                                </dgm:constrLst>
                                <dgm:ruleLst>
                                  <dgm:rule type="primFontSz" val="5" fact="NaN" max="NaN"/>
                                </dgm:ruleLst>
                              </dgm:layoutNode>
                              <dgm:layoutNode name="left_22_1" styleLbl="node1">
                                <dgm:varLst>
                                  <dgm:bulletEnabled val="1"/>
                                </dgm:varLst>
                                <dgm:alg type="tx"/>
                                <dgm:shape xmlns:r="http://schemas.openxmlformats.org/officeDocument/2006/relationships" type="roundRect" r:blip="">
                                  <dgm:adjLst/>
                                </dgm:shape>
                                <dgm:presOf axis="ch ch desOrSelf" ptType="node node node" st="1 1 1" cnt="1 1 0"/>
                                <dgm:constrLst>
                                  <dgm:constr type="lMarg" refType="primFontSz" fact="0.3"/>
                                  <dgm:constr type="rMarg" refType="primFontSz" fact="0.3"/>
                                  <dgm:constr type="tMarg" refType="primFontSz" fact="0.3"/>
                                  <dgm:constr type="bMarg" refType="primFontSz" fact="0.3"/>
                                </dgm:constrLst>
                                <dgm:ruleLst>
                                  <dgm:rule type="primFontSz" val="5" fact="NaN" max="NaN"/>
                                </dgm:ruleLst>
                              </dgm:layoutNode>
                              <dgm:layoutNode name="left_22_2" styleLbl="node1">
                                <dgm:varLst>
                                  <dgm:bulletEnabled val="1"/>
                                </dgm:varLst>
                                <dgm:alg type="tx"/>
                                <dgm:shape xmlns:r="http://schemas.openxmlformats.org/officeDocument/2006/relationships" type="roundRect" r:blip="">
                                  <dgm:adjLst/>
                                </dgm:shape>
                                <dgm:presOf axis="ch ch desOrSelf" ptType="node node node" st="1 2 1" cnt="1 1 0"/>
                                <dgm:constrLst>
                                  <dgm:constr type="lMarg" refType="primFontSz" fact="0.3"/>
                                  <dgm:constr type="rMarg" refType="primFontSz" fact="0.3"/>
                                  <dgm:constr type="tMarg" refType="primFontSz" fact="0.3"/>
                                  <dgm:constr type="bMarg" refType="primFontSz" fact="0.3"/>
                                </dgm:constrLst>
                                <dgm:ruleLst>
                                  <dgm:rule type="primFontSz" val="5" fact="NaN" max="NaN"/>
                                </dgm:ruleLst>
                              </dgm:layoutNode>
                            </dgm:if>
                            <dgm:else name="Name46">
                              <dgm:choose name="Name47">
                                <dgm:if name="Name48" axis="ch ch" ptType="node node" st="2 1" cnt="1 0" func="cnt" op="equ" val="3">
                                  <dgm:layoutNode name="balance_23" styleLbl="alignAccFollowNode1">
                                    <dgm:varLst>
                                      <dgm:bulletEnabled val="1"/>
                                    </dgm:varLst>
                                    <dgm:alg type="sp"/>
                                    <dgm:shape xmlns:r="http://schemas.openxmlformats.org/officeDocument/2006/relationships" rot="4" type="rect" r:blip="">
                                      <dgm:adjLst/>
                                    </dgm:shape>
                                    <dgm:presOf/>
                                    <dgm:constrLst/>
                                    <dgm:ruleLst/>
                                  </dgm:layoutNode>
                                  <dgm:layoutNode name="right_23_1" styleLbl="node1">
                                    <dgm:varLst>
                                      <dgm:bulletEnabled val="1"/>
                                    </dgm:varLst>
                                    <dgm:alg type="tx"/>
                                    <dgm:shape xmlns:r="http://schemas.openxmlformats.org/officeDocument/2006/relationships" rot="4" type="roundRect" r:blip="">
                                      <dgm:adjLst/>
                                    </dgm:shape>
                                    <dgm:presOf axis="ch ch desOrSelf" ptType="node node node" st="2 1 1" cnt="1 1 0"/>
                                    <dgm:constrLst>
                                      <dgm:constr type="lMarg" refType="primFontSz" fact="0.3"/>
                                      <dgm:constr type="rMarg" refType="primFontSz" fact="0.3"/>
                                      <dgm:constr type="tMarg" refType="primFontSz" fact="0.3"/>
                                      <dgm:constr type="bMarg" refType="primFontSz" fact="0.3"/>
                                    </dgm:constrLst>
                                    <dgm:ruleLst>
                                      <dgm:rule type="primFontSz" val="5" fact="NaN" max="NaN"/>
                                    </dgm:ruleLst>
                                  </dgm:layoutNode>
                                  <dgm:layoutNode name="right_23_2" styleLbl="node1">
                                    <dgm:varLst>
                                      <dgm:bulletEnabled val="1"/>
                                    </dgm:varLst>
                                    <dgm:alg type="tx"/>
                                    <dgm:shape xmlns:r="http://schemas.openxmlformats.org/officeDocument/2006/relationships" rot="4" type="roundRect" r:blip="">
                                      <dgm:adjLst/>
                                    </dgm:shape>
                                    <dgm:presOf axis="ch ch desOrSelf" ptType="node node node" st="2 2 1" cnt="1 1 0"/>
                                    <dgm:constrLst>
                                      <dgm:constr type="lMarg" refType="primFontSz" fact="0.3"/>
                                      <dgm:constr type="rMarg" refType="primFontSz" fact="0.3"/>
                                      <dgm:constr type="tMarg" refType="primFontSz" fact="0.3"/>
                                      <dgm:constr type="bMarg" refType="primFontSz" fact="0.3"/>
                                    </dgm:constrLst>
                                    <dgm:ruleLst>
                                      <dgm:rule type="primFontSz" val="5" fact="NaN" max="NaN"/>
                                    </dgm:ruleLst>
                                  </dgm:layoutNode>
                                  <dgm:layoutNode name="right_23_3" styleLbl="node1">
                                    <dgm:varLst>
                                      <dgm:bulletEnabled val="1"/>
                                    </dgm:varLst>
                                    <dgm:alg type="tx"/>
                                    <dgm:shape xmlns:r="http://schemas.openxmlformats.org/officeDocument/2006/relationships" rot="4" type="roundRect" r:blip="">
                                      <dgm:adjLst/>
                                    </dgm:shape>
                                    <dgm:presOf axis="ch ch desOrSelf" ptType="node node node" st="2 3 1" cnt="1 1 0"/>
                                    <dgm:constrLst>
                                      <dgm:constr type="lMarg" refType="primFontSz" fact="0.3"/>
                                      <dgm:constr type="rMarg" refType="primFontSz" fact="0.3"/>
                                      <dgm:constr type="tMarg" refType="primFontSz" fact="0.3"/>
                                      <dgm:constr type="bMarg" refType="primFontSz" fact="0.3"/>
                                    </dgm:constrLst>
                                    <dgm:ruleLst>
                                      <dgm:rule type="primFontSz" val="5" fact="NaN" max="NaN"/>
                                    </dgm:ruleLst>
                                  </dgm:layoutNode>
                                  <dgm:layoutNode name="left_23_1" styleLbl="node1">
                                    <dgm:varLst>
                                      <dgm:bulletEnabled val="1"/>
                                    </dgm:varLst>
                                    <dgm:alg type="tx"/>
                                    <dgm:shape xmlns:r="http://schemas.openxmlformats.org/officeDocument/2006/relationships" rot="4" type="roundRect" r:blip="">
                                      <dgm:adjLst/>
                                    </dgm:shape>
                                    <dgm:presOf axis="ch ch desOrSelf" ptType="node node node" st="1 1 1" cnt="1 1 0"/>
                                    <dgm:constrLst>
                                      <dgm:constr type="lMarg" refType="primFontSz" fact="0.3"/>
                                      <dgm:constr type="rMarg" refType="primFontSz" fact="0.3"/>
                                      <dgm:constr type="tMarg" refType="primFontSz" fact="0.3"/>
                                      <dgm:constr type="bMarg" refType="primFontSz" fact="0.3"/>
                                    </dgm:constrLst>
                                    <dgm:ruleLst>
                                      <dgm:rule type="primFontSz" val="5" fact="NaN" max="NaN"/>
                                    </dgm:ruleLst>
                                  </dgm:layoutNode>
                                  <dgm:layoutNode name="left_23_2" styleLbl="node1">
                                    <dgm:varLst>
                                      <dgm:bulletEnabled val="1"/>
                                    </dgm:varLst>
                                    <dgm:alg type="tx"/>
                                    <dgm:shape xmlns:r="http://schemas.openxmlformats.org/officeDocument/2006/relationships" rot="4" type="roundRect" r:blip="">
                                      <dgm:adjLst/>
                                    </dgm:shape>
                                    <dgm:presOf axis="ch ch desOrSelf" ptType="node node node" st="1 2 1" cnt="1 1 0"/>
                                    <dgm:constrLst>
                                      <dgm:constr type="lMarg" refType="primFontSz" fact="0.3"/>
                                      <dgm:constr type="rMarg" refType="primFontSz" fact="0.3"/>
                                      <dgm:constr type="tMarg" refType="primFontSz" fact="0.3"/>
                                      <dgm:constr type="bMarg" refType="primFontSz" fact="0.3"/>
                                    </dgm:constrLst>
                                    <dgm:ruleLst>
                                      <dgm:rule type="primFontSz" val="5" fact="NaN" max="NaN"/>
                                    </dgm:ruleLst>
                                  </dgm:layoutNode>
                                </dgm:if>
                                <dgm:else name="Name49">
                                  <dgm:choose name="Name50">
                                    <dgm:if name="Name51" axis="ch ch" ptType="node node" st="2 1" cnt="1 0" func="cnt" op="gte" val="4">
                                      <dgm:layoutNode name="balance_24" styleLbl="alignAccFollowNode1">
                                        <dgm:varLst>
                                          <dgm:bulletEnabled val="1"/>
                                        </dgm:varLst>
                                        <dgm:alg type="sp"/>
                                        <dgm:shape xmlns:r="http://schemas.openxmlformats.org/officeDocument/2006/relationships" rot="4" type="rect" r:blip="">
                                          <dgm:adjLst/>
                                        </dgm:shape>
                                        <dgm:presOf/>
                                        <dgm:constrLst/>
                                        <dgm:ruleLst/>
                                      </dgm:layoutNode>
                                      <dgm:layoutNode name="right_24_1" styleLbl="node1">
                                        <dgm:varLst>
                                          <dgm:bulletEnabled val="1"/>
                                        </dgm:varLst>
                                        <dgm:alg type="tx"/>
                                        <dgm:shape xmlns:r="http://schemas.openxmlformats.org/officeDocument/2006/relationships" rot="4" type="roundRect" r:blip="">
                                          <dgm:adjLst/>
                                        </dgm:shape>
                                        <dgm:presOf axis="ch ch desOrSelf" ptType="node node node" st="2 1 1" cnt="1 1 0"/>
                                        <dgm:constrLst>
                                          <dgm:constr type="lMarg" refType="primFontSz" fact="0.3"/>
                                          <dgm:constr type="rMarg" refType="primFontSz" fact="0.3"/>
                                          <dgm:constr type="tMarg" refType="primFontSz" fact="0.3"/>
                                          <dgm:constr type="bMarg" refType="primFontSz" fact="0.3"/>
                                        </dgm:constrLst>
                                        <dgm:ruleLst>
                                          <dgm:rule type="primFontSz" val="5" fact="NaN" max="NaN"/>
                                        </dgm:ruleLst>
                                      </dgm:layoutNode>
                                      <dgm:layoutNode name="right_24_2" styleLbl="node1">
                                        <dgm:varLst>
                                          <dgm:bulletEnabled val="1"/>
                                        </dgm:varLst>
                                        <dgm:alg type="tx"/>
                                        <dgm:shape xmlns:r="http://schemas.openxmlformats.org/officeDocument/2006/relationships" rot="4" type="roundRect" r:blip="">
                                          <dgm:adjLst/>
                                        </dgm:shape>
                                        <dgm:presOf axis="ch ch desOrSelf" ptType="node node node" st="2 2 1" cnt="1 1 0"/>
                                        <dgm:constrLst>
                                          <dgm:constr type="lMarg" refType="primFontSz" fact="0.3"/>
                                          <dgm:constr type="rMarg" refType="primFontSz" fact="0.3"/>
                                          <dgm:constr type="tMarg" refType="primFontSz" fact="0.3"/>
                                          <dgm:constr type="bMarg" refType="primFontSz" fact="0.3"/>
                                        </dgm:constrLst>
                                        <dgm:ruleLst>
                                          <dgm:rule type="primFontSz" val="5" fact="NaN" max="NaN"/>
                                        </dgm:ruleLst>
                                      </dgm:layoutNode>
                                      <dgm:layoutNode name="right_24_3" styleLbl="node1">
                                        <dgm:varLst>
                                          <dgm:bulletEnabled val="1"/>
                                        </dgm:varLst>
                                        <dgm:alg type="tx"/>
                                        <dgm:shape xmlns:r="http://schemas.openxmlformats.org/officeDocument/2006/relationships" rot="4" type="roundRect" r:blip="">
                                          <dgm:adjLst/>
                                        </dgm:shape>
                                        <dgm:presOf axis="ch ch desOrSelf" ptType="node node node" st="2 3 1" cnt="1 1 0"/>
                                        <dgm:constrLst>
                                          <dgm:constr type="lMarg" refType="primFontSz" fact="0.3"/>
                                          <dgm:constr type="rMarg" refType="primFontSz" fact="0.3"/>
                                          <dgm:constr type="tMarg" refType="primFontSz" fact="0.3"/>
                                          <dgm:constr type="bMarg" refType="primFontSz" fact="0.3"/>
                                        </dgm:constrLst>
                                        <dgm:ruleLst>
                                          <dgm:rule type="primFontSz" val="5" fact="NaN" max="NaN"/>
                                        </dgm:ruleLst>
                                      </dgm:layoutNode>
                                      <dgm:layoutNode name="right_24_4" styleLbl="node1">
                                        <dgm:varLst>
                                          <dgm:bulletEnabled val="1"/>
                                        </dgm:varLst>
                                        <dgm:alg type="tx"/>
                                        <dgm:shape xmlns:r="http://schemas.openxmlformats.org/officeDocument/2006/relationships" rot="4" type="roundRect" r:blip="">
                                          <dgm:adjLst/>
                                        </dgm:shape>
                                        <dgm:presOf axis="ch ch desOrSelf" ptType="node node node" st="2 4 1" cnt="1 1 0"/>
                                        <dgm:constrLst>
                                          <dgm:constr type="lMarg" refType="primFontSz" fact="0.3"/>
                                          <dgm:constr type="rMarg" refType="primFontSz" fact="0.3"/>
                                          <dgm:constr type="tMarg" refType="primFontSz" fact="0.3"/>
                                          <dgm:constr type="bMarg" refType="primFontSz" fact="0.3"/>
                                        </dgm:constrLst>
                                        <dgm:ruleLst>
                                          <dgm:rule type="primFontSz" val="5" fact="NaN" max="NaN"/>
                                        </dgm:ruleLst>
                                      </dgm:layoutNode>
                                      <dgm:layoutNode name="left_24_1" styleLbl="node1">
                                        <dgm:varLst>
                                          <dgm:bulletEnabled val="1"/>
                                        </dgm:varLst>
                                        <dgm:alg type="tx"/>
                                        <dgm:shape xmlns:r="http://schemas.openxmlformats.org/officeDocument/2006/relationships" rot="4" type="roundRect" r:blip="">
                                          <dgm:adjLst/>
                                        </dgm:shape>
                                        <dgm:presOf axis="ch ch desOrSelf" ptType="node node node" st="1 1 1" cnt="1 1 0"/>
                                        <dgm:constrLst>
                                          <dgm:constr type="lMarg" refType="primFontSz" fact="0.3"/>
                                          <dgm:constr type="rMarg" refType="primFontSz" fact="0.3"/>
                                          <dgm:constr type="tMarg" refType="primFontSz" fact="0.3"/>
                                          <dgm:constr type="bMarg" refType="primFontSz" fact="0.3"/>
                                        </dgm:constrLst>
                                        <dgm:ruleLst>
                                          <dgm:rule type="primFontSz" val="5" fact="NaN" max="NaN"/>
                                        </dgm:ruleLst>
                                      </dgm:layoutNode>
                                      <dgm:layoutNode name="left_24_2" styleLbl="node1">
                                        <dgm:varLst>
                                          <dgm:bulletEnabled val="1"/>
                                        </dgm:varLst>
                                        <dgm:alg type="tx"/>
                                        <dgm:shape xmlns:r="http://schemas.openxmlformats.org/officeDocument/2006/relationships" rot="4" type="roundRect" r:blip="">
                                          <dgm:adjLst/>
                                        </dgm:shape>
                                        <dgm:presOf axis="ch ch desOrSelf" ptType="node node node" st="1 2 1" cnt="1 1 0"/>
                                        <dgm:constrLst>
                                          <dgm:constr type="lMarg" refType="primFontSz" fact="0.3"/>
                                          <dgm:constr type="rMarg" refType="primFontSz" fact="0.3"/>
                                          <dgm:constr type="tMarg" refType="primFontSz" fact="0.3"/>
                                          <dgm:constr type="bMarg" refType="primFontSz" fact="0.3"/>
                                        </dgm:constrLst>
                                        <dgm:ruleLst>
                                          <dgm:rule type="primFontSz" val="5" fact="NaN" max="NaN"/>
                                        </dgm:ruleLst>
                                      </dgm:layoutNode>
                                    </dgm:if>
                                    <dgm:else name="Name52"/>
                                  </dgm:choose>
                                </dgm:else>
                              </dgm:choose>
                            </dgm:else>
                          </dgm:choose>
                        </dgm:else>
                      </dgm:choose>
                    </dgm:else>
                  </dgm:choose>
                </dgm:if>
                <dgm:else name="Name53">
                  <dgm:choose name="Name54">
                    <dgm:if name="Name55" axis="ch ch" ptType="node node" st="1 1" cnt="1 0" func="cnt" op="equ" val="3">
                      <dgm:choose name="Name56">
                        <dgm:if name="Name57" axis="ch ch" ptType="node node" st="2 1" cnt="1 0" func="cnt" op="equ" val="0">
                          <dgm:layoutNode name="balance_30" styleLbl="alignAccFollowNode1">
                            <dgm:varLst>
                              <dgm:bulletEnabled val="1"/>
                            </dgm:varLst>
                            <dgm:alg type="sp"/>
                            <dgm:shape xmlns:r="http://schemas.openxmlformats.org/officeDocument/2006/relationships" rot="-4" type="rect" r:blip="">
                              <dgm:adjLst/>
                            </dgm:shape>
                            <dgm:presOf/>
                            <dgm:constrLst/>
                            <dgm:ruleLst/>
                          </dgm:layoutNode>
                          <dgm:layoutNode name="left_30_1" styleLbl="node1">
                            <dgm:varLst>
                              <dgm:bulletEnabled val="1"/>
                            </dgm:varLst>
                            <dgm:alg type="tx"/>
                            <dgm:shape xmlns:r="http://schemas.openxmlformats.org/officeDocument/2006/relationships" rot="-4" type="roundRect" r:blip="">
                              <dgm:adjLst/>
                            </dgm:shape>
                            <dgm:presOf axis="ch ch desOrSelf" ptType="node node node" st="1 1 1" cnt="1 1 0"/>
                            <dgm:constrLst>
                              <dgm:constr type="lMarg" refType="primFontSz" fact="0.3"/>
                              <dgm:constr type="rMarg" refType="primFontSz" fact="0.3"/>
                              <dgm:constr type="tMarg" refType="primFontSz" fact="0.3"/>
                              <dgm:constr type="b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  <dgm:layoutNode name="left_30_2" styleLbl="node1">
                            <dgm:varLst>
                              <dgm:bulletEnabled val="1"/>
                            </dgm:varLst>
                            <dgm:alg type="tx"/>
                            <dgm:shape xmlns:r="http://schemas.openxmlformats.org/officeDocument/2006/relationships" rot="-4" type="roundRect" r:blip="">
                              <dgm:adjLst/>
                            </dgm:shape>
                            <dgm:presOf axis="ch ch desOrSelf" ptType="node node node" st="1 2 1" cnt="1 1 0"/>
                            <dgm:constrLst>
                              <dgm:constr type="lMarg" refType="primFontSz" fact="0.3"/>
                              <dgm:constr type="rMarg" refType="primFontSz" fact="0.3"/>
                              <dgm:constr type="tMarg" refType="primFontSz" fact="0.3"/>
                              <dgm:constr type="b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  <dgm:layoutNode name="left_30_3" styleLbl="node1">
                            <dgm:varLst>
                              <dgm:bulletEnabled val="1"/>
                            </dgm:varLst>
                            <dgm:alg type="tx"/>
                            <dgm:shape xmlns:r="http://schemas.openxmlformats.org/officeDocument/2006/relationships" rot="-4" type="roundRect" r:blip="">
                              <dgm:adjLst/>
                            </dgm:shape>
                            <dgm:presOf axis="ch ch desOrSelf" ptType="node node node" st="1 3 1" cnt="1 1 0"/>
                            <dgm:constrLst>
                              <dgm:constr type="lMarg" refType="primFontSz" fact="0.3"/>
                              <dgm:constr type="rMarg" refType="primFontSz" fact="0.3"/>
                              <dgm:constr type="tMarg" refType="primFontSz" fact="0.3"/>
                              <dgm:constr type="b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</dgm:if>
                        <dgm:else name="Name58">
                          <dgm:choose name="Name59">
                            <dgm:if name="Name60" axis="ch ch" ptType="node node" st="2 1" cnt="1 0" func="cnt" op="equ" val="1">
                              <dgm:layoutNode name="balance_31" styleLbl="alignAccFollowNode1">
                                <dgm:varLst>
                                  <dgm:bulletEnabled val="1"/>
                                </dgm:varLst>
                                <dgm:alg type="sp"/>
                                <dgm:shape xmlns:r="http://schemas.openxmlformats.org/officeDocument/2006/relationships" rot="-4" type="rect" r:blip="">
                                  <dgm:adjLst/>
                                </dgm:shape>
                                <dgm:presOf/>
                                <dgm:constrLst/>
                                <dgm:ruleLst/>
                              </dgm:layoutNode>
                              <dgm:layoutNode name="left_31_1" styleLbl="node1">
                                <dgm:varLst>
                                  <dgm:bulletEnabled val="1"/>
                                </dgm:varLst>
                                <dgm:alg type="tx"/>
                                <dgm:shape xmlns:r="http://schemas.openxmlformats.org/officeDocument/2006/relationships" rot="-4" type="roundRect" r:blip="">
                                  <dgm:adjLst/>
                                </dgm:shape>
                                <dgm:presOf axis="ch ch desOrSelf" ptType="node node node" st="1 1 1" cnt="1 1 0"/>
                                <dgm:constrLst>
                                  <dgm:constr type="lMarg" refType="primFontSz" fact="0.3"/>
                                  <dgm:constr type="rMarg" refType="primFontSz" fact="0.3"/>
                                  <dgm:constr type="tMarg" refType="primFontSz" fact="0.3"/>
                                  <dgm:constr type="bMarg" refType="primFontSz" fact="0.3"/>
                                </dgm:constrLst>
                                <dgm:ruleLst>
                                  <dgm:rule type="primFontSz" val="5" fact="NaN" max="NaN"/>
                                </dgm:ruleLst>
                              </dgm:layoutNode>
                              <dgm:layoutNode name="left_31_2" styleLbl="node1">
                                <dgm:varLst>
                                  <dgm:bulletEnabled val="1"/>
                                </dgm:varLst>
                                <dgm:alg type="tx"/>
                                <dgm:shape xmlns:r="http://schemas.openxmlformats.org/officeDocument/2006/relationships" rot="-4" type="roundRect" r:blip="">
                                  <dgm:adjLst/>
                                </dgm:shape>
                                <dgm:presOf axis="ch ch desOrSelf" ptType="node node node" st="1 2 1" cnt="1 1 0"/>
                                <dgm:constrLst>
                                  <dgm:constr type="lMarg" refType="primFontSz" fact="0.3"/>
                                  <dgm:constr type="rMarg" refType="primFontSz" fact="0.3"/>
                                  <dgm:constr type="tMarg" refType="primFontSz" fact="0.3"/>
                                  <dgm:constr type="bMarg" refType="primFontSz" fact="0.3"/>
                                </dgm:constrLst>
                                <dgm:ruleLst>
                                  <dgm:rule type="primFontSz" val="5" fact="NaN" max="NaN"/>
                                </dgm:ruleLst>
                              </dgm:layoutNode>
                              <dgm:layoutNode name="left_31_3" styleLbl="node1">
                                <dgm:varLst>
                                  <dgm:bulletEnabled val="1"/>
                                </dgm:varLst>
                                <dgm:alg type="tx"/>
                                <dgm:shape xmlns:r="http://schemas.openxmlformats.org/officeDocument/2006/relationships" rot="-4" type="roundRect" r:blip="">
                                  <dgm:adjLst/>
                                </dgm:shape>
                                <dgm:presOf axis="ch ch desOrSelf" ptType="node node node" st="1 3 1" cnt="1 1 0"/>
                                <dgm:constrLst>
                                  <dgm:constr type="lMarg" refType="primFontSz" fact="0.3"/>
                                  <dgm:constr type="rMarg" refType="primFontSz" fact="0.3"/>
                                  <dgm:constr type="tMarg" refType="primFontSz" fact="0.3"/>
                                  <dgm:constr type="bMarg" refType="primFontSz" fact="0.3"/>
                                </dgm:constrLst>
                                <dgm:ruleLst>
                                  <dgm:rule type="primFontSz" val="5" fact="NaN" max="NaN"/>
                                </dgm:ruleLst>
                              </dgm:layoutNode>
                              <dgm:layoutNode name="right_31_1" styleLbl="node1">
                                <dgm:varLst>
                                  <dgm:bulletEnabled val="1"/>
                                </dgm:varLst>
                                <dgm:alg type="tx"/>
                                <dgm:shape xmlns:r="http://schemas.openxmlformats.org/officeDocument/2006/relationships" rot="-4" type="roundRect" r:blip="">
                                  <dgm:adjLst/>
                                </dgm:shape>
                                <dgm:presOf axis="ch ch desOrSelf" ptType="node node node" st="2 1 1" cnt="1 1 0"/>
                                <dgm:constrLst>
                                  <dgm:constr type="lMarg" refType="primFontSz" fact="0.3"/>
                                  <dgm:constr type="rMarg" refType="primFontSz" fact="0.3"/>
                                  <dgm:constr type="tMarg" refType="primFontSz" fact="0.3"/>
                                  <dgm:constr type="bMarg" refType="primFontSz" fact="0.3"/>
                                </dgm:constrLst>
                                <dgm:ruleLst>
                                  <dgm:rule type="primFontSz" val="5" fact="NaN" max="NaN"/>
                                </dgm:ruleLst>
                              </dgm:layoutNode>
                            </dgm:if>
                            <dgm:else name="Name61">
                              <dgm:choose name="Name62">
                                <dgm:if name="Name63" axis="ch ch" ptType="node node" st="2 1" cnt="1 0" func="cnt" op="equ" val="2">
                                  <dgm:layoutNode name="balance_32" styleLbl="alignAccFollowNode1">
                                    <dgm:varLst>
                                      <dgm:bulletEnabled val="1"/>
                                    </dgm:varLst>
                                    <dgm:alg type="sp"/>
                                    <dgm:shape xmlns:r="http://schemas.openxmlformats.org/officeDocument/2006/relationships" rot="-4" type="rect" r:blip="">
                                      <dgm:adjLst/>
                                    </dgm:shape>
                                    <dgm:presOf/>
                                    <dgm:constrLst/>
                                    <dgm:ruleLst/>
                                  </dgm:layoutNode>
                                  <dgm:layoutNode name="left_32_1" styleLbl="node1">
                                    <dgm:varLst>
                                      <dgm:bulletEnabled val="1"/>
                                    </dgm:varLst>
                                    <dgm:alg type="tx"/>
                                    <dgm:shape xmlns:r="http://schemas.openxmlformats.org/officeDocument/2006/relationships" rot="-4" type="roundRect" r:blip="">
                                      <dgm:adjLst/>
                                    </dgm:shape>
                                    <dgm:presOf axis="ch ch desOrSelf" ptType="node node node" st="1 1 1" cnt="1 1 0"/>
                                    <dgm:constrLst>
                                      <dgm:constr type="lMarg" refType="primFontSz" fact="0.3"/>
                                      <dgm:constr type="rMarg" refType="primFontSz" fact="0.3"/>
                                      <dgm:constr type="tMarg" refType="primFontSz" fact="0.3"/>
                                      <dgm:constr type="bMarg" refType="primFontSz" fact="0.3"/>
                                    </dgm:constrLst>
                                    <dgm:ruleLst>
                                      <dgm:rule type="primFontSz" val="5" fact="NaN" max="NaN"/>
                                    </dgm:ruleLst>
                                  </dgm:layoutNode>
                                  <dgm:layoutNode name="left_32_2" styleLbl="node1">
                                    <dgm:varLst>
                                      <dgm:bulletEnabled val="1"/>
                                    </dgm:varLst>
                                    <dgm:alg type="tx"/>
                                    <dgm:shape xmlns:r="http://schemas.openxmlformats.org/officeDocument/2006/relationships" rot="-4" type="roundRect" r:blip="">
                                      <dgm:adjLst/>
                                    </dgm:shape>
                                    <dgm:presOf axis="ch ch desOrSelf" ptType="node node node" st="1 2 1" cnt="1 1 0"/>
                                    <dgm:constrLst>
                                      <dgm:constr type="lMarg" refType="primFontSz" fact="0.3"/>
                                      <dgm:constr type="rMarg" refType="primFontSz" fact="0.3"/>
                                      <dgm:constr type="tMarg" refType="primFontSz" fact="0.3"/>
                                      <dgm:constr type="bMarg" refType="primFontSz" fact="0.3"/>
                                    </dgm:constrLst>
                                    <dgm:ruleLst>
                                      <dgm:rule type="primFontSz" val="5" fact="NaN" max="NaN"/>
                                    </dgm:ruleLst>
                                  </dgm:layoutNode>
                                  <dgm:layoutNode name="left_32_3" styleLbl="node1">
                                    <dgm:varLst>
                                      <dgm:bulletEnabled val="1"/>
                                    </dgm:varLst>
                                    <dgm:alg type="tx"/>
                                    <dgm:shape xmlns:r="http://schemas.openxmlformats.org/officeDocument/2006/relationships" rot="-4" type="roundRect" r:blip="">
                                      <dgm:adjLst/>
                                    </dgm:shape>
                                    <dgm:presOf axis="ch ch desOrSelf" ptType="node node node" st="1 3 1" cnt="1 1 0"/>
                                    <dgm:constrLst>
                                      <dgm:constr type="lMarg" refType="primFontSz" fact="0.3"/>
                                      <dgm:constr type="rMarg" refType="primFontSz" fact="0.3"/>
                                      <dgm:constr type="tMarg" refType="primFontSz" fact="0.3"/>
                                      <dgm:constr type="bMarg" refType="primFontSz" fact="0.3"/>
                                    </dgm:constrLst>
                                    <dgm:ruleLst>
                                      <dgm:rule type="primFontSz" val="5" fact="NaN" max="NaN"/>
                                    </dgm:ruleLst>
                                  </dgm:layoutNode>
                                  <dgm:layoutNode name="right_32_1" styleLbl="node1">
                                    <dgm:varLst>
                                      <dgm:bulletEnabled val="1"/>
                                    </dgm:varLst>
                                    <dgm:alg type="tx"/>
                                    <dgm:shape xmlns:r="http://schemas.openxmlformats.org/officeDocument/2006/relationships" rot="-4" type="roundRect" r:blip="">
                                      <dgm:adjLst/>
                                    </dgm:shape>
                                    <dgm:presOf axis="ch ch desOrSelf" ptType="node node node" st="2 1 1" cnt="1 1 0"/>
                                    <dgm:constrLst>
                                      <dgm:constr type="lMarg" refType="primFontSz" fact="0.3"/>
                                      <dgm:constr type="rMarg" refType="primFontSz" fact="0.3"/>
                                      <dgm:constr type="tMarg" refType="primFontSz" fact="0.3"/>
                                      <dgm:constr type="bMarg" refType="primFontSz" fact="0.3"/>
                                    </dgm:constrLst>
                                    <dgm:ruleLst>
                                      <dgm:rule type="primFontSz" val="5" fact="NaN" max="NaN"/>
                                    </dgm:ruleLst>
                                  </dgm:layoutNode>
                                  <dgm:layoutNode name="right_32_2" styleLbl="node1">
                                    <dgm:varLst>
                                      <dgm:bulletEnabled val="1"/>
                                    </dgm:varLst>
                                    <dgm:alg type="tx"/>
                                    <dgm:shape xmlns:r="http://schemas.openxmlformats.org/officeDocument/2006/relationships" rot="-4" type="roundRect" r:blip="">
                                      <dgm:adjLst/>
                                    </dgm:shape>
                                    <dgm:presOf axis="ch ch desOrSelf" ptType="node node node" st="2 2 1" cnt="1 1 0"/>
                                    <dgm:constrLst>
                                      <dgm:constr type="lMarg" refType="primFontSz" fact="0.3"/>
                                      <dgm:constr type="rMarg" refType="primFontSz" fact="0.3"/>
                                      <dgm:constr type="tMarg" refType="primFontSz" fact="0.3"/>
                                      <dgm:constr type="bMarg" refType="primFontSz" fact="0.3"/>
                                    </dgm:constrLst>
                                    <dgm:ruleLst>
                                      <dgm:rule type="primFontSz" val="5" fact="NaN" max="NaN"/>
                                    </dgm:ruleLst>
                                  </dgm:layoutNode>
                                </dgm:if>
                                <dgm:else name="Name64">
                                  <dgm:choose name="Name65">
                                    <dgm:if name="Name66" axis="ch ch" ptType="node node" st="2 1" cnt="1 0" func="cnt" op="equ" val="3">
                                      <dgm:layoutNode name="balance_33" styleLbl="alignAccFollowNode1">
                                        <dgm:varLst>
                                          <dgm:bulletEnabled val="1"/>
                                        </dgm:varLst>
                                        <dgm:alg type="sp"/>
                                        <dgm:shape xmlns:r="http://schemas.openxmlformats.org/officeDocument/2006/relationships" type="rect" r:blip="">
                                          <dgm:adjLst/>
                                        </dgm:shape>
                                        <dgm:presOf/>
                                        <dgm:constrLst/>
                                        <dgm:ruleLst/>
                                      </dgm:layoutNode>
                                      <dgm:layoutNode name="right_33_1" styleLbl="node1">
                                        <dgm:varLst>
                                          <dgm:bulletEnabled val="1"/>
                                        </dgm:varLst>
                                        <dgm:alg type="tx"/>
                                        <dgm:shape xmlns:r="http://schemas.openxmlformats.org/officeDocument/2006/relationships" type="roundRect" r:blip="">
                                          <dgm:adjLst/>
                                        </dgm:shape>
                                        <dgm:presOf axis="ch ch desOrSelf" ptType="node node node" st="2 1 1" cnt="1 1 0"/>
                                        <dgm:constrLst>
                                          <dgm:constr type="lMarg" refType="primFontSz" fact="0.3"/>
                                          <dgm:constr type="rMarg" refType="primFontSz" fact="0.3"/>
                                          <dgm:constr type="tMarg" refType="primFontSz" fact="0.3"/>
                                          <dgm:constr type="bMarg" refType="primFontSz" fact="0.3"/>
                                        </dgm:constrLst>
                                        <dgm:ruleLst>
                                          <dgm:rule type="primFontSz" val="5" fact="NaN" max="NaN"/>
                                        </dgm:ruleLst>
                                      </dgm:layoutNode>
                                      <dgm:layoutNode name="right_33_2" styleLbl="node1">
                                        <dgm:varLst>
                                          <dgm:bulletEnabled val="1"/>
                                        </dgm:varLst>
                                        <dgm:alg type="tx"/>
                                        <dgm:shape xmlns:r="http://schemas.openxmlformats.org/officeDocument/2006/relationships" type="roundRect" r:blip="">
                                          <dgm:adjLst/>
                                        </dgm:shape>
                                        <dgm:presOf axis="ch ch desOrSelf" ptType="node node node" st="2 2 1" cnt="1 1 0"/>
                                        <dgm:constrLst>
                                          <dgm:constr type="lMarg" refType="primFontSz" fact="0.3"/>
                                          <dgm:constr type="rMarg" refType="primFontSz" fact="0.3"/>
                                          <dgm:constr type="tMarg" refType="primFontSz" fact="0.3"/>
                                          <dgm:constr type="bMarg" refType="primFontSz" fact="0.3"/>
                                        </dgm:constrLst>
                                        <dgm:ruleLst>
                                          <dgm:rule type="primFontSz" val="5" fact="NaN" max="NaN"/>
                                        </dgm:ruleLst>
                                      </dgm:layoutNode>
                                      <dgm:layoutNode name="right_33_3" styleLbl="node1">
                                        <dgm:varLst>
                                          <dgm:bulletEnabled val="1"/>
                                        </dgm:varLst>
                                        <dgm:alg type="tx"/>
                                        <dgm:shape xmlns:r="http://schemas.openxmlformats.org/officeDocument/2006/relationships" type="roundRect" r:blip="">
                                          <dgm:adjLst/>
                                        </dgm:shape>
                                        <dgm:presOf axis="ch ch desOrSelf" ptType="node node node" st="2 3 1" cnt="1 1 0"/>
                                        <dgm:constrLst>
                                          <dgm:constr type="lMarg" refType="primFontSz" fact="0.3"/>
                                          <dgm:constr type="rMarg" refType="primFontSz" fact="0.3"/>
                                          <dgm:constr type="tMarg" refType="primFontSz" fact="0.3"/>
                                          <dgm:constr type="bMarg" refType="primFontSz" fact="0.3"/>
                                        </dgm:constrLst>
                                        <dgm:ruleLst>
                                          <dgm:rule type="primFontSz" val="5" fact="NaN" max="NaN"/>
                                        </dgm:ruleLst>
                                      </dgm:layoutNode>
                                      <dgm:layoutNode name="left_33_1" styleLbl="node1">
                                        <dgm:varLst>
                                          <dgm:bulletEnabled val="1"/>
                                        </dgm:varLst>
                                        <dgm:alg type="tx"/>
                                        <dgm:shape xmlns:r="http://schemas.openxmlformats.org/officeDocument/2006/relationships" type="roundRect" r:blip="">
                                          <dgm:adjLst/>
                                        </dgm:shape>
                                        <dgm:presOf axis="ch ch desOrSelf" ptType="node node node" st="1 1 1" cnt="1 1 0"/>
                                        <dgm:constrLst>
                                          <dgm:constr type="lMarg" refType="primFontSz" fact="0.3"/>
                                          <dgm:constr type="rMarg" refType="primFontSz" fact="0.3"/>
                                          <dgm:constr type="tMarg" refType="primFontSz" fact="0.3"/>
                                          <dgm:constr type="bMarg" refType="primFontSz" fact="0.3"/>
                                        </dgm:constrLst>
                                        <dgm:ruleLst>
                                          <dgm:rule type="primFontSz" val="5" fact="NaN" max="NaN"/>
                                        </dgm:ruleLst>
                                      </dgm:layoutNode>
                                      <dgm:layoutNode name="left_33_2" styleLbl="node1">
                                        <dgm:varLst>
                                          <dgm:bulletEnabled val="1"/>
                                        </dgm:varLst>
                                        <dgm:alg type="tx"/>
                                        <dgm:shape xmlns:r="http://schemas.openxmlformats.org/officeDocument/2006/relationships" type="roundRect" r:blip="">
                                          <dgm:adjLst/>
                                        </dgm:shape>
                                        <dgm:presOf axis="ch ch desOrSelf" ptType="node node node" st="1 2 1" cnt="1 1 0"/>
                                        <dgm:constrLst>
                                          <dgm:constr type="lMarg" refType="primFontSz" fact="0.3"/>
                                          <dgm:constr type="rMarg" refType="primFontSz" fact="0.3"/>
                                          <dgm:constr type="tMarg" refType="primFontSz" fact="0.3"/>
                                          <dgm:constr type="bMarg" refType="primFontSz" fact="0.3"/>
                                        </dgm:constrLst>
                                        <dgm:ruleLst>
                                          <dgm:rule type="primFontSz" val="5" fact="NaN" max="NaN"/>
                                        </dgm:ruleLst>
                                      </dgm:layoutNode>
                                      <dgm:layoutNode name="left_33_3" styleLbl="node1">
                                        <dgm:varLst>
                                          <dgm:bulletEnabled val="1"/>
                                        </dgm:varLst>
                                        <dgm:alg type="tx"/>
                                        <dgm:shape xmlns:r="http://schemas.openxmlformats.org/officeDocument/2006/relationships" type="roundRect" r:blip="">
                                          <dgm:adjLst/>
                                        </dgm:shape>
                                        <dgm:presOf axis="ch ch desOrSelf" ptType="node node node" st="1 3 1" cnt="1 1 0"/>
                                        <dgm:constrLst>
                                          <dgm:constr type="lMarg" refType="primFontSz" fact="0.3"/>
                                          <dgm:constr type="rMarg" refType="primFontSz" fact="0.3"/>
                                          <dgm:constr type="tMarg" refType="primFontSz" fact="0.3"/>
                                          <dgm:constr type="bMarg" refType="primFontSz" fact="0.3"/>
                                        </dgm:constrLst>
                                        <dgm:ruleLst>
                                          <dgm:rule type="primFontSz" val="5" fact="NaN" max="NaN"/>
                                        </dgm:ruleLst>
                                      </dgm:layoutNode>
                                    </dgm:if>
                                    <dgm:else name="Name67">
                                      <dgm:choose name="Name68">
                                        <dgm:if name="Name69" axis="ch ch" ptType="node node" st="2 1" cnt="1 0" func="cnt" op="gte" val="4">
                                          <dgm:layoutNode name="balance_34" styleLbl="alignAccFollowNode1">
                                            <dgm:varLst>
                                              <dgm:bulletEnabled val="1"/>
                                            </dgm:varLst>
                                            <dgm:alg type="sp"/>
                                            <dgm:shape xmlns:r="http://schemas.openxmlformats.org/officeDocument/2006/relationships" rot="4" type="rect" r:blip="">
                                              <dgm:adjLst/>
                                            </dgm:shape>
                                            <dgm:presOf/>
                                            <dgm:constrLst/>
                                            <dgm:ruleLst/>
                                          </dgm:layoutNode>
                                          <dgm:layoutNode name="right_34_1" styleLbl="node1">
                                            <dgm:varLst>
                                              <dgm:bulletEnabled val="1"/>
                                            </dgm:varLst>
                                            <dgm:alg type="tx"/>
                                            <dgm:shape xmlns:r="http://schemas.openxmlformats.org/officeDocument/2006/relationships" rot="4" type="roundRect" r:blip="">
                                              <dgm:adjLst/>
                                            </dgm:shape>
                                            <dgm:presOf axis="ch ch desOrSelf" ptType="node node node" st="2 1 1" cnt="1 1 0"/>
                                            <dgm:constrLst>
                                              <dgm:constr type="lMarg" refType="primFontSz" fact="0.3"/>
                                              <dgm:constr type="rMarg" refType="primFontSz" fact="0.3"/>
                                              <dgm:constr type="tMarg" refType="primFontSz" fact="0.3"/>
                                              <dgm:constr type="bMarg" refType="primFontSz" fact="0.3"/>
                                            </dgm:constrLst>
                                            <dgm:ruleLst>
                                              <dgm:rule type="primFontSz" val="5" fact="NaN" max="NaN"/>
                                            </dgm:ruleLst>
                                          </dgm:layoutNode>
                                          <dgm:layoutNode name="right_34_2" styleLbl="node1">
                                            <dgm:varLst>
                                              <dgm:bulletEnabled val="1"/>
                                            </dgm:varLst>
                                            <dgm:alg type="tx"/>
                                            <dgm:shape xmlns:r="http://schemas.openxmlformats.org/officeDocument/2006/relationships" rot="4" type="roundRect" r:blip="">
                                              <dgm:adjLst/>
                                            </dgm:shape>
                                            <dgm:presOf axis="ch ch desOrSelf" ptType="node node node" st="2 2 1" cnt="1 1 0"/>
                                            <dgm:constrLst>
                                              <dgm:constr type="lMarg" refType="primFontSz" fact="0.3"/>
                                              <dgm:constr type="rMarg" refType="primFontSz" fact="0.3"/>
                                              <dgm:constr type="tMarg" refType="primFontSz" fact="0.3"/>
                                              <dgm:constr type="bMarg" refType="primFontSz" fact="0.3"/>
                                            </dgm:constrLst>
                                            <dgm:ruleLst>
                                              <dgm:rule type="primFontSz" val="5" fact="NaN" max="NaN"/>
                                            </dgm:ruleLst>
                                          </dgm:layoutNode>
                                          <dgm:layoutNode name="right_34_3" styleLbl="node1">
                                            <dgm:varLst>
                                              <dgm:bulletEnabled val="1"/>
                                            </dgm:varLst>
                                            <dgm:alg type="tx"/>
                                            <dgm:shape xmlns:r="http://schemas.openxmlformats.org/officeDocument/2006/relationships" rot="4" type="roundRect" r:blip="">
                                              <dgm:adjLst/>
                                            </dgm:shape>
                                            <dgm:presOf axis="ch ch desOrSelf" ptType="node node node" st="2 3 1" cnt="1 1 0"/>
                                            <dgm:constrLst>
                                              <dgm:constr type="lMarg" refType="primFontSz" fact="0.3"/>
                                              <dgm:constr type="rMarg" refType="primFontSz" fact="0.3"/>
                                              <dgm:constr type="tMarg" refType="primFontSz" fact="0.3"/>
                                              <dgm:constr type="bMarg" refType="primFontSz" fact="0.3"/>
                                            </dgm:constrLst>
                                            <dgm:ruleLst>
                                              <dgm:rule type="primFontSz" val="5" fact="NaN" max="NaN"/>
                                            </dgm:ruleLst>
                                          </dgm:layoutNode>
                                          <dgm:layoutNode name="right_34_4" styleLbl="node1">
                                            <dgm:varLst>
                                              <dgm:bulletEnabled val="1"/>
                                            </dgm:varLst>
                                            <dgm:alg type="tx"/>
                                            <dgm:shape xmlns:r="http://schemas.openxmlformats.org/officeDocument/2006/relationships" rot="4" type="roundRect" r:blip="">
                                              <dgm:adjLst/>
                                            </dgm:shape>
                                            <dgm:presOf axis="ch ch desOrSelf" ptType="node node node" st="2 4 1" cnt="1 1 0"/>
                                            <dgm:constrLst>
                                              <dgm:constr type="lMarg" refType="primFontSz" fact="0.3"/>
                                              <dgm:constr type="rMarg" refType="primFontSz" fact="0.3"/>
                                              <dgm:constr type="tMarg" refType="primFontSz" fact="0.3"/>
                                              <dgm:constr type="bMarg" refType="primFontSz" fact="0.3"/>
                                            </dgm:constrLst>
                                            <dgm:ruleLst>
                                              <dgm:rule type="primFontSz" val="5" fact="NaN" max="NaN"/>
                                            </dgm:ruleLst>
                                          </dgm:layoutNode>
                                          <dgm:layoutNode name="left_34_1" styleLbl="node1">
                                            <dgm:varLst>
                                              <dgm:bulletEnabled val="1"/>
                                            </dgm:varLst>
                                            <dgm:alg type="tx"/>
                                            <dgm:shape xmlns:r="http://schemas.openxmlformats.org/officeDocument/2006/relationships" rot="4" type="roundRect" r:blip="">
                                              <dgm:adjLst/>
                                            </dgm:shape>
                                            <dgm:presOf axis="ch ch desOrSelf" ptType="node node node" st="1 1 1" cnt="1 1 0"/>
                                            <dgm:constrLst>
                                              <dgm:constr type="lMarg" refType="primFontSz" fact="0.3"/>
                                              <dgm:constr type="rMarg" refType="primFontSz" fact="0.3"/>
                                              <dgm:constr type="tMarg" refType="primFontSz" fact="0.3"/>
                                              <dgm:constr type="bMarg" refType="primFontSz" fact="0.3"/>
                                            </dgm:constrLst>
                                            <dgm:ruleLst>
                                              <dgm:rule type="primFontSz" val="5" fact="NaN" max="NaN"/>
                                            </dgm:ruleLst>
                                          </dgm:layoutNode>
                                          <dgm:layoutNode name="left_34_2" styleLbl="node1">
                                            <dgm:varLst>
                                              <dgm:bulletEnabled val="1"/>
                                            </dgm:varLst>
                                            <dgm:alg type="tx"/>
                                            <dgm:shape xmlns:r="http://schemas.openxmlformats.org/officeDocument/2006/relationships" rot="4" type="roundRect" r:blip="">
                                              <dgm:adjLst/>
                                            </dgm:shape>
                                            <dgm:presOf axis="ch ch desOrSelf" ptType="node node node" st="1 2 1" cnt="1 1 0"/>
                                            <dgm:constrLst>
                                              <dgm:constr type="lMarg" refType="primFontSz" fact="0.3"/>
                                              <dgm:constr type="rMarg" refType="primFontSz" fact="0.3"/>
                                              <dgm:constr type="tMarg" refType="primFontSz" fact="0.3"/>
                                              <dgm:constr type="bMarg" refType="primFontSz" fact="0.3"/>
                                            </dgm:constrLst>
                                            <dgm:ruleLst>
                                              <dgm:rule type="primFontSz" val="5" fact="NaN" max="NaN"/>
                                            </dgm:ruleLst>
                                          </dgm:layoutNode>
                                          <dgm:layoutNode name="left_34_3" styleLbl="node1">
                                            <dgm:varLst>
                                              <dgm:bulletEnabled val="1"/>
                                            </dgm:varLst>
                                            <dgm:alg type="tx"/>
                                            <dgm:shape xmlns:r="http://schemas.openxmlformats.org/officeDocument/2006/relationships" rot="4" type="roundRect" r:blip="">
                                              <dgm:adjLst/>
                                            </dgm:shape>
                                            <dgm:presOf axis="ch ch desOrSelf" ptType="node node node" st="1 3 1" cnt="1 1 0"/>
                                            <dgm:constrLst>
                                              <dgm:constr type="lMarg" refType="primFontSz" fact="0.3"/>
                                              <dgm:constr type="rMarg" refType="primFontSz" fact="0.3"/>
                                              <dgm:constr type="tMarg" refType="primFontSz" fact="0.3"/>
                                              <dgm:constr type="bMarg" refType="primFontSz" fact="0.3"/>
                                            </dgm:constrLst>
                                            <dgm:ruleLst>
                                              <dgm:rule type="primFontSz" val="5" fact="NaN" max="NaN"/>
                                            </dgm:ruleLst>
                                          </dgm:layoutNode>
                                        </dgm:if>
                                        <dgm:else name="Name70"/>
                                      </dgm:choose>
                                    </dgm:else>
                                  </dgm:choose>
                                </dgm:else>
                              </dgm:choose>
                            </dgm:else>
                          </dgm:choose>
                        </dgm:else>
                      </dgm:choose>
                    </dgm:if>
                    <dgm:else name="Name71">
                      <dgm:choose name="Name72">
                        <dgm:if name="Name73" axis="ch ch" ptType="node node" st="1 1" cnt="1 0" func="cnt" op="gte" val="4">
                          <dgm:choose name="Name74">
                            <dgm:if name="Name75" axis="ch ch" ptType="node node" st="2 1" cnt="1 0" func="cnt" op="equ" val="0">
                              <dgm:layoutNode name="balance_40" styleLbl="alignAccFollowNode1">
                                <dgm:varLst>
                                  <dgm:bulletEnabled val="1"/>
                                </dgm:varLst>
                                <dgm:alg type="sp"/>
                                <dgm:shape xmlns:r="http://schemas.openxmlformats.org/officeDocument/2006/relationships" rot="-4" type="rect" r:blip="">
                                  <dgm:adjLst/>
                                </dgm:shape>
                                <dgm:presOf/>
                                <dgm:constrLst/>
                                <dgm:ruleLst/>
                              </dgm:layoutNode>
                              <dgm:layoutNode name="left_40_1" styleLbl="node1">
                                <dgm:varLst>
                                  <dgm:bulletEnabled val="1"/>
                                </dgm:varLst>
                                <dgm:alg type="tx"/>
                                <dgm:shape xmlns:r="http://schemas.openxmlformats.org/officeDocument/2006/relationships" rot="-4" type="roundRect" r:blip="">
                                  <dgm:adjLst/>
                                </dgm:shape>
                                <dgm:presOf axis="ch ch desOrSelf" ptType="node node node" st="1 1 1" cnt="1 1 0"/>
                                <dgm:constrLst>
                                  <dgm:constr type="lMarg" refType="primFontSz" fact="0.3"/>
                                  <dgm:constr type="rMarg" refType="primFontSz" fact="0.3"/>
                                  <dgm:constr type="tMarg" refType="primFontSz" fact="0.3"/>
                                  <dgm:constr type="bMarg" refType="primFontSz" fact="0.3"/>
                                </dgm:constrLst>
                                <dgm:ruleLst>
                                  <dgm:rule type="primFontSz" val="5" fact="NaN" max="NaN"/>
                                </dgm:ruleLst>
                              </dgm:layoutNode>
                              <dgm:layoutNode name="left_40_2" styleLbl="node1">
                                <dgm:varLst>
                                  <dgm:bulletEnabled val="1"/>
                                </dgm:varLst>
                                <dgm:alg type="tx"/>
                                <dgm:shape xmlns:r="http://schemas.openxmlformats.org/officeDocument/2006/relationships" rot="-4" type="roundRect" r:blip="">
                                  <dgm:adjLst/>
                                </dgm:shape>
                                <dgm:presOf axis="ch ch desOrSelf" ptType="node node node" st="1 2 1" cnt="1 1 0"/>
                                <dgm:constrLst>
                                  <dgm:constr type="lMarg" refType="primFontSz" fact="0.3"/>
                                  <dgm:constr type="rMarg" refType="primFontSz" fact="0.3"/>
                                  <dgm:constr type="tMarg" refType="primFontSz" fact="0.3"/>
                                  <dgm:constr type="bMarg" refType="primFontSz" fact="0.3"/>
                                </dgm:constrLst>
                                <dgm:ruleLst>
                                  <dgm:rule type="primFontSz" val="5" fact="NaN" max="NaN"/>
                                </dgm:ruleLst>
                              </dgm:layoutNode>
                              <dgm:layoutNode name="left_40_3" styleLbl="node1">
                                <dgm:varLst>
                                  <dgm:bulletEnabled val="1"/>
                                </dgm:varLst>
                                <dgm:alg type="tx"/>
                                <dgm:shape xmlns:r="http://schemas.openxmlformats.org/officeDocument/2006/relationships" rot="-4" type="roundRect" r:blip="">
                                  <dgm:adjLst/>
                                </dgm:shape>
                                <dgm:presOf axis="ch ch desOrSelf" ptType="node node node" st="1 3 1" cnt="1 1 0"/>
                                <dgm:constrLst>
                                  <dgm:constr type="lMarg" refType="primFontSz" fact="0.3"/>
                                  <dgm:constr type="rMarg" refType="primFontSz" fact="0.3"/>
                                  <dgm:constr type="tMarg" refType="primFontSz" fact="0.3"/>
                                  <dgm:constr type="bMarg" refType="primFontSz" fact="0.3"/>
                                </dgm:constrLst>
                                <dgm:ruleLst>
                                  <dgm:rule type="primFontSz" val="5" fact="NaN" max="NaN"/>
                                </dgm:ruleLst>
                              </dgm:layoutNode>
                              <dgm:layoutNode name="left_40_4" styleLbl="node1">
                                <dgm:varLst>
                                  <dgm:bulletEnabled val="1"/>
                                </dgm:varLst>
                                <dgm:alg type="tx"/>
                                <dgm:shape xmlns:r="http://schemas.openxmlformats.org/officeDocument/2006/relationships" rot="-4" type="roundRect" r:blip="">
                                  <dgm:adjLst/>
                                </dgm:shape>
                                <dgm:presOf axis="ch ch desOrSelf" ptType="node node node" st="1 4 1" cnt="1 1 0"/>
                                <dgm:constrLst>
                                  <dgm:constr type="lMarg" refType="primFontSz" fact="0.3"/>
                                  <dgm:constr type="rMarg" refType="primFontSz" fact="0.3"/>
                                  <dgm:constr type="tMarg" refType="primFontSz" fact="0.3"/>
                                  <dgm:constr type="bMarg" refType="primFontSz" fact="0.3"/>
                                </dgm:constrLst>
                                <dgm:ruleLst>
                                  <dgm:rule type="primFontSz" val="5" fact="NaN" max="NaN"/>
                                </dgm:ruleLst>
                              </dgm:layoutNode>
                            </dgm:if>
                            <dgm:else name="Name76">
                              <dgm:choose name="Name77">
                                <dgm:if name="Name78" axis="ch ch" ptType="node node" st="2 1" cnt="1 0" func="cnt" op="equ" val="1">
                                  <dgm:layoutNode name="balance_41" styleLbl="alignAccFollowNode1">
                                    <dgm:varLst>
                                      <dgm:bulletEnabled val="1"/>
                                    </dgm:varLst>
                                    <dgm:alg type="sp"/>
                                    <dgm:shape xmlns:r="http://schemas.openxmlformats.org/officeDocument/2006/relationships" rot="-4" type="rect" r:blip="">
                                      <dgm:adjLst/>
                                    </dgm:shape>
                                    <dgm:presOf/>
                                    <dgm:constrLst/>
                                    <dgm:ruleLst/>
                                  </dgm:layoutNode>
                                  <dgm:layoutNode name="left_41_1" styleLbl="node1">
                                    <dgm:varLst>
                                      <dgm:bulletEnabled val="1"/>
                                    </dgm:varLst>
                                    <dgm:alg type="tx"/>
                                    <dgm:shape xmlns:r="http://schemas.openxmlformats.org/officeDocument/2006/relationships" rot="-4" type="roundRect" r:blip="">
                                      <dgm:adjLst/>
                                    </dgm:shape>
                                    <dgm:presOf axis="ch ch desOrSelf" ptType="node node node" st="1 1 1" cnt="1 1 0"/>
                                    <dgm:constrLst>
                                      <dgm:constr type="lMarg" refType="primFontSz" fact="0.3"/>
                                      <dgm:constr type="rMarg" refType="primFontSz" fact="0.3"/>
                                      <dgm:constr type="tMarg" refType="primFontSz" fact="0.3"/>
                                      <dgm:constr type="bMarg" refType="primFontSz" fact="0.3"/>
                                    </dgm:constrLst>
                                    <dgm:ruleLst>
                                      <dgm:rule type="primFontSz" val="5" fact="NaN" max="NaN"/>
                                    </dgm:ruleLst>
                                  </dgm:layoutNode>
                                  <dgm:layoutNode name="left_41_2" styleLbl="node1">
                                    <dgm:varLst>
                                      <dgm:bulletEnabled val="1"/>
                                    </dgm:varLst>
                                    <dgm:alg type="tx"/>
                                    <dgm:shape xmlns:r="http://schemas.openxmlformats.org/officeDocument/2006/relationships" rot="-4" type="roundRect" r:blip="">
                                      <dgm:adjLst/>
                                    </dgm:shape>
                                    <dgm:presOf axis="ch ch desOrSelf" ptType="node node node" st="1 2 1" cnt="1 1 0"/>
                                    <dgm:constrLst>
                                      <dgm:constr type="lMarg" refType="primFontSz" fact="0.3"/>
                                      <dgm:constr type="rMarg" refType="primFontSz" fact="0.3"/>
                                      <dgm:constr type="tMarg" refType="primFontSz" fact="0.3"/>
                                      <dgm:constr type="bMarg" refType="primFontSz" fact="0.3"/>
                                    </dgm:constrLst>
                                    <dgm:ruleLst>
                                      <dgm:rule type="primFontSz" val="5" fact="NaN" max="NaN"/>
                                    </dgm:ruleLst>
                                  </dgm:layoutNode>
                                  <dgm:layoutNode name="left_41_3" styleLbl="node1">
                                    <dgm:varLst>
                                      <dgm:bulletEnabled val="1"/>
                                    </dgm:varLst>
                                    <dgm:alg type="tx"/>
                                    <dgm:shape xmlns:r="http://schemas.openxmlformats.org/officeDocument/2006/relationships" rot="-4" type="roundRect" r:blip="">
                                      <dgm:adjLst/>
                                    </dgm:shape>
                                    <dgm:presOf axis="ch ch desOrSelf" ptType="node node node" st="1 3 1" cnt="1 1 0"/>
                                    <dgm:constrLst>
                                      <dgm:constr type="lMarg" refType="primFontSz" fact="0.3"/>
                                      <dgm:constr type="rMarg" refType="primFontSz" fact="0.3"/>
                                      <dgm:constr type="tMarg" refType="primFontSz" fact="0.3"/>
                                      <dgm:constr type="bMarg" refType="primFontSz" fact="0.3"/>
                                    </dgm:constrLst>
                                    <dgm:ruleLst>
                                      <dgm:rule type="primFontSz" val="5" fact="NaN" max="NaN"/>
                                    </dgm:ruleLst>
                                  </dgm:layoutNode>
                                  <dgm:layoutNode name="left_41_4" styleLbl="node1">
                                    <dgm:varLst>
                                      <dgm:bulletEnabled val="1"/>
                                    </dgm:varLst>
                                    <dgm:alg type="tx"/>
                                    <dgm:shape xmlns:r="http://schemas.openxmlformats.org/officeDocument/2006/relationships" rot="-4" type="roundRect" r:blip="">
                                      <dgm:adjLst/>
                                    </dgm:shape>
                                    <dgm:presOf axis="ch ch desOrSelf" ptType="node node node" st="1 4 1" cnt="1 1 0"/>
                                    <dgm:constrLst>
                                      <dgm:constr type="lMarg" refType="primFontSz" fact="0.3"/>
                                      <dgm:constr type="rMarg" refType="primFontSz" fact="0.3"/>
                                      <dgm:constr type="tMarg" refType="primFontSz" fact="0.3"/>
                                      <dgm:constr type="bMarg" refType="primFontSz" fact="0.3"/>
                                    </dgm:constrLst>
                                    <dgm:ruleLst>
                                      <dgm:rule type="primFontSz" val="5" fact="NaN" max="NaN"/>
                                    </dgm:ruleLst>
                                  </dgm:layoutNode>
                                  <dgm:layoutNode name="right_41_1" styleLbl="node1">
                                    <dgm:varLst>
                                      <dgm:bulletEnabled val="1"/>
                                    </dgm:varLst>
                                    <dgm:alg type="tx"/>
                                    <dgm:shape xmlns:r="http://schemas.openxmlformats.org/officeDocument/2006/relationships" rot="-4" type="roundRect" r:blip="">
                                      <dgm:adjLst/>
                                    </dgm:shape>
                                    <dgm:presOf axis="ch ch desOrSelf" ptType="node node node" st="2 1 1" cnt="1 1 0"/>
                                    <dgm:constrLst>
                                      <dgm:constr type="lMarg" refType="primFontSz" fact="0.3"/>
                                      <dgm:constr type="rMarg" refType="primFontSz" fact="0.3"/>
                                      <dgm:constr type="tMarg" refType="primFontSz" fact="0.3"/>
                                      <dgm:constr type="bMarg" refType="primFontSz" fact="0.3"/>
                                    </dgm:constrLst>
                                    <dgm:ruleLst>
                                      <dgm:rule type="primFontSz" val="5" fact="NaN" max="NaN"/>
                                    </dgm:ruleLst>
                                  </dgm:layoutNode>
                                </dgm:if>
                                <dgm:else name="Name79">
                                  <dgm:choose name="Name80">
                                    <dgm:if name="Name81" axis="ch ch" ptType="node node" st="2 1" cnt="1 0" func="cnt" op="equ" val="2">
                                      <dgm:layoutNode name="balance_42" styleLbl="alignAccFollowNode1">
                                        <dgm:varLst>
                                          <dgm:bulletEnabled val="1"/>
                                        </dgm:varLst>
                                        <dgm:alg type="sp"/>
                                        <dgm:shape xmlns:r="http://schemas.openxmlformats.org/officeDocument/2006/relationships" rot="-4" type="rect" r:blip="">
                                          <dgm:adjLst/>
                                        </dgm:shape>
                                        <dgm:presOf/>
                                        <dgm:constrLst/>
                                        <dgm:ruleLst/>
                                      </dgm:layoutNode>
                                      <dgm:layoutNode name="left_42_1" styleLbl="node1">
                                        <dgm:varLst>
                                          <dgm:bulletEnabled val="1"/>
                                        </dgm:varLst>
                                        <dgm:alg type="tx"/>
                                        <dgm:shape xmlns:r="http://schemas.openxmlformats.org/officeDocument/2006/relationships" rot="-4" type="roundRect" r:blip="">
                                          <dgm:adjLst/>
                                        </dgm:shape>
                                        <dgm:presOf axis="ch ch desOrSelf" ptType="node node node" st="1 1 1" cnt="1 1 0"/>
                                        <dgm:constrLst>
                                          <dgm:constr type="lMarg" refType="primFontSz" fact="0.3"/>
                                          <dgm:constr type="rMarg" refType="primFontSz" fact="0.3"/>
                                          <dgm:constr type="tMarg" refType="primFontSz" fact="0.3"/>
                                          <dgm:constr type="bMarg" refType="primFontSz" fact="0.3"/>
                                        </dgm:constrLst>
                                        <dgm:ruleLst>
                                          <dgm:rule type="primFontSz" val="5" fact="NaN" max="NaN"/>
                                        </dgm:ruleLst>
                                      </dgm:layoutNode>
                                      <dgm:layoutNode name="left_42_2" styleLbl="node1">
                                        <dgm:varLst>
                                          <dgm:bulletEnabled val="1"/>
                                        </dgm:varLst>
                                        <dgm:alg type="tx"/>
                                        <dgm:shape xmlns:r="http://schemas.openxmlformats.org/officeDocument/2006/relationships" rot="-4" type="roundRect" r:blip="">
                                          <dgm:adjLst/>
                                        </dgm:shape>
                                        <dgm:presOf axis="ch ch desOrSelf" ptType="node node node" st="1 2 1" cnt="1 1 0"/>
                                        <dgm:constrLst>
                                          <dgm:constr type="lMarg" refType="primFontSz" fact="0.3"/>
                                          <dgm:constr type="rMarg" refType="primFontSz" fact="0.3"/>
                                          <dgm:constr type="tMarg" refType="primFontSz" fact="0.3"/>
                                          <dgm:constr type="bMarg" refType="primFontSz" fact="0.3"/>
                                        </dgm:constrLst>
                                        <dgm:ruleLst>
                                          <dgm:rule type="primFontSz" val="5" fact="NaN" max="NaN"/>
                                        </dgm:ruleLst>
                                      </dgm:layoutNode>
                                      <dgm:layoutNode name="left_42_3" styleLbl="node1">
                                        <dgm:varLst>
                                          <dgm:bulletEnabled val="1"/>
                                        </dgm:varLst>
                                        <dgm:alg type="tx"/>
                                        <dgm:shape xmlns:r="http://schemas.openxmlformats.org/officeDocument/2006/relationships" rot="-4" type="roundRect" r:blip="">
                                          <dgm:adjLst/>
                                        </dgm:shape>
                                        <dgm:presOf axis="ch ch desOrSelf" ptType="node node node" st="1 3 1" cnt="1 1 0"/>
                                        <dgm:constrLst>
                                          <dgm:constr type="lMarg" refType="primFontSz" fact="0.3"/>
                                          <dgm:constr type="rMarg" refType="primFontSz" fact="0.3"/>
                                          <dgm:constr type="tMarg" refType="primFontSz" fact="0.3"/>
                                          <dgm:constr type="bMarg" refType="primFontSz" fact="0.3"/>
                                        </dgm:constrLst>
                                        <dgm:ruleLst>
                                          <dgm:rule type="primFontSz" val="5" fact="NaN" max="NaN"/>
                                        </dgm:ruleLst>
                                      </dgm:layoutNode>
                                      <dgm:layoutNode name="left_42_4" styleLbl="node1">
                                        <dgm:varLst>
                                          <dgm:bulletEnabled val="1"/>
                                        </dgm:varLst>
                                        <dgm:alg type="tx"/>
                                        <dgm:shape xmlns:r="http://schemas.openxmlformats.org/officeDocument/2006/relationships" rot="-4" type="roundRect" r:blip="">
                                          <dgm:adjLst/>
                                        </dgm:shape>
                                        <dgm:presOf axis="ch ch desOrSelf" ptType="node node node" st="1 4 1" cnt="1 1 0"/>
                                        <dgm:constrLst>
                                          <dgm:constr type="lMarg" refType="primFontSz" fact="0.3"/>
                                          <dgm:constr type="rMarg" refType="primFontSz" fact="0.3"/>
                                          <dgm:constr type="tMarg" refType="primFontSz" fact="0.3"/>
                                          <dgm:constr type="bMarg" refType="primFontSz" fact="0.3"/>
                                        </dgm:constrLst>
                                        <dgm:ruleLst>
                                          <dgm:rule type="primFontSz" val="5" fact="NaN" max="NaN"/>
                                        </dgm:ruleLst>
                                      </dgm:layoutNode>
                                      <dgm:layoutNode name="right_42_1" styleLbl="node1">
                                        <dgm:varLst>
                                          <dgm:bulletEnabled val="1"/>
                                        </dgm:varLst>
                                        <dgm:alg type="tx"/>
                                        <dgm:shape xmlns:r="http://schemas.openxmlformats.org/officeDocument/2006/relationships" rot="-4" type="roundRect" r:blip="">
                                          <dgm:adjLst/>
                                        </dgm:shape>
                                        <dgm:presOf axis="ch ch desOrSelf" ptType="node node node" st="2 1 1" cnt="1 1 0"/>
                                        <dgm:constrLst>
                                          <dgm:constr type="lMarg" refType="primFontSz" fact="0.3"/>
                                          <dgm:constr type="rMarg" refType="primFontSz" fact="0.3"/>
                                          <dgm:constr type="tMarg" refType="primFontSz" fact="0.3"/>
                                          <dgm:constr type="bMarg" refType="primFontSz" fact="0.3"/>
                                        </dgm:constrLst>
                                        <dgm:ruleLst>
                                          <dgm:rule type="primFontSz" val="5" fact="NaN" max="NaN"/>
                                        </dgm:ruleLst>
                                      </dgm:layoutNode>
                                      <dgm:layoutNode name="right_42_2" styleLbl="node1">
                                        <dgm:varLst>
                                          <dgm:bulletEnabled val="1"/>
                                        </dgm:varLst>
                                        <dgm:alg type="tx"/>
                                        <dgm:shape xmlns:r="http://schemas.openxmlformats.org/officeDocument/2006/relationships" rot="-4" type="roundRect" r:blip="">
                                          <dgm:adjLst/>
                                        </dgm:shape>
                                        <dgm:presOf axis="ch ch desOrSelf" ptType="node node node" st="2 2 1" cnt="1 1 0"/>
                                        <dgm:constrLst>
                                          <dgm:constr type="lMarg" refType="primFontSz" fact="0.3"/>
                                          <dgm:constr type="rMarg" refType="primFontSz" fact="0.3"/>
                                          <dgm:constr type="tMarg" refType="primFontSz" fact="0.3"/>
                                          <dgm:constr type="bMarg" refType="primFontSz" fact="0.3"/>
                                        </dgm:constrLst>
                                        <dgm:ruleLst>
                                          <dgm:rule type="primFontSz" val="5" fact="NaN" max="NaN"/>
                                        </dgm:ruleLst>
                                      </dgm:layoutNode>
                                    </dgm:if>
                                    <dgm:else name="Name82">
                                      <dgm:choose name="Name83">
                                        <dgm:if name="Name84" axis="ch ch" ptType="node node" st="2 1" cnt="1 0" func="cnt" op="equ" val="3">
                                          <dgm:layoutNode name="balance_43" styleLbl="alignAccFollowNode1">
                                            <dgm:varLst>
                                              <dgm:bulletEnabled val="1"/>
                                            </dgm:varLst>
                                            <dgm:alg type="sp"/>
                                            <dgm:shape xmlns:r="http://schemas.openxmlformats.org/officeDocument/2006/relationships" rot="-4" type="rect" r:blip="">
                                              <dgm:adjLst/>
                                            </dgm:shape>
                                            <dgm:presOf/>
                                            <dgm:constrLst/>
                                            <dgm:ruleLst/>
                                          </dgm:layoutNode>
                                          <dgm:layoutNode name="left_43_1" styleLbl="node1">
                                            <dgm:varLst>
                                              <dgm:bulletEnabled val="1"/>
                                            </dgm:varLst>
                                            <dgm:alg type="tx"/>
                                            <dgm:shape xmlns:r="http://schemas.openxmlformats.org/officeDocument/2006/relationships" rot="-4" type="roundRect" r:blip="">
                                              <dgm:adjLst/>
                                            </dgm:shape>
                                            <dgm:presOf axis="ch ch desOrSelf" ptType="node node node" st="1 1 1" cnt="1 1 0"/>
                                            <dgm:constrLst>
                                              <dgm:constr type="lMarg" refType="primFontSz" fact="0.3"/>
                                              <dgm:constr type="rMarg" refType="primFontSz" fact="0.3"/>
                                              <dgm:constr type="tMarg" refType="primFontSz" fact="0.3"/>
                                              <dgm:constr type="bMarg" refType="primFontSz" fact="0.3"/>
                                            </dgm:constrLst>
                                            <dgm:ruleLst>
                                              <dgm:rule type="primFontSz" val="5" fact="NaN" max="NaN"/>
                                            </dgm:ruleLst>
                                          </dgm:layoutNode>
                                          <dgm:layoutNode name="left_43_2" styleLbl="node1">
                                            <dgm:varLst>
                                              <dgm:bulletEnabled val="1"/>
                                            </dgm:varLst>
                                            <dgm:alg type="tx"/>
                                            <dgm:shape xmlns:r="http://schemas.openxmlformats.org/officeDocument/2006/relationships" rot="-4" type="roundRect" r:blip="">
                                              <dgm:adjLst/>
                                            </dgm:shape>
                                            <dgm:presOf axis="ch ch desOrSelf" ptType="node node node" st="1 2 1" cnt="1 1 0"/>
                                            <dgm:constrLst>
                                              <dgm:constr type="lMarg" refType="primFontSz" fact="0.3"/>
                                              <dgm:constr type="rMarg" refType="primFontSz" fact="0.3"/>
                                              <dgm:constr type="tMarg" refType="primFontSz" fact="0.3"/>
                                              <dgm:constr type="bMarg" refType="primFontSz" fact="0.3"/>
                                            </dgm:constrLst>
                                            <dgm:ruleLst>
                                              <dgm:rule type="primFontSz" val="5" fact="NaN" max="NaN"/>
                                            </dgm:ruleLst>
                                          </dgm:layoutNode>
                                          <dgm:layoutNode name="left_43_3" styleLbl="node1">
                                            <dgm:varLst>
                                              <dgm:bulletEnabled val="1"/>
                                            </dgm:varLst>
                                            <dgm:alg type="tx"/>
                                            <dgm:shape xmlns:r="http://schemas.openxmlformats.org/officeDocument/2006/relationships" rot="-4" type="roundRect" r:blip="">
                                              <dgm:adjLst/>
                                            </dgm:shape>
                                            <dgm:presOf axis="ch ch desOrSelf" ptType="node node node" st="1 3 1" cnt="1 1 0"/>
                                            <dgm:constrLst>
                                              <dgm:constr type="lMarg" refType="primFontSz" fact="0.3"/>
                                              <dgm:constr type="rMarg" refType="primFontSz" fact="0.3"/>
                                              <dgm:constr type="tMarg" refType="primFontSz" fact="0.3"/>
                                              <dgm:constr type="bMarg" refType="primFontSz" fact="0.3"/>
                                            </dgm:constrLst>
                                            <dgm:ruleLst>
                                              <dgm:rule type="primFontSz" val="5" fact="NaN" max="NaN"/>
                                            </dgm:ruleLst>
                                          </dgm:layoutNode>
                                          <dgm:layoutNode name="left_43_4" styleLbl="node1">
                                            <dgm:varLst>
                                              <dgm:bulletEnabled val="1"/>
                                            </dgm:varLst>
                                            <dgm:alg type="tx"/>
                                            <dgm:shape xmlns:r="http://schemas.openxmlformats.org/officeDocument/2006/relationships" rot="-4" type="roundRect" r:blip="">
                                              <dgm:adjLst/>
                                            </dgm:shape>
                                            <dgm:presOf axis="ch ch desOrSelf" ptType="node node node" st="1 4 1" cnt="1 1 0"/>
                                            <dgm:constrLst>
                                              <dgm:constr type="lMarg" refType="primFontSz" fact="0.3"/>
                                              <dgm:constr type="rMarg" refType="primFontSz" fact="0.3"/>
                                              <dgm:constr type="tMarg" refType="primFontSz" fact="0.3"/>
                                              <dgm:constr type="bMarg" refType="primFontSz" fact="0.3"/>
                                            </dgm:constrLst>
                                            <dgm:ruleLst>
                                              <dgm:rule type="primFontSz" val="5" fact="NaN" max="NaN"/>
                                            </dgm:ruleLst>
                                          </dgm:layoutNode>
                                          <dgm:layoutNode name="right_43_1" styleLbl="node1">
                                            <dgm:varLst>
                                              <dgm:bulletEnabled val="1"/>
                                            </dgm:varLst>
                                            <dgm:alg type="tx"/>
                                            <dgm:shape xmlns:r="http://schemas.openxmlformats.org/officeDocument/2006/relationships" rot="-4" type="roundRect" r:blip="">
                                              <dgm:adjLst/>
                                            </dgm:shape>
                                            <dgm:presOf axis="ch ch desOrSelf" ptType="node node node" st="2 1 1" cnt="1 1 0"/>
                                            <dgm:constrLst>
                                              <dgm:constr type="lMarg" refType="primFontSz" fact="0.3"/>
                                              <dgm:constr type="rMarg" refType="primFontSz" fact="0.3"/>
                                              <dgm:constr type="tMarg" refType="primFontSz" fact="0.3"/>
                                              <dgm:constr type="bMarg" refType="primFontSz" fact="0.3"/>
                                            </dgm:constrLst>
                                            <dgm:ruleLst>
                                              <dgm:rule type="primFontSz" val="5" fact="NaN" max="NaN"/>
                                            </dgm:ruleLst>
                                          </dgm:layoutNode>
                                          <dgm:layoutNode name="right_43_2" styleLbl="node1">
                                            <dgm:varLst>
                                              <dgm:bulletEnabled val="1"/>
                                            </dgm:varLst>
                                            <dgm:alg type="tx"/>
                                            <dgm:shape xmlns:r="http://schemas.openxmlformats.org/officeDocument/2006/relationships" rot="-4" type="roundRect" r:blip="">
                                              <dgm:adjLst/>
                                            </dgm:shape>
                                            <dgm:presOf axis="ch ch desOrSelf" ptType="node node node" st="2 2 1" cnt="1 1 0"/>
                                            <dgm:constrLst>
                                              <dgm:constr type="lMarg" refType="primFontSz" fact="0.3"/>
                                              <dgm:constr type="rMarg" refType="primFontSz" fact="0.3"/>
                                              <dgm:constr type="tMarg" refType="primFontSz" fact="0.3"/>
                                              <dgm:constr type="bMarg" refType="primFontSz" fact="0.3"/>
                                            </dgm:constrLst>
                                            <dgm:ruleLst>
                                              <dgm:rule type="primFontSz" val="5" fact="NaN" max="NaN"/>
                                            </dgm:ruleLst>
                                          </dgm:layoutNode>
                                          <dgm:layoutNode name="right_43_3" styleLbl="node1">
                                            <dgm:varLst>
                                              <dgm:bulletEnabled val="1"/>
                                            </dgm:varLst>
                                            <dgm:alg type="tx"/>
                                            <dgm:shape xmlns:r="http://schemas.openxmlformats.org/officeDocument/2006/relationships" rot="-4" type="roundRect" r:blip="">
                                              <dgm:adjLst/>
                                            </dgm:shape>
                                            <dgm:presOf axis="ch ch desOrSelf" ptType="node node node" st="2 3 1" cnt="1 1 0"/>
                                            <dgm:constrLst>
                                              <dgm:constr type="lMarg" refType="primFontSz" fact="0.3"/>
                                              <dgm:constr type="rMarg" refType="primFontSz" fact="0.3"/>
                                              <dgm:constr type="tMarg" refType="primFontSz" fact="0.3"/>
                                              <dgm:constr type="bMarg" refType="primFontSz" fact="0.3"/>
                                            </dgm:constrLst>
                                            <dgm:ruleLst>
                                              <dgm:rule type="primFontSz" val="5" fact="NaN" max="NaN"/>
                                            </dgm:ruleLst>
                                          </dgm:layoutNode>
                                        </dgm:if>
                                        <dgm:else name="Name85">
                                          <dgm:choose name="Name86">
                                            <dgm:if name="Name87" axis="ch ch" ptType="node node" st="2 1" cnt="1 0" func="cnt" op="gte" val="4">
                                              <dgm:layoutNode name="balance_44" styleLbl="alignAccFollowNode1">
                                                <dgm:varLst>
                                                  <dgm:bulletEnabled val="1"/>
                                                </dgm:varLst>
                                                <dgm:alg type="sp"/>
                                                <dgm:shape xmlns:r="http://schemas.openxmlformats.org/officeDocument/2006/relationships" type="rect" r:blip="">
                                                  <dgm:adjLst/>
                                                </dgm:shape>
                                                <dgm:presOf/>
                                                <dgm:constrLst/>
                                                <dgm:ruleLst/>
                                              </dgm:layoutNode>
                                              <dgm:layoutNode name="right_44_1" styleLbl="node1">
                                                <dgm:varLst>
                                                  <dgm:bulletEnabled val="1"/>
                                                </dgm:varLst>
                                                <dgm:alg type="tx"/>
                                                <dgm:shape xmlns:r="http://schemas.openxmlformats.org/officeDocument/2006/relationships" type="roundRect" r:blip="">
                                                  <dgm:adjLst/>
                                                </dgm:shape>
                                                <dgm:presOf axis="ch ch desOrSelf" ptType="node node node" st="2 1 1" cnt="1 1 0"/>
                                                <dgm:constrLst>
                                                  <dgm:constr type="lMarg" refType="primFontSz" fact="0.3"/>
                                                  <dgm:constr type="rMarg" refType="primFontSz" fact="0.3"/>
                                                  <dgm:constr type="tMarg" refType="primFontSz" fact="0.3"/>
                                                  <dgm:constr type="bMarg" refType="primFontSz" fact="0.3"/>
                                                </dgm:constrLst>
                                                <dgm:ruleLst>
                                                  <dgm:rule type="primFontSz" val="5" fact="NaN" max="NaN"/>
                                                </dgm:ruleLst>
                                              </dgm:layoutNode>
                                              <dgm:layoutNode name="right_44_2" styleLbl="node1">
                                                <dgm:varLst>
                                                  <dgm:bulletEnabled val="1"/>
                                                </dgm:varLst>
                                                <dgm:alg type="tx"/>
                                                <dgm:shape xmlns:r="http://schemas.openxmlformats.org/officeDocument/2006/relationships" type="roundRect" r:blip="">
                                                  <dgm:adjLst/>
                                                </dgm:shape>
                                                <dgm:presOf axis="ch ch desOrSelf" ptType="node node node" st="2 2 1" cnt="1 1 0"/>
                                                <dgm:constrLst>
                                                  <dgm:constr type="lMarg" refType="primFontSz" fact="0.3"/>
                                                  <dgm:constr type="rMarg" refType="primFontSz" fact="0.3"/>
                                                  <dgm:constr type="tMarg" refType="primFontSz" fact="0.3"/>
                                                  <dgm:constr type="bMarg" refType="primFontSz" fact="0.3"/>
                                                </dgm:constrLst>
                                                <dgm:ruleLst>
                                                  <dgm:rule type="primFontSz" val="5" fact="NaN" max="NaN"/>
                                                </dgm:ruleLst>
                                              </dgm:layoutNode>
                                              <dgm:layoutNode name="right_44_3" styleLbl="node1">
                                                <dgm:varLst>
                                                  <dgm:bulletEnabled val="1"/>
                                                </dgm:varLst>
                                                <dgm:alg type="tx"/>
                                                <dgm:shape xmlns:r="http://schemas.openxmlformats.org/officeDocument/2006/relationships" type="roundRect" r:blip="">
                                                  <dgm:adjLst/>
                                                </dgm:shape>
                                                <dgm:presOf axis="ch ch desOrSelf" ptType="node node node" st="2 3 1" cnt="1 1 0"/>
                                                <dgm:constrLst>
                                                  <dgm:constr type="lMarg" refType="primFontSz" fact="0.3"/>
                                                  <dgm:constr type="rMarg" refType="primFontSz" fact="0.3"/>
                                                  <dgm:constr type="tMarg" refType="primFontSz" fact="0.3"/>
                                                  <dgm:constr type="bMarg" refType="primFontSz" fact="0.3"/>
                                                </dgm:constrLst>
                                                <dgm:ruleLst>
                                                  <dgm:rule type="primFontSz" val="5" fact="NaN" max="NaN"/>
                                                </dgm:ruleLst>
                                              </dgm:layoutNode>
                                              <dgm:layoutNode name="right_44_4" styleLbl="node1">
                                                <dgm:varLst>
                                                  <dgm:bulletEnabled val="1"/>
                                                </dgm:varLst>
                                                <dgm:alg type="tx"/>
                                                <dgm:shape xmlns:r="http://schemas.openxmlformats.org/officeDocument/2006/relationships" type="roundRect" r:blip="">
                                                  <dgm:adjLst/>
                                                </dgm:shape>
                                                <dgm:presOf axis="ch ch desOrSelf" ptType="node node node" st="2 4 1" cnt="1 1 0"/>
                                                <dgm:constrLst>
                                                  <dgm:constr type="lMarg" refType="primFontSz" fact="0.3"/>
                                                  <dgm:constr type="rMarg" refType="primFontSz" fact="0.3"/>
                                                  <dgm:constr type="tMarg" refType="primFontSz" fact="0.3"/>
                                                  <dgm:constr type="bMarg" refType="primFontSz" fact="0.3"/>
                                                </dgm:constrLst>
                                                <dgm:ruleLst>
                                                  <dgm:rule type="primFontSz" val="5" fact="NaN" max="NaN"/>
                                                </dgm:ruleLst>
                                              </dgm:layoutNode>
                                              <dgm:layoutNode name="left_44_1" styleLbl="node1">
                                                <dgm:varLst>
                                                  <dgm:bulletEnabled val="1"/>
                                                </dgm:varLst>
                                                <dgm:alg type="tx"/>
                                                <dgm:shape xmlns:r="http://schemas.openxmlformats.org/officeDocument/2006/relationships" type="roundRect" r:blip="">
                                                  <dgm:adjLst/>
                                                </dgm:shape>
                                                <dgm:presOf axis="ch ch desOrSelf" ptType="node node node" st="1 1 1" cnt="1 1 0"/>
                                                <dgm:constrLst>
                                                  <dgm:constr type="lMarg" refType="primFontSz" fact="0.3"/>
                                                  <dgm:constr type="rMarg" refType="primFontSz" fact="0.3"/>
                                                  <dgm:constr type="tMarg" refType="primFontSz" fact="0.3"/>
                                                  <dgm:constr type="bMarg" refType="primFontSz" fact="0.3"/>
                                                </dgm:constrLst>
                                                <dgm:ruleLst>
                                                  <dgm:rule type="primFontSz" val="5" fact="NaN" max="NaN"/>
                                                </dgm:ruleLst>
                                              </dgm:layoutNode>
                                              <dgm:layoutNode name="left_44_2" styleLbl="node1">
                                                <dgm:varLst>
                                                  <dgm:bulletEnabled val="1"/>
                                                </dgm:varLst>
                                                <dgm:alg type="tx"/>
                                                <dgm:shape xmlns:r="http://schemas.openxmlformats.org/officeDocument/2006/relationships" type="roundRect" r:blip="">
                                                  <dgm:adjLst/>
                                                </dgm:shape>
                                                <dgm:presOf axis="ch ch desOrSelf" ptType="node node node" st="1 2 1" cnt="1 1 0"/>
                                                <dgm:constrLst>
                                                  <dgm:constr type="lMarg" refType="primFontSz" fact="0.3"/>
                                                  <dgm:constr type="rMarg" refType="primFontSz" fact="0.3"/>
                                                  <dgm:constr type="tMarg" refType="primFontSz" fact="0.3"/>
                                                  <dgm:constr type="bMarg" refType="primFontSz" fact="0.3"/>
                                                </dgm:constrLst>
                                                <dgm:ruleLst>
                                                  <dgm:rule type="primFontSz" val="5" fact="NaN" max="NaN"/>
                                                </dgm:ruleLst>
                                              </dgm:layoutNode>
                                              <dgm:layoutNode name="left_44_3" styleLbl="node1">
                                                <dgm:varLst>
                                                  <dgm:bulletEnabled val="1"/>
                                                </dgm:varLst>
                                                <dgm:alg type="tx"/>
                                                <dgm:shape xmlns:r="http://schemas.openxmlformats.org/officeDocument/2006/relationships" type="roundRect" r:blip="">
                                                  <dgm:adjLst/>
                                                </dgm:shape>
                                                <dgm:presOf axis="ch ch desOrSelf" ptType="node node node" st="1 3 1" cnt="1 1 0"/>
                                                <dgm:constrLst>
                                                  <dgm:constr type="lMarg" refType="primFontSz" fact="0.3"/>
                                                  <dgm:constr type="rMarg" refType="primFontSz" fact="0.3"/>
                                                  <dgm:constr type="tMarg" refType="primFontSz" fact="0.3"/>
                                                  <dgm:constr type="bMarg" refType="primFontSz" fact="0.3"/>
                                                </dgm:constrLst>
                                                <dgm:ruleLst>
                                                  <dgm:rule type="primFontSz" val="5" fact="NaN" max="NaN"/>
                                                </dgm:ruleLst>
                                              </dgm:layoutNode>
                                              <dgm:layoutNode name="left_44_4" styleLbl="node1">
                                                <dgm:varLst>
                                                  <dgm:bulletEnabled val="1"/>
                                                </dgm:varLst>
                                                <dgm:alg type="tx"/>
                                                <dgm:shape xmlns:r="http://schemas.openxmlformats.org/officeDocument/2006/relationships" type="roundRect" r:blip="">
                                                  <dgm:adjLst/>
                                                </dgm:shape>
                                                <dgm:presOf axis="ch ch desOrSelf" ptType="node node node" st="1 4 1" cnt="1 1 0"/>
                                                <dgm:constrLst>
                                                  <dgm:constr type="lMarg" refType="primFontSz" fact="0.3"/>
                                                  <dgm:constr type="rMarg" refType="primFontSz" fact="0.3"/>
                                                  <dgm:constr type="tMarg" refType="primFontSz" fact="0.3"/>
                                                  <dgm:constr type="bMarg" refType="primFontSz" fact="0.3"/>
                                                </dgm:constrLst>
                                                <dgm:ruleLst>
                                                  <dgm:rule type="primFontSz" val="5" fact="NaN" max="NaN"/>
                                                </dgm:ruleLst>
                                              </dgm:layoutNode>
                                            </dgm:if>
                                            <dgm:else name="Name88"/>
                                          </dgm:choose>
                                        </dgm:else>
                                      </dgm:choose>
                                    </dgm:else>
                                  </dgm:choose>
                                </dgm:else>
                              </dgm:choose>
                            </dgm:else>
                          </dgm:choose>
                        </dgm:if>
                        <dgm:else name="Name89"/>
                      </dgm:choose>
                    </dgm:else>
                  </dgm:choose>
                </dgm:else>
              </dgm:choose>
            </dgm:else>
          </dgm:choose>
        </dgm:else>
      </dgm:choose>
    </dgm:layoutNod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3d1">
  <dgm:title val=""/>
  <dgm:desc val=""/>
  <dgm:catLst>
    <dgm:cat type="3D" pri="111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flat" dir="t"/>
    </dgm:scene3d>
    <dgm:sp3d z="127000"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flat" dir="t"/>
    </dgm:scene3d>
    <dgm:sp3d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flat" dir="t"/>
    </dgm:scene3d>
    <dgm:sp3d z="-190500"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flat" dir="t"/>
    </dgm:scene3d>
    <dgm:sp3d z="-800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flat" dir="t"/>
    </dgm:scene3d>
    <dgm:sp3d z="1270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flat" dir="t"/>
    </dgm:scene3d>
    <dgm:sp3d z="-1905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flat" dir="t"/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flat" dir="t"/>
    </dgm:scene3d>
    <dgm:sp3d z="-10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BgAcc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FollowNode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flat" dir="t"/>
    </dgm:scene3d>
    <dgm:sp3d z="-190500" extrusionH="127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z="190500" prstMaterial="plastic">
      <a:bevelT w="120900" h="88900"/>
      <a:bevelB w="88900" h="31750" prst="angle"/>
    </dgm:sp3d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2" Type="http://schemas.openxmlformats.org/officeDocument/2006/relationships/tags" Target="../tags/tag14.xml"/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072AED67-B882-41D2-9A57-F15DE83017ED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>
              <a:latin typeface="Arial" panose="020B0604020202020204" pitchFamily="34" charset="0"/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5EDA96D-76D1-4D52-9166-A83ED455DC55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EF8A27C-F1B0-41BE-A5CB-55208EC34DA5}" type="datetimeFigureOut">
              <a:rPr lang="en-US" smtClean="0">
                <a:latin typeface="Arial" panose="020B0604020202020204" pitchFamily="34" charset="0"/>
              </a:rPr>
              <a:t>5/26/2026</a:t>
            </a:fld>
            <a:endParaRPr lang="en-US">
              <a:latin typeface="Arial" panose="020B0604020202020204" pitchFamily="34" charset="0"/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7D9EF36-7E1E-4FF0-A307-30DCF2E4ABAF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>
              <a:latin typeface="Arial" panose="020B0604020202020204" pitchFamily="34" charset="0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2FE8CD0-EC3E-4E33-8E68-0983AD89EC3D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9F02231-D4CD-44C5-97BE-9A7953C23CD1}" type="slidenum">
              <a:rPr lang="en-US" smtClean="0">
                <a:latin typeface="Arial" panose="020B0604020202020204" pitchFamily="34" charset="0"/>
              </a:rPr>
              <a:t>‹#›</a:t>
            </a:fld>
            <a:endParaRPr lang="en-US">
              <a:latin typeface="Arial" panose="020B0604020202020204" pitchFamily="34" charset="0"/>
            </a:endParaRP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17112876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D3AC5A11-1A99-4BC5-A093-F2C49C523275}" type="datetimeFigureOut">
              <a:rPr lang="en-US" smtClean="0"/>
              <a:pPr/>
              <a:t>5/26/2026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6CE47D56-1D0B-476D-B731-90CE402AB5C6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381741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0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4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2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8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3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9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5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8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1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2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5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5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3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5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6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Z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CE47D56-1D0B-476D-B731-90CE402AB5C6}" type="slidenum">
              <a:rPr lang="en-US" smtClean="0"/>
              <a:pPr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57001098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26F0695-06CE-186D-C5CB-DC93F95C0A2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A85437E0-53AC-59A5-F1A7-C5AB5E635A5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500B5F8F-9ED6-709E-1957-E1A5C6D5759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7A57223-A1ED-669C-8572-5BCC0FF6317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7021451-1387-4CA6-816F-3879F97B5CBC}" type="slidenum">
              <a:rPr lang="en-US"/>
              <a:t>3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20353744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AED4EE3-05D9-6F0E-F5C1-0E58C9D5F21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00B0D784-2CD2-C0C5-8755-AF1B63BF20B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E4891C60-436E-A6FB-7135-EC9E166A994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DB7F1E9-48EA-70EB-00D4-0BEF325BA070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7021451-1387-4CA6-816F-3879F97B5CBC}" type="slidenum">
              <a:rPr lang="en-US"/>
              <a:t>5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03578344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7021451-1387-4CA6-816F-3879F97B5CBC}" type="slidenum"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4</a:t>
            </a:fld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24086991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7021451-1387-4CA6-816F-3879F97B5CBC}" type="slidenum">
              <a:rPr lang="en-US"/>
              <a:t>10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24086991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7021451-1387-4CA6-816F-3879F97B5CBC}" type="slidenum">
              <a:rPr lang="en-US"/>
              <a:t>1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24086991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A13317D-9B52-C837-8E37-9FE24EC8E66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9589813F-33C9-55CA-59BB-8130B9E60CC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FAC9D95A-6A3E-4F7C-EA72-82494A49DCD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63DB4E9-32C5-7A31-28C7-D35B713152FC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7021451-1387-4CA6-816F-3879F97B5CBC}" type="slidenum">
              <a:rPr lang="en-US"/>
              <a:t>1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68600356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Z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CE47D56-1D0B-476D-B731-90CE402AB5C6}" type="slidenum">
              <a:rPr lang="en-US" smtClean="0"/>
              <a:pPr/>
              <a:t>1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88404978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7021451-1387-4CA6-816F-3879F97B5CBC}" type="slidenum"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7</a:t>
            </a:fld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24086991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Z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CE47D56-1D0B-476D-B731-90CE402AB5C6}" type="slidenum">
              <a:rPr lang="en-US" smtClean="0"/>
              <a:pPr/>
              <a:t>12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29067405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A553D4A-9253-11A4-29FF-02213565C91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7E73114-5877-A4A6-9297-1B8B7464AB2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6256147D-663B-31E8-4E83-A3E32CC75D6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9EEC17A-9F37-885D-4730-D27DB51AAE0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7021451-1387-4CA6-816F-3879F97B5CBC}" type="slidenum">
              <a:rPr lang="en-US"/>
              <a:t>13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475469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7021451-1387-4CA6-816F-3879F97B5CBC}" type="slidenum">
              <a:rPr lang="en-US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24086991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3B3D319-08DB-7B45-EE8F-7900B4DEDB2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4246AAF1-1611-EE35-544A-CABFBE26805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266ED0A4-42DD-2488-0BC1-AE339671FF5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D7A9E17-BE01-F2EE-DFF8-B9B3EABBF96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7021451-1387-4CA6-816F-3879F97B5CBC}" type="slidenum">
              <a:rPr lang="en-US"/>
              <a:t>13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76101537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BCAEC76-CCA1-FC79-F8BC-2009D9C25BD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1BC3CCB0-30FC-3D71-AA30-ACB6FE888D9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57427DFF-5C05-38FF-704C-2475A2A4E96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D035FCA-F8EB-72CA-95C1-616DF4B860D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7021451-1387-4CA6-816F-3879F97B5CBC}" type="slidenum">
              <a:rPr lang="en-US"/>
              <a:t>13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38030024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B2CEC0E-857B-0EEA-ED72-2B86F76319C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5BC1675C-B45D-7C0E-DE25-424EF9F6E94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4677AF46-FC63-3624-5281-5D99DC888CE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765D580-0860-DDB9-99B3-C8CF3259FCC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7021451-1387-4CA6-816F-3879F97B5CBC}" type="slidenum">
              <a:rPr lang="en-US"/>
              <a:t>14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21781260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7021451-1387-4CA6-816F-3879F97B5CBC}" type="slidenum"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2</a:t>
            </a:fld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24086991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4199F61-70DF-677D-0AC8-39853C30F4B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32220C33-F488-A7B1-0E60-1285648B695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690AD45A-3242-3FDA-153F-680B9A44E58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7A51871-2D89-1657-E0C8-A919ED77D92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7021451-1387-4CA6-816F-3879F97B5CBC}" type="slidenum">
              <a:rPr lang="en-US"/>
              <a:t>14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0894869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7021451-1387-4CA6-816F-3879F97B5CBC}" type="slidenum">
              <a:rPr lang="en-US"/>
              <a:t>16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24086991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7021451-1387-4CA6-816F-3879F97B5CBC}" type="slidenum">
              <a:rPr lang="en-US"/>
              <a:t>18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24086991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57D841E-9543-8E98-1A08-A64817DB750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15841F56-3290-3831-91F4-D1F583E041D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C7ADFBC3-621B-6692-D5AF-CEA1398CED0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Z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C63685C-A0BF-6972-EEB7-E962470EDC8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CE47D56-1D0B-476D-B731-90CE402AB5C6}" type="slidenum">
              <a:rPr lang="en-US" smtClean="0"/>
              <a:pPr/>
              <a:t>18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39349078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AD4501F-2FEB-3E7E-7373-D64CDFC9CFE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1A319CA1-01C6-B575-1187-DE656170DD7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2C14D7A9-EF37-BC60-526F-81B6A122703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8F5DEE8-8428-48C9-747C-88C0CF996CF0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7021451-1387-4CA6-816F-3879F97B5CBC}" type="slidenum">
              <a:rPr lang="en-US"/>
              <a:t>18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36482277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Z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CE47D56-1D0B-476D-B731-90CE402AB5C6}" type="slidenum">
              <a:rPr lang="en-US" smtClean="0"/>
              <a:pPr/>
              <a:t>18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3333425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Z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CE47D56-1D0B-476D-B731-90CE402AB5C6}" type="slidenum">
              <a:rPr lang="en-US" smtClean="0"/>
              <a:pPr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7751536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Z"/>
              <a:t>Keep the green part </a:t>
            </a:r>
            <a:br>
              <a:rPr lang="en-UZ"/>
            </a:br>
            <a:r>
              <a:rPr lang="en-UZ"/>
              <a:t>Remove Task A </a:t>
            </a:r>
          </a:p>
          <a:p>
            <a:r>
              <a:rPr lang="en-UZ"/>
              <a:t>Increase font siz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CE47D56-1D0B-476D-B731-90CE402AB5C6}" type="slidenum">
              <a:rPr lang="en-US" smtClean="0"/>
              <a:pPr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760350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7AB8AF5-982D-BEAE-5BF1-E1316629CC4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4915BC98-44B6-AD76-95FF-394CA00BBF2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F8D8B34A-243F-5E7F-AEED-0B956B75551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Z"/>
              <a:t>Keep the green part </a:t>
            </a:r>
            <a:br>
              <a:rPr lang="en-UZ"/>
            </a:br>
            <a:r>
              <a:rPr lang="en-UZ"/>
              <a:t>Remove Task A </a:t>
            </a:r>
          </a:p>
          <a:p>
            <a:r>
              <a:rPr lang="en-UZ"/>
              <a:t>Increase font siz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64A2DC1-CEEC-0981-0BA5-3875CAB54D98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CE47D56-1D0B-476D-B731-90CE402AB5C6}" type="slidenum">
              <a:rPr lang="en-US" smtClean="0"/>
              <a:pPr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4564468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Z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CE47D56-1D0B-476D-B731-90CE402AB5C6}" type="slidenum">
              <a:rPr lang="en-US" smtClean="0"/>
              <a:pPr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2760627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Z"/>
              <a:t>Add a QR-code on the right hand side.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CE47D56-1D0B-476D-B731-90CE402AB5C6}" type="slidenum">
              <a:rPr lang="en-US" smtClean="0"/>
              <a:pPr/>
              <a:t>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5658103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37F7BD7-5EC1-E765-8E40-3ABC0466BAB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3343A5CE-28BF-1E17-5253-07E835E3646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AD7CDDEB-7563-9C41-E113-25A7D0CB27A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B6BDC26-9B09-6415-7E2D-45E868A3E76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7021451-1387-4CA6-816F-3879F97B5CBC}" type="slidenum">
              <a:rPr lang="en-US"/>
              <a:t>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809780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Change the colors in the Axis </a:t>
            </a:r>
            <a:endParaRPr lang="en-UZ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CE47D56-1D0B-476D-B731-90CE402AB5C6}" type="slidenum">
              <a:rPr lang="en-US" smtClean="0"/>
              <a:pPr/>
              <a:t>2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8894077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2.bin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8.png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8.png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3.jpg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.svg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4.png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.bin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2.bin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.bin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6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13.xml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8.png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8.png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8.png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8.png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8.png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Picture Placeholder 39">
            <a:extLst>
              <a:ext uri="{FF2B5EF4-FFF2-40B4-BE49-F238E27FC236}">
                <a16:creationId xmlns:a16="http://schemas.microsoft.com/office/drawing/2014/main" id="{007926FA-F693-3EDC-38EE-91D43A83D4BE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0"/>
            <a:ext cx="7370656" cy="6858000"/>
          </a:xfrm>
          <a:custGeom>
            <a:avLst/>
            <a:gdLst>
              <a:gd name="connsiteX0" fmla="*/ 5928929 w 7370656"/>
              <a:gd name="connsiteY0" fmla="*/ 0 h 6858000"/>
              <a:gd name="connsiteX1" fmla="*/ 7370656 w 7370656"/>
              <a:gd name="connsiteY1" fmla="*/ 0 h 6858000"/>
              <a:gd name="connsiteX2" fmla="*/ 7370656 w 7370656"/>
              <a:gd name="connsiteY2" fmla="*/ 2905561 h 6858000"/>
              <a:gd name="connsiteX3" fmla="*/ 6834860 w 7370656"/>
              <a:gd name="connsiteY3" fmla="*/ 4163505 h 6858000"/>
              <a:gd name="connsiteX4" fmla="*/ 4030627 w 7370656"/>
              <a:gd name="connsiteY4" fmla="*/ 6858000 h 6858000"/>
              <a:gd name="connsiteX5" fmla="*/ 0 w 7370656"/>
              <a:gd name="connsiteY5" fmla="*/ 6858000 h 6858000"/>
              <a:gd name="connsiteX6" fmla="*/ 0 w 7370656"/>
              <a:gd name="connsiteY6" fmla="*/ 5726910 h 6858000"/>
              <a:gd name="connsiteX7" fmla="*/ 105302 w 7370656"/>
              <a:gd name="connsiteY7" fmla="*/ 5610822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370656" h="6858000">
                <a:moveTo>
                  <a:pt x="5928929" y="0"/>
                </a:moveTo>
                <a:lnTo>
                  <a:pt x="7370656" y="0"/>
                </a:lnTo>
                <a:lnTo>
                  <a:pt x="7370656" y="2905561"/>
                </a:lnTo>
                <a:cubicBezTo>
                  <a:pt x="7370656" y="3316129"/>
                  <a:pt x="7130780" y="3879189"/>
                  <a:pt x="6834860" y="4163505"/>
                </a:cubicBezTo>
                <a:lnTo>
                  <a:pt x="4030627" y="6858000"/>
                </a:lnTo>
                <a:lnTo>
                  <a:pt x="0" y="6858000"/>
                </a:lnTo>
                <a:lnTo>
                  <a:pt x="0" y="5726910"/>
                </a:lnTo>
                <a:lnTo>
                  <a:pt x="105302" y="5610822"/>
                </a:lnTo>
                <a:close/>
              </a:path>
            </a:pathLst>
          </a:custGeom>
          <a:solidFill>
            <a:schemeClr val="bg2">
              <a:lumMod val="75000"/>
            </a:schemeClr>
          </a:solidFill>
        </p:spPr>
        <p:txBody>
          <a:bodyPr wrap="square" anchor="ctr">
            <a:noAutofit/>
          </a:bodyPr>
          <a:lstStyle>
            <a:lvl1pPr algn="ctr">
              <a:defRPr sz="1100" b="0">
                <a:solidFill>
                  <a:schemeClr val="tx1"/>
                </a:solidFill>
              </a:defRPr>
            </a:lvl1pPr>
          </a:lstStyle>
          <a:p>
            <a:endParaRPr lang="en-GB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9BAE3441-4B8F-388F-1334-FA8345D509B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248128" y="2708920"/>
            <a:ext cx="4319985" cy="2441159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C4FD3E1C-850C-C02D-1DB8-89F0D37B108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495870" y="251460"/>
            <a:ext cx="1283569" cy="1038860"/>
          </a:xfrm>
          <a:prstGeom prst="rect">
            <a:avLst/>
          </a:prstGeom>
        </p:spPr>
      </p:pic>
      <p:pic>
        <p:nvPicPr>
          <p:cNvPr id="8" name="Graphic 7">
            <a:extLst>
              <a:ext uri="{FF2B5EF4-FFF2-40B4-BE49-F238E27FC236}">
                <a16:creationId xmlns:a16="http://schemas.microsoft.com/office/drawing/2014/main" id="{D83698D8-7C67-8F6E-EA48-ECE24E092CC2}"/>
              </a:ext>
            </a:extLst>
          </p:cNvPr>
          <p:cNvPicPr>
            <a:picLocks noChangeAspect="1"/>
          </p:cNvPicPr>
          <p:nvPr userDrawn="1"/>
        </p:nvPicPr>
        <p:blipFill>
          <a:blip cstate="hq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627202" y="334561"/>
            <a:ext cx="1667613" cy="1007898"/>
          </a:xfrm>
          <a:prstGeom prst="rect">
            <a:avLst/>
          </a:prstGeom>
        </p:spPr>
      </p:pic>
      <p:sp>
        <p:nvSpPr>
          <p:cNvPr id="42" name="Picture Placeholder 41">
            <a:extLst>
              <a:ext uri="{FF2B5EF4-FFF2-40B4-BE49-F238E27FC236}">
                <a16:creationId xmlns:a16="http://schemas.microsoft.com/office/drawing/2014/main" id="{9EADD5B2-CDC8-B9EB-21CC-54B8A6A4677D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38050" y="1645943"/>
            <a:ext cx="2055374" cy="3678282"/>
          </a:xfrm>
          <a:custGeom>
            <a:avLst/>
            <a:gdLst>
              <a:gd name="connsiteX0" fmla="*/ 1969581 w 2055374"/>
              <a:gd name="connsiteY0" fmla="*/ 26 h 3678282"/>
              <a:gd name="connsiteX1" fmla="*/ 2055374 w 2055374"/>
              <a:gd name="connsiteY1" fmla="*/ 141471 h 3678282"/>
              <a:gd name="connsiteX2" fmla="*/ 2055374 w 2055374"/>
              <a:gd name="connsiteY2" fmla="*/ 1433058 h 3678282"/>
              <a:gd name="connsiteX3" fmla="*/ 1860498 w 2055374"/>
              <a:gd name="connsiteY3" fmla="*/ 1890589 h 3678282"/>
              <a:gd name="connsiteX4" fmla="*/ 0 w 2055374"/>
              <a:gd name="connsiteY4" fmla="*/ 3678282 h 3678282"/>
              <a:gd name="connsiteX5" fmla="*/ 2142 w 2055374"/>
              <a:gd name="connsiteY5" fmla="*/ 3675624 h 3678282"/>
              <a:gd name="connsiteX6" fmla="*/ 151352 w 2055374"/>
              <a:gd name="connsiteY6" fmla="*/ 3220026 h 3678282"/>
              <a:gd name="connsiteX7" fmla="*/ 151352 w 2055374"/>
              <a:gd name="connsiteY7" fmla="*/ 1705498 h 3678282"/>
              <a:gd name="connsiteX8" fmla="*/ 1860680 w 2055374"/>
              <a:gd name="connsiteY8" fmla="*/ 58631 h 3678282"/>
              <a:gd name="connsiteX9" fmla="*/ 1969581 w 2055374"/>
              <a:gd name="connsiteY9" fmla="*/ 26 h 36782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055374" h="3678282">
                <a:moveTo>
                  <a:pt x="1969581" y="26"/>
                </a:moveTo>
                <a:cubicBezTo>
                  <a:pt x="2021365" y="-1279"/>
                  <a:pt x="2055374" y="48140"/>
                  <a:pt x="2055374" y="141471"/>
                </a:cubicBezTo>
                <a:lnTo>
                  <a:pt x="2055374" y="1433058"/>
                </a:lnTo>
                <a:cubicBezTo>
                  <a:pt x="2055374" y="1582387"/>
                  <a:pt x="1968128" y="1787180"/>
                  <a:pt x="1860498" y="1890589"/>
                </a:cubicBezTo>
                <a:lnTo>
                  <a:pt x="0" y="3678282"/>
                </a:lnTo>
                <a:lnTo>
                  <a:pt x="2142" y="3675624"/>
                </a:lnTo>
                <a:cubicBezTo>
                  <a:pt x="89828" y="3539948"/>
                  <a:pt x="151352" y="3360432"/>
                  <a:pt x="151352" y="3220026"/>
                </a:cubicBezTo>
                <a:lnTo>
                  <a:pt x="151352" y="1705498"/>
                </a:lnTo>
                <a:lnTo>
                  <a:pt x="1860680" y="58631"/>
                </a:lnTo>
                <a:cubicBezTo>
                  <a:pt x="1901042" y="19854"/>
                  <a:pt x="1938511" y="810"/>
                  <a:pt x="1969581" y="26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algn="ctr">
              <a:defRPr sz="1100" b="0">
                <a:solidFill>
                  <a:schemeClr val="tx1"/>
                </a:solidFill>
              </a:defRPr>
            </a:lvl1pPr>
          </a:lstStyle>
          <a:p>
            <a:endParaRPr lang="en-GB"/>
          </a:p>
        </p:txBody>
      </p:sp>
      <p:sp>
        <p:nvSpPr>
          <p:cNvPr id="31" name="Picture Placeholder 30">
            <a:extLst>
              <a:ext uri="{FF2B5EF4-FFF2-40B4-BE49-F238E27FC236}">
                <a16:creationId xmlns:a16="http://schemas.microsoft.com/office/drawing/2014/main" id="{FD3E7CB8-8A21-265D-41A2-D3D9ED5483F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037796" y="222434"/>
            <a:ext cx="2368832" cy="3588836"/>
          </a:xfrm>
          <a:custGeom>
            <a:avLst/>
            <a:gdLst>
              <a:gd name="connsiteX0" fmla="*/ 2297359 w 2368832"/>
              <a:gd name="connsiteY0" fmla="*/ 22 h 3588836"/>
              <a:gd name="connsiteX1" fmla="*/ 2368832 w 2368832"/>
              <a:gd name="connsiteY1" fmla="*/ 117857 h 3588836"/>
              <a:gd name="connsiteX2" fmla="*/ 2368832 w 2368832"/>
              <a:gd name="connsiteY2" fmla="*/ 1193858 h 3588836"/>
              <a:gd name="connsiteX3" fmla="*/ 2206483 w 2368832"/>
              <a:gd name="connsiteY3" fmla="*/ 1575021 h 3588836"/>
              <a:gd name="connsiteX4" fmla="*/ 161433 w 2368832"/>
              <a:gd name="connsiteY4" fmla="*/ 3540043 h 3588836"/>
              <a:gd name="connsiteX5" fmla="*/ 3 w 2368832"/>
              <a:gd name="connsiteY5" fmla="*/ 3470879 h 3588836"/>
              <a:gd name="connsiteX6" fmla="*/ 4289 w 2368832"/>
              <a:gd name="connsiteY6" fmla="*/ 2394875 h 3588836"/>
              <a:gd name="connsiteX7" fmla="*/ 167400 w 2368832"/>
              <a:gd name="connsiteY7" fmla="*/ 2013564 h 3588836"/>
              <a:gd name="connsiteX8" fmla="*/ 2206635 w 2368832"/>
              <a:gd name="connsiteY8" fmla="*/ 48845 h 3588836"/>
              <a:gd name="connsiteX9" fmla="*/ 2297359 w 2368832"/>
              <a:gd name="connsiteY9" fmla="*/ 22 h 35888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368832" h="3588836">
                <a:moveTo>
                  <a:pt x="2297359" y="22"/>
                </a:moveTo>
                <a:cubicBezTo>
                  <a:pt x="2340499" y="-1066"/>
                  <a:pt x="2368832" y="40105"/>
                  <a:pt x="2368832" y="117857"/>
                </a:cubicBezTo>
                <a:lnTo>
                  <a:pt x="2368832" y="1193858"/>
                </a:lnTo>
                <a:cubicBezTo>
                  <a:pt x="2368832" y="1318262"/>
                  <a:pt x="2296148" y="1488872"/>
                  <a:pt x="2206483" y="1575021"/>
                </a:cubicBezTo>
                <a:lnTo>
                  <a:pt x="161433" y="3540043"/>
                </a:lnTo>
                <a:cubicBezTo>
                  <a:pt x="71768" y="3626189"/>
                  <a:pt x="-456" y="3595279"/>
                  <a:pt x="3" y="3470879"/>
                </a:cubicBezTo>
                <a:lnTo>
                  <a:pt x="4289" y="2394875"/>
                </a:lnTo>
                <a:cubicBezTo>
                  <a:pt x="4289" y="2270474"/>
                  <a:pt x="77887" y="2099861"/>
                  <a:pt x="167400" y="2013564"/>
                </a:cubicBezTo>
                <a:lnTo>
                  <a:pt x="2206635" y="48845"/>
                </a:lnTo>
                <a:cubicBezTo>
                  <a:pt x="2240260" y="16540"/>
                  <a:pt x="2271475" y="675"/>
                  <a:pt x="2297359" y="22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algn="ctr">
              <a:defRPr sz="1100" b="0">
                <a:solidFill>
                  <a:schemeClr val="tx1"/>
                </a:solidFill>
              </a:defRPr>
            </a:lvl1pPr>
          </a:lstStyle>
          <a:p>
            <a:endParaRPr lang="en-GB"/>
          </a:p>
        </p:txBody>
      </p:sp>
      <p:sp>
        <p:nvSpPr>
          <p:cNvPr id="34" name="Picture Placeholder 33">
            <a:extLst>
              <a:ext uri="{FF2B5EF4-FFF2-40B4-BE49-F238E27FC236}">
                <a16:creationId xmlns:a16="http://schemas.microsoft.com/office/drawing/2014/main" id="{96FBAB1F-A836-3B29-E4DD-7F89297F3B8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958216" y="1160138"/>
            <a:ext cx="3429951" cy="5196454"/>
          </a:xfrm>
          <a:custGeom>
            <a:avLst/>
            <a:gdLst>
              <a:gd name="connsiteX0" fmla="*/ 3326462 w 3429951"/>
              <a:gd name="connsiteY0" fmla="*/ 31 h 5196454"/>
              <a:gd name="connsiteX1" fmla="*/ 3429951 w 3429951"/>
              <a:gd name="connsiteY1" fmla="*/ 170650 h 5196454"/>
              <a:gd name="connsiteX2" fmla="*/ 3429951 w 3429951"/>
              <a:gd name="connsiteY2" fmla="*/ 1728646 h 5196454"/>
              <a:gd name="connsiteX3" fmla="*/ 3194878 w 3429951"/>
              <a:gd name="connsiteY3" fmla="*/ 2280550 h 5196454"/>
              <a:gd name="connsiteX4" fmla="*/ 233746 w 3429951"/>
              <a:gd name="connsiteY4" fmla="*/ 5125804 h 5196454"/>
              <a:gd name="connsiteX5" fmla="*/ 4 w 3429951"/>
              <a:gd name="connsiteY5" fmla="*/ 5025658 h 5196454"/>
              <a:gd name="connsiteX6" fmla="*/ 6209 w 3429951"/>
              <a:gd name="connsiteY6" fmla="*/ 3467657 h 5196454"/>
              <a:gd name="connsiteX7" fmla="*/ 242387 w 3429951"/>
              <a:gd name="connsiteY7" fmla="*/ 2915538 h 5196454"/>
              <a:gd name="connsiteX8" fmla="*/ 3195099 w 3429951"/>
              <a:gd name="connsiteY8" fmla="*/ 70724 h 5196454"/>
              <a:gd name="connsiteX9" fmla="*/ 3326462 w 3429951"/>
              <a:gd name="connsiteY9" fmla="*/ 31 h 51964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429951" h="5196454">
                <a:moveTo>
                  <a:pt x="3326462" y="31"/>
                </a:moveTo>
                <a:cubicBezTo>
                  <a:pt x="3388927" y="-1544"/>
                  <a:pt x="3429951" y="58068"/>
                  <a:pt x="3429951" y="170650"/>
                </a:cubicBezTo>
                <a:lnTo>
                  <a:pt x="3429951" y="1728646"/>
                </a:lnTo>
                <a:cubicBezTo>
                  <a:pt x="3429951" y="1908777"/>
                  <a:pt x="3324709" y="2155810"/>
                  <a:pt x="3194878" y="2280550"/>
                </a:cubicBezTo>
                <a:lnTo>
                  <a:pt x="233746" y="5125804"/>
                </a:lnTo>
                <a:cubicBezTo>
                  <a:pt x="103916" y="5250539"/>
                  <a:pt x="-661" y="5205784"/>
                  <a:pt x="4" y="5025658"/>
                </a:cubicBezTo>
                <a:lnTo>
                  <a:pt x="6209" y="3467657"/>
                </a:lnTo>
                <a:cubicBezTo>
                  <a:pt x="6209" y="3287531"/>
                  <a:pt x="112777" y="3040493"/>
                  <a:pt x="242387" y="2915538"/>
                </a:cubicBezTo>
                <a:lnTo>
                  <a:pt x="3195099" y="70724"/>
                </a:lnTo>
                <a:cubicBezTo>
                  <a:pt x="3243785" y="23948"/>
                  <a:pt x="3288983" y="976"/>
                  <a:pt x="3326462" y="31"/>
                </a:cubicBezTo>
                <a:close/>
              </a:path>
            </a:pathLst>
          </a:custGeom>
          <a:solidFill>
            <a:schemeClr val="bg2">
              <a:lumMod val="90000"/>
            </a:schemeClr>
          </a:solidFill>
        </p:spPr>
        <p:txBody>
          <a:bodyPr wrap="square" anchor="ctr">
            <a:noAutofit/>
          </a:bodyPr>
          <a:lstStyle>
            <a:lvl1pPr algn="ctr">
              <a:defRPr sz="1100" b="0">
                <a:solidFill>
                  <a:schemeClr val="tx1"/>
                </a:solidFill>
              </a:defRPr>
            </a:lvl1pPr>
          </a:lstStyle>
          <a:p>
            <a:endParaRPr lang="en-GB"/>
          </a:p>
        </p:txBody>
      </p:sp>
      <p:sp>
        <p:nvSpPr>
          <p:cNvPr id="18" name="Freeform: Shape 17">
            <a:extLst>
              <a:ext uri="{FF2B5EF4-FFF2-40B4-BE49-F238E27FC236}">
                <a16:creationId xmlns:a16="http://schemas.microsoft.com/office/drawing/2014/main" id="{03835834-19A1-FEEB-9B2F-2793DE60A23C}"/>
              </a:ext>
            </a:extLst>
          </p:cNvPr>
          <p:cNvSpPr/>
          <p:nvPr userDrawn="1"/>
        </p:nvSpPr>
        <p:spPr>
          <a:xfrm>
            <a:off x="0" y="3069411"/>
            <a:ext cx="589402" cy="2701735"/>
          </a:xfrm>
          <a:custGeom>
            <a:avLst/>
            <a:gdLst>
              <a:gd name="connsiteX0" fmla="*/ 481847 w 589402"/>
              <a:gd name="connsiteY0" fmla="*/ 32 h 2701735"/>
              <a:gd name="connsiteX1" fmla="*/ 589402 w 589402"/>
              <a:gd name="connsiteY1" fmla="*/ 177354 h 2701735"/>
              <a:gd name="connsiteX2" fmla="*/ 589402 w 589402"/>
              <a:gd name="connsiteY2" fmla="*/ 1796558 h 2701735"/>
              <a:gd name="connsiteX3" fmla="*/ 345095 w 589402"/>
              <a:gd name="connsiteY3" fmla="*/ 2370144 h 2701735"/>
              <a:gd name="connsiteX4" fmla="*/ 0 w 589402"/>
              <a:gd name="connsiteY4" fmla="*/ 2701735 h 2701735"/>
              <a:gd name="connsiteX5" fmla="*/ 0 w 589402"/>
              <a:gd name="connsiteY5" fmla="*/ 406207 h 2701735"/>
              <a:gd name="connsiteX6" fmla="*/ 345324 w 589402"/>
              <a:gd name="connsiteY6" fmla="*/ 73502 h 2701735"/>
              <a:gd name="connsiteX7" fmla="*/ 481847 w 589402"/>
              <a:gd name="connsiteY7" fmla="*/ 32 h 27017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89402" h="2701735">
                <a:moveTo>
                  <a:pt x="481847" y="32"/>
                </a:moveTo>
                <a:cubicBezTo>
                  <a:pt x="546766" y="-1605"/>
                  <a:pt x="589402" y="60350"/>
                  <a:pt x="589402" y="177354"/>
                </a:cubicBezTo>
                <a:lnTo>
                  <a:pt x="589402" y="1796558"/>
                </a:lnTo>
                <a:cubicBezTo>
                  <a:pt x="589402" y="1983765"/>
                  <a:pt x="480026" y="2240504"/>
                  <a:pt x="345095" y="2370144"/>
                </a:cubicBezTo>
                <a:lnTo>
                  <a:pt x="0" y="2701735"/>
                </a:lnTo>
                <a:lnTo>
                  <a:pt x="0" y="406207"/>
                </a:lnTo>
                <a:lnTo>
                  <a:pt x="345324" y="73502"/>
                </a:lnTo>
                <a:cubicBezTo>
                  <a:pt x="395923" y="24889"/>
                  <a:pt x="442896" y="1014"/>
                  <a:pt x="481847" y="32"/>
                </a:cubicBezTo>
                <a:close/>
              </a:path>
            </a:pathLst>
          </a:custGeom>
          <a:solidFill>
            <a:srgbClr val="750D68"/>
          </a:solidFill>
          <a:ln w="4630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GB"/>
          </a:p>
        </p:txBody>
      </p:sp>
      <p:sp>
        <p:nvSpPr>
          <p:cNvPr id="127" name="Title 1">
            <a:extLst>
              <a:ext uri="{FF2B5EF4-FFF2-40B4-BE49-F238E27FC236}">
                <a16:creationId xmlns:a16="http://schemas.microsoft.com/office/drawing/2014/main" id="{4B5A252A-022F-6475-E63C-40D636079D6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248128" y="5350924"/>
            <a:ext cx="4319985" cy="395035"/>
          </a:xfrm>
        </p:spPr>
        <p:txBody>
          <a:bodyPr tIns="0" rIns="0" bIns="0">
            <a:normAutofit/>
          </a:bodyPr>
          <a:lstStyle>
            <a:lvl1pPr>
              <a:defRPr sz="1600" b="0"/>
            </a:lvl1pPr>
          </a:lstStyle>
          <a:p>
            <a:r>
              <a:rPr lang="en-GB"/>
              <a:t>This project is financed by the European Union</a:t>
            </a:r>
          </a:p>
        </p:txBody>
      </p:sp>
      <p:sp>
        <p:nvSpPr>
          <p:cNvPr id="130" name="Text Placeholder 129">
            <a:extLst>
              <a:ext uri="{FF2B5EF4-FFF2-40B4-BE49-F238E27FC236}">
                <a16:creationId xmlns:a16="http://schemas.microsoft.com/office/drawing/2014/main" id="{4CA45CA3-A343-CBEE-CC63-3B6DBA7621E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071665" y="3929918"/>
            <a:ext cx="3168183" cy="2928082"/>
          </a:xfrm>
          <a:custGeom>
            <a:avLst/>
            <a:gdLst>
              <a:gd name="connsiteX0" fmla="*/ 99941 w 3168183"/>
              <a:gd name="connsiteY0" fmla="*/ 30 h 2928082"/>
              <a:gd name="connsiteX1" fmla="*/ 226801 w 3168183"/>
              <a:gd name="connsiteY1" fmla="*/ 68299 h 2928082"/>
              <a:gd name="connsiteX2" fmla="*/ 3078293 w 3168183"/>
              <a:gd name="connsiteY2" fmla="*/ 2815594 h 2928082"/>
              <a:gd name="connsiteX3" fmla="*/ 3166736 w 3168183"/>
              <a:gd name="connsiteY3" fmla="*/ 2925352 h 2928082"/>
              <a:gd name="connsiteX4" fmla="*/ 3168183 w 3168183"/>
              <a:gd name="connsiteY4" fmla="*/ 2928082 h 2928082"/>
              <a:gd name="connsiteX5" fmla="*/ 982279 w 3168183"/>
              <a:gd name="connsiteY5" fmla="*/ 2928082 h 2928082"/>
              <a:gd name="connsiteX6" fmla="*/ 227014 w 3168183"/>
              <a:gd name="connsiteY6" fmla="*/ 2202373 h 2928082"/>
              <a:gd name="connsiteX7" fmla="*/ 0 w 3168183"/>
              <a:gd name="connsiteY7" fmla="*/ 1669388 h 2928082"/>
              <a:gd name="connsiteX8" fmla="*/ 0 w 3168183"/>
              <a:gd name="connsiteY8" fmla="*/ 164800 h 2928082"/>
              <a:gd name="connsiteX9" fmla="*/ 99941 w 3168183"/>
              <a:gd name="connsiteY9" fmla="*/ 30 h 29280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168183" h="2928082">
                <a:moveTo>
                  <a:pt x="99941" y="30"/>
                </a:moveTo>
                <a:cubicBezTo>
                  <a:pt x="136135" y="942"/>
                  <a:pt x="179784" y="23128"/>
                  <a:pt x="226801" y="68299"/>
                </a:cubicBezTo>
                <a:lnTo>
                  <a:pt x="3078293" y="2815594"/>
                </a:lnTo>
                <a:cubicBezTo>
                  <a:pt x="3109585" y="2845762"/>
                  <a:pt x="3139486" y="2883298"/>
                  <a:pt x="3166736" y="2925352"/>
                </a:cubicBezTo>
                <a:lnTo>
                  <a:pt x="3168183" y="2928082"/>
                </a:lnTo>
                <a:lnTo>
                  <a:pt x="982279" y="2928082"/>
                </a:lnTo>
                <a:lnTo>
                  <a:pt x="227014" y="2202373"/>
                </a:lnTo>
                <a:cubicBezTo>
                  <a:pt x="101634" y="2081909"/>
                  <a:pt x="0" y="1843344"/>
                  <a:pt x="0" y="1669388"/>
                </a:cubicBezTo>
                <a:lnTo>
                  <a:pt x="0" y="164800"/>
                </a:lnTo>
                <a:cubicBezTo>
                  <a:pt x="0" y="56078"/>
                  <a:pt x="39618" y="-1491"/>
                  <a:pt x="99941" y="30"/>
                </a:cubicBezTo>
                <a:close/>
              </a:path>
            </a:pathLst>
          </a:custGeom>
          <a:solidFill>
            <a:srgbClr val="38B6AB">
              <a:alpha val="50000"/>
            </a:srgbClr>
          </a:solidFill>
        </p:spPr>
        <p:txBody>
          <a:bodyPr wrap="square" anchor="ctr">
            <a:noAutofit/>
          </a:bodyPr>
          <a:lstStyle>
            <a:lvl1pPr algn="ctr">
              <a:defRPr sz="100">
                <a:solidFill>
                  <a:schemeClr val="accent2">
                    <a:alpha val="0"/>
                  </a:schemeClr>
                </a:solidFill>
              </a:defRPr>
            </a:lvl1pPr>
          </a:lstStyle>
          <a:p>
            <a:pPr lvl="0"/>
            <a:endParaRPr lang="en-GB"/>
          </a:p>
        </p:txBody>
      </p:sp>
      <p:sp>
        <p:nvSpPr>
          <p:cNvPr id="131" name="Text Placeholder 130">
            <a:extLst>
              <a:ext uri="{FF2B5EF4-FFF2-40B4-BE49-F238E27FC236}">
                <a16:creationId xmlns:a16="http://schemas.microsoft.com/office/drawing/2014/main" id="{7E5838E8-6D08-6B46-D841-497CB89494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664036" y="3929918"/>
            <a:ext cx="3168183" cy="2928082"/>
          </a:xfrm>
          <a:custGeom>
            <a:avLst/>
            <a:gdLst>
              <a:gd name="connsiteX0" fmla="*/ 99941 w 3168183"/>
              <a:gd name="connsiteY0" fmla="*/ 30 h 2928082"/>
              <a:gd name="connsiteX1" fmla="*/ 226801 w 3168183"/>
              <a:gd name="connsiteY1" fmla="*/ 68299 h 2928082"/>
              <a:gd name="connsiteX2" fmla="*/ 3078293 w 3168183"/>
              <a:gd name="connsiteY2" fmla="*/ 2815594 h 2928082"/>
              <a:gd name="connsiteX3" fmla="*/ 3166736 w 3168183"/>
              <a:gd name="connsiteY3" fmla="*/ 2925352 h 2928082"/>
              <a:gd name="connsiteX4" fmla="*/ 3168183 w 3168183"/>
              <a:gd name="connsiteY4" fmla="*/ 2928082 h 2928082"/>
              <a:gd name="connsiteX5" fmla="*/ 982279 w 3168183"/>
              <a:gd name="connsiteY5" fmla="*/ 2928082 h 2928082"/>
              <a:gd name="connsiteX6" fmla="*/ 227014 w 3168183"/>
              <a:gd name="connsiteY6" fmla="*/ 2202373 h 2928082"/>
              <a:gd name="connsiteX7" fmla="*/ 0 w 3168183"/>
              <a:gd name="connsiteY7" fmla="*/ 1669388 h 2928082"/>
              <a:gd name="connsiteX8" fmla="*/ 0 w 3168183"/>
              <a:gd name="connsiteY8" fmla="*/ 164800 h 2928082"/>
              <a:gd name="connsiteX9" fmla="*/ 99941 w 3168183"/>
              <a:gd name="connsiteY9" fmla="*/ 30 h 29280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168183" h="2928082">
                <a:moveTo>
                  <a:pt x="99941" y="30"/>
                </a:moveTo>
                <a:cubicBezTo>
                  <a:pt x="136135" y="942"/>
                  <a:pt x="179784" y="23128"/>
                  <a:pt x="226801" y="68299"/>
                </a:cubicBezTo>
                <a:lnTo>
                  <a:pt x="3078293" y="2815594"/>
                </a:lnTo>
                <a:cubicBezTo>
                  <a:pt x="3109585" y="2845762"/>
                  <a:pt x="3139486" y="2883298"/>
                  <a:pt x="3166736" y="2925352"/>
                </a:cubicBezTo>
                <a:lnTo>
                  <a:pt x="3168183" y="2928082"/>
                </a:lnTo>
                <a:lnTo>
                  <a:pt x="982279" y="2928082"/>
                </a:lnTo>
                <a:lnTo>
                  <a:pt x="227014" y="2202373"/>
                </a:lnTo>
                <a:cubicBezTo>
                  <a:pt x="101634" y="2081909"/>
                  <a:pt x="0" y="1843344"/>
                  <a:pt x="0" y="1669388"/>
                </a:cubicBezTo>
                <a:lnTo>
                  <a:pt x="0" y="164800"/>
                </a:lnTo>
                <a:cubicBezTo>
                  <a:pt x="0" y="56078"/>
                  <a:pt x="39618" y="-1491"/>
                  <a:pt x="99941" y="30"/>
                </a:cubicBezTo>
                <a:close/>
              </a:path>
            </a:pathLst>
          </a:custGeom>
          <a:solidFill>
            <a:schemeClr val="accent3">
              <a:alpha val="30000"/>
            </a:schemeClr>
          </a:solidFill>
        </p:spPr>
        <p:txBody>
          <a:bodyPr wrap="square" anchor="ctr">
            <a:noAutofit/>
          </a:bodyPr>
          <a:lstStyle>
            <a:lvl1pPr algn="ctr">
              <a:defRPr sz="100">
                <a:solidFill>
                  <a:schemeClr val="accent2">
                    <a:alpha val="0"/>
                  </a:schemeClr>
                </a:solidFill>
              </a:defRPr>
            </a:lvl1pPr>
          </a:lstStyle>
          <a:p>
            <a:pPr lvl="0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6180404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decel="10000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3" decel="10000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8" decel="10000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2" presetClass="entr" presetSubtype="4" decel="100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0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130">
                                            <p:bg/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130">
                                            <p:bg/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2" presetClass="entr" presetSubtype="4" decel="100000" fill="hold" grpId="0" nodeType="withEffect" nodePh="1">
                                  <p:stCondLst>
                                    <p:cond delay="1000"/>
                                  </p:stCondLst>
                                  <p:endCondLst>
                                    <p:cond evt="begin" delay="0">
                                      <p:tn val="25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1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1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9" presetID="2" presetClass="entr" presetSubtype="2" decel="100000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1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131">
                                            <p:bg/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131">
                                            <p:bg/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3" presetID="2" presetClass="entr" presetSubtype="2" decel="100000" fill="hold" grpId="0" nodeType="withEffect" nodePh="1">
                                  <p:stCondLst>
                                    <p:cond delay="1250"/>
                                  </p:stCondLst>
                                  <p:endCondLst>
                                    <p:cond evt="begin" delay="0">
                                      <p:tn val="33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5" dur="500" fill="hold"/>
                                        <p:tgtEl>
                                          <p:spTgt spid="13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6" dur="500" fill="hold"/>
                                        <p:tgtEl>
                                          <p:spTgt spid="13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7" presetID="2" presetClass="entr" presetSubtype="1" decel="100000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9" dur="5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0" dur="5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1" fill="hold">
                            <p:stCondLst>
                              <p:cond delay="2000"/>
                            </p:stCondLst>
                            <p:childTnLst>
                              <p:par>
                                <p:cTn id="42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5" fill="hold">
                            <p:stCondLst>
                              <p:cond delay="2500"/>
                            </p:stCondLst>
                            <p:childTnLst>
                              <p:par>
                                <p:cTn id="46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iterate type="lt">
                                    <p:tmPct val="5000"/>
                                  </p:iterate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8" dur="500"/>
                                        <p:tgtEl>
                                          <p:spTgt spid="1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0" grpId="0" animBg="1"/>
      <p:bldP spid="42" grpId="0" animBg="1"/>
      <p:bldP spid="31" grpId="0" animBg="1"/>
      <p:bldP spid="34" grpId="0" animBg="1"/>
      <p:bldP spid="18" grpId="0" animBg="1"/>
      <p:bldP spid="127" grpId="0"/>
      <p:bldP spid="130" grpId="0" uiExpand="1" build="p" animBg="1">
        <p:tmplLst>
          <p:tmpl>
            <p:tnLst>
              <p:par>
                <p:cTn presetID="2" presetClass="entr" presetSubtype="4" decel="10000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3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130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130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  <p:tmpl lvl="1">
            <p:tnLst>
              <p:par>
                <p:cTn presetID="2" presetClass="entr" presetSubtype="4" decel="100000" fill="hold" nodeType="withEffect" nodePh="1">
                  <p:stCondLst>
                    <p:cond delay="1000"/>
                  </p:stCondLst>
                  <p:endCondLst>
                    <p:cond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3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130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130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31" grpId="0" uiExpand="1" build="p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1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3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131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131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  <p:tmpl lvl="1">
            <p:tnLst>
              <p:par>
                <p:cTn presetID="2" presetClass="entr" presetSubtype="2" decel="100000" fill="hold" nodeType="withEffect" nodePh="1">
                  <p:stCondLst>
                    <p:cond delay="1250"/>
                  </p:stCondLst>
                  <p:endCondLst>
                    <p:cond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3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131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131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</p:bld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1">
    <p:bg>
      <p:bgPr>
        <a:solidFill>
          <a:srgbClr val="27257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703AE73-0813-1AD7-3E72-C71BFF01092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DB84476-BC29-4407-9D57-B2E562B8968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B758A17F-5411-922C-DAE5-0FD693301FE2}"/>
              </a:ext>
            </a:extLst>
          </p:cNvPr>
          <p:cNvSpPr/>
          <p:nvPr userDrawn="1"/>
        </p:nvSpPr>
        <p:spPr>
          <a:xfrm>
            <a:off x="0" y="926271"/>
            <a:ext cx="5355203" cy="5931729"/>
          </a:xfrm>
          <a:custGeom>
            <a:avLst/>
            <a:gdLst>
              <a:gd name="connsiteX0" fmla="*/ 5186481 w 5355203"/>
              <a:gd name="connsiteY0" fmla="*/ 50 h 5931729"/>
              <a:gd name="connsiteX1" fmla="*/ 5355203 w 5355203"/>
              <a:gd name="connsiteY1" fmla="*/ 278216 h 5931729"/>
              <a:gd name="connsiteX2" fmla="*/ 5355203 w 5355203"/>
              <a:gd name="connsiteY2" fmla="*/ 2818263 h 5931729"/>
              <a:gd name="connsiteX3" fmla="*/ 4971958 w 5355203"/>
              <a:gd name="connsiteY3" fmla="*/ 3718048 h 5931729"/>
              <a:gd name="connsiteX4" fmla="*/ 2668121 w 5355203"/>
              <a:gd name="connsiteY4" fmla="*/ 5931729 h 5931729"/>
              <a:gd name="connsiteX5" fmla="*/ 0 w 5355203"/>
              <a:gd name="connsiteY5" fmla="*/ 5931729 h 5931729"/>
              <a:gd name="connsiteX6" fmla="*/ 0 w 5355203"/>
              <a:gd name="connsiteY6" fmla="*/ 4954140 h 5931729"/>
              <a:gd name="connsiteX7" fmla="*/ 9114 w 5355203"/>
              <a:gd name="connsiteY7" fmla="*/ 4938582 h 5931729"/>
              <a:gd name="connsiteX8" fmla="*/ 158423 w 5355203"/>
              <a:gd name="connsiteY8" fmla="*/ 4753289 h 5931729"/>
              <a:gd name="connsiteX9" fmla="*/ 4972316 w 5355203"/>
              <a:gd name="connsiteY9" fmla="*/ 115303 h 5931729"/>
              <a:gd name="connsiteX10" fmla="*/ 5186481 w 5355203"/>
              <a:gd name="connsiteY10" fmla="*/ 50 h 59317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5355203" h="5931729">
                <a:moveTo>
                  <a:pt x="5186481" y="50"/>
                </a:moveTo>
                <a:cubicBezTo>
                  <a:pt x="5288320" y="-2518"/>
                  <a:pt x="5355203" y="94671"/>
                  <a:pt x="5355203" y="278216"/>
                </a:cubicBezTo>
                <a:lnTo>
                  <a:pt x="5355203" y="2818263"/>
                </a:lnTo>
                <a:cubicBezTo>
                  <a:pt x="5355203" y="3111935"/>
                  <a:pt x="5183624" y="3514682"/>
                  <a:pt x="4971958" y="3718048"/>
                </a:cubicBezTo>
                <a:lnTo>
                  <a:pt x="2668121" y="5931729"/>
                </a:lnTo>
                <a:lnTo>
                  <a:pt x="0" y="5931729"/>
                </a:lnTo>
                <a:lnTo>
                  <a:pt x="0" y="4954140"/>
                </a:lnTo>
                <a:lnTo>
                  <a:pt x="9114" y="4938582"/>
                </a:lnTo>
                <a:cubicBezTo>
                  <a:pt x="55118" y="4867587"/>
                  <a:pt x="105596" y="4804218"/>
                  <a:pt x="158423" y="4753289"/>
                </a:cubicBezTo>
                <a:lnTo>
                  <a:pt x="4972316" y="115303"/>
                </a:lnTo>
                <a:cubicBezTo>
                  <a:pt x="5051691" y="39043"/>
                  <a:pt x="5125378" y="1591"/>
                  <a:pt x="5186481" y="50"/>
                </a:cubicBezTo>
                <a:close/>
              </a:path>
            </a:pathLst>
          </a:custGeom>
          <a:solidFill>
            <a:srgbClr val="7E003F">
              <a:alpha val="50000"/>
            </a:srgbClr>
          </a:solidFill>
          <a:ln w="4630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GB"/>
          </a:p>
        </p:txBody>
      </p:sp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162C6DF5-C2E4-83DF-706D-331B56D36977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1034544" y="-27384"/>
            <a:ext cx="8765153" cy="6885385"/>
          </a:xfrm>
          <a:custGeom>
            <a:avLst/>
            <a:gdLst>
              <a:gd name="connsiteX0" fmla="*/ 7083139 w 8765153"/>
              <a:gd name="connsiteY0" fmla="*/ 0 h 6824309"/>
              <a:gd name="connsiteX1" fmla="*/ 8765153 w 8765153"/>
              <a:gd name="connsiteY1" fmla="*/ 0 h 6824309"/>
              <a:gd name="connsiteX2" fmla="*/ 8765153 w 8765153"/>
              <a:gd name="connsiteY2" fmla="*/ 5076952 h 6824309"/>
              <a:gd name="connsiteX3" fmla="*/ 8254822 w 8765153"/>
              <a:gd name="connsiteY3" fmla="*/ 6635190 h 6824309"/>
              <a:gd name="connsiteX4" fmla="*/ 8118882 w 8765153"/>
              <a:gd name="connsiteY4" fmla="*/ 6824309 h 6824309"/>
              <a:gd name="connsiteX5" fmla="*/ 0 w 8765153"/>
              <a:gd name="connsiteY5" fmla="*/ 6824309 h 68243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765153" h="6824309">
                <a:moveTo>
                  <a:pt x="7083139" y="0"/>
                </a:moveTo>
                <a:lnTo>
                  <a:pt x="8765153" y="0"/>
                </a:lnTo>
                <a:lnTo>
                  <a:pt x="8765153" y="5076952"/>
                </a:lnTo>
                <a:cubicBezTo>
                  <a:pt x="8765153" y="5557168"/>
                  <a:pt x="8554727" y="6171153"/>
                  <a:pt x="8254822" y="6635190"/>
                </a:cubicBezTo>
                <a:lnTo>
                  <a:pt x="8118882" y="6824309"/>
                </a:lnTo>
                <a:lnTo>
                  <a:pt x="0" y="6824309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algn="r">
              <a:defRPr b="0"/>
            </a:lvl1pPr>
          </a:lstStyle>
          <a:p>
            <a:endParaRPr lang="en-GB"/>
          </a:p>
        </p:txBody>
      </p:sp>
      <p:sp>
        <p:nvSpPr>
          <p:cNvPr id="9" name="Freeform: Shape 8">
            <a:extLst>
              <a:ext uri="{FF2B5EF4-FFF2-40B4-BE49-F238E27FC236}">
                <a16:creationId xmlns:a16="http://schemas.microsoft.com/office/drawing/2014/main" id="{CAC4A753-06B1-6046-EC00-AFBCE66C2F6B}"/>
              </a:ext>
            </a:extLst>
          </p:cNvPr>
          <p:cNvSpPr/>
          <p:nvPr userDrawn="1"/>
        </p:nvSpPr>
        <p:spPr>
          <a:xfrm>
            <a:off x="2279576" y="1124744"/>
            <a:ext cx="1885142" cy="2856035"/>
          </a:xfrm>
          <a:custGeom>
            <a:avLst/>
            <a:gdLst>
              <a:gd name="connsiteX0" fmla="*/ 1805 w 716872"/>
              <a:gd name="connsiteY0" fmla="*/ 724844 h 1086078"/>
              <a:gd name="connsiteX1" fmla="*/ 51167 w 716872"/>
              <a:gd name="connsiteY1" fmla="*/ 609449 h 1086078"/>
              <a:gd name="connsiteX2" fmla="*/ 668295 w 716872"/>
              <a:gd name="connsiteY2" fmla="*/ 14872 h 1086078"/>
              <a:gd name="connsiteX3" fmla="*/ 717380 w 716872"/>
              <a:gd name="connsiteY3" fmla="*/ 35757 h 1086078"/>
              <a:gd name="connsiteX4" fmla="*/ 717380 w 716872"/>
              <a:gd name="connsiteY4" fmla="*/ 361384 h 1086078"/>
              <a:gd name="connsiteX5" fmla="*/ 668249 w 716872"/>
              <a:gd name="connsiteY5" fmla="*/ 476734 h 1086078"/>
              <a:gd name="connsiteX6" fmla="*/ 49361 w 716872"/>
              <a:gd name="connsiteY6" fmla="*/ 1071403 h 1086078"/>
              <a:gd name="connsiteX7" fmla="*/ 508 w 716872"/>
              <a:gd name="connsiteY7" fmla="*/ 1050472 h 1086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16872" h="1086078">
                <a:moveTo>
                  <a:pt x="1805" y="724844"/>
                </a:moveTo>
                <a:cubicBezTo>
                  <a:pt x="1805" y="687197"/>
                  <a:pt x="24078" y="635565"/>
                  <a:pt x="51167" y="609449"/>
                </a:cubicBezTo>
                <a:lnTo>
                  <a:pt x="668295" y="14872"/>
                </a:lnTo>
                <a:cubicBezTo>
                  <a:pt x="695430" y="-11198"/>
                  <a:pt x="717380" y="-1891"/>
                  <a:pt x="717380" y="35757"/>
                </a:cubicBezTo>
                <a:lnTo>
                  <a:pt x="717380" y="361384"/>
                </a:lnTo>
                <a:cubicBezTo>
                  <a:pt x="717380" y="399032"/>
                  <a:pt x="695384" y="450663"/>
                  <a:pt x="668249" y="476734"/>
                </a:cubicBezTo>
                <a:lnTo>
                  <a:pt x="49361" y="1071403"/>
                </a:lnTo>
                <a:cubicBezTo>
                  <a:pt x="22226" y="1097473"/>
                  <a:pt x="369" y="1088119"/>
                  <a:pt x="508" y="1050472"/>
                </a:cubicBezTo>
                <a:close/>
              </a:path>
            </a:pathLst>
          </a:custGeom>
          <a:solidFill>
            <a:schemeClr val="accent4">
              <a:alpha val="50000"/>
            </a:schemeClr>
          </a:solidFill>
          <a:ln w="4630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121" name="Text Placeholder 120">
            <a:extLst>
              <a:ext uri="{FF2B5EF4-FFF2-40B4-BE49-F238E27FC236}">
                <a16:creationId xmlns:a16="http://schemas.microsoft.com/office/drawing/2014/main" id="{5AD9F435-A7F4-4F99-4CFF-20A81BD375E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773123" y="1633525"/>
            <a:ext cx="3384379" cy="5127414"/>
          </a:xfrm>
          <a:custGeom>
            <a:avLst/>
            <a:gdLst>
              <a:gd name="connsiteX0" fmla="*/ 102114 w 3384379"/>
              <a:gd name="connsiteY0" fmla="*/ 31 h 5127414"/>
              <a:gd name="connsiteX1" fmla="*/ 231732 w 3384379"/>
              <a:gd name="connsiteY1" fmla="*/ 69784 h 5127414"/>
              <a:gd name="connsiteX2" fmla="*/ 3145213 w 3384379"/>
              <a:gd name="connsiteY2" fmla="*/ 2876802 h 5127414"/>
              <a:gd name="connsiteX3" fmla="*/ 3378253 w 3384379"/>
              <a:gd name="connsiteY3" fmla="*/ 3421586 h 5127414"/>
              <a:gd name="connsiteX4" fmla="*/ 3384376 w 3384379"/>
              <a:gd name="connsiteY4" fmla="*/ 4958887 h 5127414"/>
              <a:gd name="connsiteX5" fmla="*/ 3153739 w 3384379"/>
              <a:gd name="connsiteY5" fmla="*/ 5057703 h 5127414"/>
              <a:gd name="connsiteX6" fmla="*/ 231949 w 3384379"/>
              <a:gd name="connsiteY6" fmla="*/ 2250250 h 5127414"/>
              <a:gd name="connsiteX7" fmla="*/ 0 w 3384379"/>
              <a:gd name="connsiteY7" fmla="*/ 1705679 h 5127414"/>
              <a:gd name="connsiteX8" fmla="*/ 0 w 3384379"/>
              <a:gd name="connsiteY8" fmla="*/ 168383 h 5127414"/>
              <a:gd name="connsiteX9" fmla="*/ 102114 w 3384379"/>
              <a:gd name="connsiteY9" fmla="*/ 31 h 51274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384379" h="5127414">
                <a:moveTo>
                  <a:pt x="102114" y="31"/>
                </a:moveTo>
                <a:cubicBezTo>
                  <a:pt x="139095" y="963"/>
                  <a:pt x="183692" y="23630"/>
                  <a:pt x="231732" y="69784"/>
                </a:cubicBezTo>
                <a:lnTo>
                  <a:pt x="3145213" y="2876802"/>
                </a:lnTo>
                <a:cubicBezTo>
                  <a:pt x="3273101" y="3000097"/>
                  <a:pt x="3378253" y="3243853"/>
                  <a:pt x="3378253" y="3421586"/>
                </a:cubicBezTo>
                <a:lnTo>
                  <a:pt x="3384376" y="4958887"/>
                </a:lnTo>
                <a:cubicBezTo>
                  <a:pt x="3385032" y="5136620"/>
                  <a:pt x="3281845" y="5180780"/>
                  <a:pt x="3153739" y="5057703"/>
                </a:cubicBezTo>
                <a:lnTo>
                  <a:pt x="231949" y="2250250"/>
                </a:lnTo>
                <a:cubicBezTo>
                  <a:pt x="103844" y="2127168"/>
                  <a:pt x="0" y="1883417"/>
                  <a:pt x="0" y="1705679"/>
                </a:cubicBezTo>
                <a:lnTo>
                  <a:pt x="0" y="168383"/>
                </a:lnTo>
                <a:cubicBezTo>
                  <a:pt x="0" y="57297"/>
                  <a:pt x="40479" y="-1524"/>
                  <a:pt x="102114" y="31"/>
                </a:cubicBezTo>
                <a:close/>
              </a:path>
            </a:pathLst>
          </a:custGeom>
          <a:solidFill>
            <a:srgbClr val="38B6AB">
              <a:alpha val="40000"/>
            </a:srgbClr>
          </a:solidFill>
        </p:spPr>
        <p:txBody>
          <a:bodyPr wrap="square" anchor="ctr">
            <a:noAutofit/>
          </a:bodyPr>
          <a:lstStyle>
            <a:lvl1pPr algn="ctr">
              <a:defRPr sz="100">
                <a:solidFill>
                  <a:schemeClr val="accent2">
                    <a:alpha val="0"/>
                  </a:schemeClr>
                </a:solidFill>
              </a:defRPr>
            </a:lvl1pPr>
          </a:lstStyle>
          <a:p>
            <a:pPr lvl="0"/>
            <a:endParaRPr lang="en-GB"/>
          </a:p>
        </p:txBody>
      </p:sp>
      <p:sp>
        <p:nvSpPr>
          <p:cNvPr id="18" name="Text Placeholder 16">
            <a:extLst>
              <a:ext uri="{FF2B5EF4-FFF2-40B4-BE49-F238E27FC236}">
                <a16:creationId xmlns:a16="http://schemas.microsoft.com/office/drawing/2014/main" id="{0ACC4E2B-F090-66AC-388C-54C827EFCB8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23889" y="2636913"/>
            <a:ext cx="10944224" cy="1584176"/>
          </a:xfrm>
        </p:spPr>
        <p:txBody>
          <a:bodyPr anchor="ctr">
            <a:noAutofit/>
          </a:bodyPr>
          <a:lstStyle>
            <a:lvl1pPr algn="ctr">
              <a:defRPr sz="6600">
                <a:solidFill>
                  <a:schemeClr val="bg1"/>
                </a:solidFill>
              </a:defRPr>
            </a:lvl1pPr>
            <a:lvl2pPr algn="ctr">
              <a:defRPr sz="8000" b="1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1"/>
            <a:r>
              <a:rPr lang="en-US"/>
              <a:t>Enter title he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4497875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decel="10000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8" decel="10000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1" decel="10000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1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121">
                                            <p:bg/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121">
                                            <p:bg/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2" presetClass="entr" presetSubtype="1" decel="100000" fill="hold" grpId="0" nodeType="withEffect" nodePh="1">
                                  <p:stCondLst>
                                    <p:cond delay="750"/>
                                  </p:stCondLst>
                                  <p:endCondLst>
                                    <p:cond evt="begin" delay="0">
                                      <p:tn val="21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1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1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1250"/>
                            </p:stCondLst>
                            <p:childTnLst>
                              <p:par>
                                <p:cTn id="26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iterate type="lt">
                                    <p:tmPct val="5000"/>
                                  </p:iterate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 animBg="1"/>
      <p:bldP spid="16" grpId="0" animBg="1"/>
      <p:bldP spid="9" grpId="0" animBg="1"/>
      <p:bldP spid="121" grpId="0" uiExpand="1" build="p" animBg="1">
        <p:tmplLst>
          <p:tmpl>
            <p:tnLst>
              <p:par>
                <p:cTn presetID="2" presetClass="entr" presetSubtype="1" decel="10000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121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121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0-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  <p:tmpl lvl="1">
            <p:tnLst>
              <p:par>
                <p:cTn presetID="2" presetClass="entr" presetSubtype="1" decel="100000" fill="hold" nodeType="withEffect" nodePh="1">
                  <p:stCondLst>
                    <p:cond delay="750"/>
                  </p:stCondLst>
                  <p:endCondLst>
                    <p:cond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121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121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0-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8" grpId="0" build="p">
        <p:tmplLst>
          <p:tmpl lvl="2"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iterate type="lt">
                    <p:tmPct val="5000"/>
                  </p:iterate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8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>
            <a:extLst>
              <a:ext uri="{FF2B5EF4-FFF2-40B4-BE49-F238E27FC236}">
                <a16:creationId xmlns:a16="http://schemas.microsoft.com/office/drawing/2014/main" id="{7B40599C-4C0F-475E-A2C1-B16A0CE599F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210448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4" progId="TCLayout.ActiveDocument.1">
                  <p:embed/>
                </p:oleObj>
              </mc:Choice>
              <mc:Fallback>
                <p:oleObj name="think-cell Slide" r:id="rId4" imgW="425" imgH="424" progId="TCLayout.ActiveDocument.1">
                  <p:embed/>
                  <p:pic>
                    <p:nvPicPr>
                      <p:cNvPr id="21" name="Object 20" hidden="1">
                        <a:extLst>
                          <a:ext uri="{FF2B5EF4-FFF2-40B4-BE49-F238E27FC236}">
                            <a16:creationId xmlns:a16="http://schemas.microsoft.com/office/drawing/2014/main" id="{7B40599C-4C0F-475E-A2C1-B16A0CE599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9" name="Text Placeholder 48">
            <a:extLst>
              <a:ext uri="{FF2B5EF4-FFF2-40B4-BE49-F238E27FC236}">
                <a16:creationId xmlns:a16="http://schemas.microsoft.com/office/drawing/2014/main" id="{AE49D000-408C-4824-9FA5-437F0857B16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714860" y="-2"/>
            <a:ext cx="5477141" cy="6858002"/>
          </a:xfrm>
          <a:custGeom>
            <a:avLst/>
            <a:gdLst>
              <a:gd name="connsiteX0" fmla="*/ 3986471 w 5477141"/>
              <a:gd name="connsiteY0" fmla="*/ 0 h 6858002"/>
              <a:gd name="connsiteX1" fmla="*/ 5477141 w 5477141"/>
              <a:gd name="connsiteY1" fmla="*/ 0 h 6858002"/>
              <a:gd name="connsiteX2" fmla="*/ 5477141 w 5477141"/>
              <a:gd name="connsiteY2" fmla="*/ 5978697 h 6858002"/>
              <a:gd name="connsiteX3" fmla="*/ 4566103 w 5477141"/>
              <a:gd name="connsiteY3" fmla="*/ 6858002 h 6858002"/>
              <a:gd name="connsiteX4" fmla="*/ 0 w 5477141"/>
              <a:gd name="connsiteY4" fmla="*/ 6858002 h 6858002"/>
              <a:gd name="connsiteX5" fmla="*/ 10973 w 5477141"/>
              <a:gd name="connsiteY5" fmla="*/ 4194085 h 6858002"/>
              <a:gd name="connsiteX6" fmla="*/ 262590 w 5477141"/>
              <a:gd name="connsiteY6" fmla="*/ 3603624 h 68580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477141" h="6858002">
                <a:moveTo>
                  <a:pt x="3986471" y="0"/>
                </a:moveTo>
                <a:lnTo>
                  <a:pt x="5477141" y="0"/>
                </a:lnTo>
                <a:lnTo>
                  <a:pt x="5477141" y="5978697"/>
                </a:lnTo>
                <a:lnTo>
                  <a:pt x="4566103" y="6858002"/>
                </a:lnTo>
                <a:lnTo>
                  <a:pt x="0" y="6858002"/>
                </a:lnTo>
                <a:lnTo>
                  <a:pt x="10973" y="4194085"/>
                </a:lnTo>
                <a:cubicBezTo>
                  <a:pt x="11711" y="4001686"/>
                  <a:pt x="124372" y="3737295"/>
                  <a:pt x="262590" y="3603624"/>
                </a:cubicBezTo>
                <a:close/>
              </a:path>
            </a:pathLst>
          </a:custGeom>
          <a:solidFill>
            <a:srgbClr val="97BE0D">
              <a:alpha val="40000"/>
            </a:srgbClr>
          </a:solidFill>
          <a:ln w="4539" cap="flat">
            <a:noFill/>
            <a:prstDash val="solid"/>
            <a:miter/>
          </a:ln>
        </p:spPr>
        <p:txBody>
          <a:bodyPr vert="horz" wrap="square" lIns="0" tIns="0" rIns="91440" bIns="0" rtlCol="0" anchor="ctr">
            <a:noAutofit/>
          </a:bodyPr>
          <a:lstStyle>
            <a:lvl1pPr>
              <a:defRPr lang="en-US" sz="100" smtClean="0">
                <a:solidFill>
                  <a:srgbClr val="92D7D1">
                    <a:alpha val="0"/>
                  </a:srgbClr>
                </a:solidFill>
                <a:latin typeface="+mn-lt"/>
                <a:cs typeface="+mn-cs"/>
              </a:defRPr>
            </a:lvl1pPr>
            <a:lvl2pPr>
              <a:defRPr lang="en-US" smtClean="0">
                <a:cs typeface="+mn-cs"/>
              </a:defRPr>
            </a:lvl2pPr>
            <a:lvl3pPr>
              <a:defRPr lang="en-US" smtClean="0">
                <a:cs typeface="+mn-cs"/>
              </a:defRPr>
            </a:lvl3pPr>
            <a:lvl4pPr>
              <a:defRPr lang="en-US" sz="1800" smtClean="0">
                <a:cs typeface="+mn-cs"/>
              </a:defRPr>
            </a:lvl4pPr>
            <a:lvl5pPr>
              <a:defRPr lang="en-GB" sz="1800">
                <a:cs typeface="+mn-cs"/>
              </a:defRPr>
            </a:lvl5pPr>
          </a:lstStyle>
          <a:p>
            <a:pPr lvl="0"/>
            <a:r>
              <a:rPr lang="en-US"/>
              <a:t>a</a:t>
            </a:r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CCF89D1-5F6C-4FE0-93BA-66FADB6912F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B84476-BC29-4407-9D57-B2E562B8968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8" name="Picture Placeholder 37">
            <a:extLst>
              <a:ext uri="{FF2B5EF4-FFF2-40B4-BE49-F238E27FC236}">
                <a16:creationId xmlns:a16="http://schemas.microsoft.com/office/drawing/2014/main" id="{93C09CD9-332B-46FA-AFE2-208CC7A75114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761482" y="300589"/>
            <a:ext cx="3430518" cy="5720327"/>
          </a:xfrm>
          <a:custGeom>
            <a:avLst/>
            <a:gdLst>
              <a:gd name="connsiteX0" fmla="*/ 117485 w 3430518"/>
              <a:gd name="connsiteY0" fmla="*/ 56 h 5720327"/>
              <a:gd name="connsiteX1" fmla="*/ 267840 w 3430518"/>
              <a:gd name="connsiteY1" fmla="*/ 82765 h 5720327"/>
              <a:gd name="connsiteX2" fmla="*/ 3430518 w 3430518"/>
              <a:gd name="connsiteY2" fmla="*/ 3169975 h 5720327"/>
              <a:gd name="connsiteX3" fmla="*/ 3430518 w 3430518"/>
              <a:gd name="connsiteY3" fmla="*/ 5720327 h 5720327"/>
              <a:gd name="connsiteX4" fmla="*/ 277667 w 3430518"/>
              <a:gd name="connsiteY4" fmla="*/ 2635413 h 5720327"/>
              <a:gd name="connsiteX5" fmla="*/ 7377 w 3430518"/>
              <a:gd name="connsiteY5" fmla="*/ 1995687 h 5720327"/>
              <a:gd name="connsiteX6" fmla="*/ 5 w 3430518"/>
              <a:gd name="connsiteY6" fmla="*/ 196289 h 5720327"/>
              <a:gd name="connsiteX7" fmla="*/ 117485 w 3430518"/>
              <a:gd name="connsiteY7" fmla="*/ 56 h 5720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430518" h="5720327">
                <a:moveTo>
                  <a:pt x="117485" y="56"/>
                </a:moveTo>
                <a:cubicBezTo>
                  <a:pt x="160312" y="1425"/>
                  <a:pt x="212046" y="28308"/>
                  <a:pt x="267840" y="82765"/>
                </a:cubicBezTo>
                <a:lnTo>
                  <a:pt x="3430518" y="3169975"/>
                </a:lnTo>
                <a:lnTo>
                  <a:pt x="3430518" y="5720327"/>
                </a:lnTo>
                <a:lnTo>
                  <a:pt x="277667" y="2635413"/>
                </a:lnTo>
                <a:cubicBezTo>
                  <a:pt x="129375" y="2489948"/>
                  <a:pt x="8237" y="2203562"/>
                  <a:pt x="7377" y="1995687"/>
                </a:cubicBezTo>
                <a:lnTo>
                  <a:pt x="5" y="196289"/>
                </a:lnTo>
                <a:cubicBezTo>
                  <a:pt x="-532" y="66365"/>
                  <a:pt x="46106" y="-2226"/>
                  <a:pt x="117485" y="56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endParaRPr lang="en-GB"/>
          </a:p>
        </p:txBody>
      </p:sp>
      <p:sp>
        <p:nvSpPr>
          <p:cNvPr id="40" name="Picture Placeholder 39">
            <a:extLst>
              <a:ext uri="{FF2B5EF4-FFF2-40B4-BE49-F238E27FC236}">
                <a16:creationId xmlns:a16="http://schemas.microsoft.com/office/drawing/2014/main" id="{48272B9A-06E7-4C48-AA43-5AB2FEE13A49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7255062" y="4375974"/>
            <a:ext cx="2679466" cy="2482023"/>
          </a:xfrm>
          <a:custGeom>
            <a:avLst/>
            <a:gdLst>
              <a:gd name="connsiteX0" fmla="*/ 3495324 w 3619869"/>
              <a:gd name="connsiteY0" fmla="*/ 64 h 3353130"/>
              <a:gd name="connsiteX1" fmla="*/ 3619869 w 3619869"/>
              <a:gd name="connsiteY1" fmla="*/ 206007 h 3353130"/>
              <a:gd name="connsiteX2" fmla="*/ 3619869 w 3619869"/>
              <a:gd name="connsiteY2" fmla="*/ 2095951 h 3353130"/>
              <a:gd name="connsiteX3" fmla="*/ 3337292 w 3619869"/>
              <a:gd name="connsiteY3" fmla="*/ 2767747 h 3353130"/>
              <a:gd name="connsiteX4" fmla="*/ 2737494 w 3619869"/>
              <a:gd name="connsiteY4" fmla="*/ 3353130 h 3353130"/>
              <a:gd name="connsiteX5" fmla="*/ 0 w 3619869"/>
              <a:gd name="connsiteY5" fmla="*/ 3353130 h 3353130"/>
              <a:gd name="connsiteX6" fmla="*/ 3337292 w 3619869"/>
              <a:gd name="connsiteY6" fmla="*/ 87203 h 3353130"/>
              <a:gd name="connsiteX7" fmla="*/ 3495324 w 3619869"/>
              <a:gd name="connsiteY7" fmla="*/ 64 h 33531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619869" h="3353130">
                <a:moveTo>
                  <a:pt x="3495324" y="64"/>
                </a:moveTo>
                <a:cubicBezTo>
                  <a:pt x="3570486" y="-2440"/>
                  <a:pt x="3619869" y="69557"/>
                  <a:pt x="3619869" y="206007"/>
                </a:cubicBezTo>
                <a:lnTo>
                  <a:pt x="3619869" y="2095951"/>
                </a:lnTo>
                <a:cubicBezTo>
                  <a:pt x="3619869" y="2314395"/>
                  <a:pt x="3493078" y="2615156"/>
                  <a:pt x="3337292" y="2767747"/>
                </a:cubicBezTo>
                <a:lnTo>
                  <a:pt x="2737494" y="3353130"/>
                </a:lnTo>
                <a:lnTo>
                  <a:pt x="0" y="3353130"/>
                </a:lnTo>
                <a:lnTo>
                  <a:pt x="3337292" y="87203"/>
                </a:lnTo>
                <a:cubicBezTo>
                  <a:pt x="3395851" y="29890"/>
                  <a:pt x="3450228" y="1567"/>
                  <a:pt x="3495324" y="64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endParaRPr lang="en-GB"/>
          </a:p>
        </p:txBody>
      </p:sp>
      <p:sp>
        <p:nvSpPr>
          <p:cNvPr id="43" name="Text Placeholder 42">
            <a:extLst>
              <a:ext uri="{FF2B5EF4-FFF2-40B4-BE49-F238E27FC236}">
                <a16:creationId xmlns:a16="http://schemas.microsoft.com/office/drawing/2014/main" id="{287D13C6-D8A0-4240-B399-3800A3934EC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0702658" y="579233"/>
            <a:ext cx="1489341" cy="3820884"/>
          </a:xfrm>
          <a:custGeom>
            <a:avLst/>
            <a:gdLst>
              <a:gd name="connsiteX0" fmla="*/ 117485 w 1489341"/>
              <a:gd name="connsiteY0" fmla="*/ 56 h 3820884"/>
              <a:gd name="connsiteX1" fmla="*/ 267840 w 1489341"/>
              <a:gd name="connsiteY1" fmla="*/ 82765 h 3820884"/>
              <a:gd name="connsiteX2" fmla="*/ 1489341 w 1489341"/>
              <a:gd name="connsiteY2" fmla="*/ 1274987 h 3820884"/>
              <a:gd name="connsiteX3" fmla="*/ 1489341 w 1489341"/>
              <a:gd name="connsiteY3" fmla="*/ 3820884 h 3820884"/>
              <a:gd name="connsiteX4" fmla="*/ 278035 w 1489341"/>
              <a:gd name="connsiteY4" fmla="*/ 2635414 h 3820884"/>
              <a:gd name="connsiteX5" fmla="*/ 7745 w 1489341"/>
              <a:gd name="connsiteY5" fmla="*/ 1995562 h 3820884"/>
              <a:gd name="connsiteX6" fmla="*/ 5 w 1489341"/>
              <a:gd name="connsiteY6" fmla="*/ 196289 h 3820884"/>
              <a:gd name="connsiteX7" fmla="*/ 117485 w 1489341"/>
              <a:gd name="connsiteY7" fmla="*/ 56 h 38208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489341" h="3820884">
                <a:moveTo>
                  <a:pt x="117485" y="56"/>
                </a:moveTo>
                <a:cubicBezTo>
                  <a:pt x="160312" y="1425"/>
                  <a:pt x="212046" y="28308"/>
                  <a:pt x="267840" y="82765"/>
                </a:cubicBezTo>
                <a:lnTo>
                  <a:pt x="1489341" y="1274987"/>
                </a:lnTo>
                <a:lnTo>
                  <a:pt x="1489341" y="3820884"/>
                </a:lnTo>
                <a:lnTo>
                  <a:pt x="278035" y="2635414"/>
                </a:lnTo>
                <a:cubicBezTo>
                  <a:pt x="129746" y="2489948"/>
                  <a:pt x="8605" y="2203565"/>
                  <a:pt x="7745" y="1995562"/>
                </a:cubicBezTo>
                <a:lnTo>
                  <a:pt x="5" y="196289"/>
                </a:lnTo>
                <a:cubicBezTo>
                  <a:pt x="-532" y="66365"/>
                  <a:pt x="46106" y="-2226"/>
                  <a:pt x="117485" y="56"/>
                </a:cubicBezTo>
                <a:close/>
              </a:path>
            </a:pathLst>
          </a:custGeom>
          <a:solidFill>
            <a:srgbClr val="750D68">
              <a:alpha val="40000"/>
            </a:srgbClr>
          </a:solidFill>
          <a:ln w="4539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>
            <a:lvl1pPr>
              <a:defRPr lang="en-US" sz="100" smtClean="0">
                <a:solidFill>
                  <a:srgbClr val="92D7D1">
                    <a:alpha val="0"/>
                  </a:srgbClr>
                </a:solidFill>
                <a:latin typeface="+mn-lt"/>
                <a:cs typeface="+mn-cs"/>
              </a:defRPr>
            </a:lvl1pPr>
            <a:lvl2pPr>
              <a:defRPr lang="en-US" smtClean="0">
                <a:cs typeface="+mn-cs"/>
              </a:defRPr>
            </a:lvl2pPr>
            <a:lvl3pPr>
              <a:defRPr lang="en-US" smtClean="0">
                <a:cs typeface="+mn-cs"/>
              </a:defRPr>
            </a:lvl3pPr>
            <a:lvl4pPr>
              <a:defRPr lang="en-US" sz="1800" smtClean="0">
                <a:cs typeface="+mn-cs"/>
              </a:defRPr>
            </a:lvl4pPr>
            <a:lvl5pPr>
              <a:defRPr lang="en-GB" sz="1800">
                <a:cs typeface="+mn-cs"/>
              </a:defRPr>
            </a:lvl5pPr>
          </a:lstStyle>
          <a:p>
            <a:pPr lvl="0"/>
            <a:r>
              <a:rPr lang="en-US"/>
              <a:t>a</a:t>
            </a:r>
            <a:endParaRPr lang="en-GB"/>
          </a:p>
        </p:txBody>
      </p:sp>
      <p:sp>
        <p:nvSpPr>
          <p:cNvPr id="46" name="Text Placeholder 45">
            <a:extLst>
              <a:ext uri="{FF2B5EF4-FFF2-40B4-BE49-F238E27FC236}">
                <a16:creationId xmlns:a16="http://schemas.microsoft.com/office/drawing/2014/main" id="{4870C28F-9345-460D-8D2C-722BDDEB370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1399642" y="2074095"/>
            <a:ext cx="792359" cy="2251289"/>
          </a:xfrm>
          <a:custGeom>
            <a:avLst/>
            <a:gdLst>
              <a:gd name="connsiteX0" fmla="*/ 792359 w 792359"/>
              <a:gd name="connsiteY0" fmla="*/ 0 h 2251289"/>
              <a:gd name="connsiteX1" fmla="*/ 792359 w 792359"/>
              <a:gd name="connsiteY1" fmla="*/ 1589453 h 2251289"/>
              <a:gd name="connsiteX2" fmla="*/ 167214 w 792359"/>
              <a:gd name="connsiteY2" fmla="*/ 2199598 h 2251289"/>
              <a:gd name="connsiteX3" fmla="*/ 3 w 792359"/>
              <a:gd name="connsiteY3" fmla="*/ 2128708 h 2251289"/>
              <a:gd name="connsiteX4" fmla="*/ 4550 w 792359"/>
              <a:gd name="connsiteY4" fmla="*/ 1005161 h 2251289"/>
              <a:gd name="connsiteX5" fmla="*/ 173480 w 792359"/>
              <a:gd name="connsiteY5" fmla="*/ 605622 h 22512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92359" h="2251289">
                <a:moveTo>
                  <a:pt x="792359" y="0"/>
                </a:moveTo>
                <a:lnTo>
                  <a:pt x="792359" y="1589453"/>
                </a:lnTo>
                <a:lnTo>
                  <a:pt x="167214" y="2199598"/>
                </a:lnTo>
                <a:cubicBezTo>
                  <a:pt x="74334" y="2290269"/>
                  <a:pt x="-487" y="2258570"/>
                  <a:pt x="3" y="2128708"/>
                </a:cubicBezTo>
                <a:lnTo>
                  <a:pt x="4550" y="1005161"/>
                </a:lnTo>
                <a:cubicBezTo>
                  <a:pt x="4550" y="875299"/>
                  <a:pt x="80721" y="696539"/>
                  <a:pt x="173480" y="605622"/>
                </a:cubicBezTo>
                <a:close/>
              </a:path>
            </a:pathLst>
          </a:custGeom>
          <a:solidFill>
            <a:srgbClr val="F07E26">
              <a:alpha val="80000"/>
            </a:srgbClr>
          </a:solidFill>
          <a:ln w="4539" cap="flat">
            <a:noFill/>
            <a:prstDash val="solid"/>
            <a:miter/>
          </a:ln>
        </p:spPr>
        <p:txBody>
          <a:bodyPr vert="horz" wrap="square" lIns="0" tIns="0" rIns="91440" bIns="0" rtlCol="0" anchor="ctr">
            <a:noAutofit/>
          </a:bodyPr>
          <a:lstStyle>
            <a:lvl1pPr>
              <a:defRPr lang="en-US" sz="100" smtClean="0">
                <a:solidFill>
                  <a:srgbClr val="92D7D1">
                    <a:alpha val="0"/>
                  </a:srgbClr>
                </a:solidFill>
                <a:latin typeface="+mn-lt"/>
                <a:cs typeface="+mn-cs"/>
              </a:defRPr>
            </a:lvl1pPr>
            <a:lvl2pPr>
              <a:defRPr lang="en-US" smtClean="0">
                <a:cs typeface="+mn-cs"/>
              </a:defRPr>
            </a:lvl2pPr>
            <a:lvl3pPr>
              <a:defRPr lang="en-US" smtClean="0">
                <a:cs typeface="+mn-cs"/>
              </a:defRPr>
            </a:lvl3pPr>
            <a:lvl4pPr>
              <a:defRPr lang="en-US" sz="1800" smtClean="0">
                <a:cs typeface="+mn-cs"/>
              </a:defRPr>
            </a:lvl4pPr>
            <a:lvl5pPr>
              <a:defRPr lang="en-GB" sz="1800">
                <a:cs typeface="+mn-cs"/>
              </a:defRPr>
            </a:lvl5pPr>
          </a:lstStyle>
          <a:p>
            <a:pPr lvl="0"/>
            <a:r>
              <a:rPr lang="en-US"/>
              <a:t>a</a:t>
            </a:r>
            <a:endParaRPr lang="en-GB"/>
          </a:p>
        </p:txBody>
      </p:sp>
      <p:sp>
        <p:nvSpPr>
          <p:cNvPr id="55" name="Text Placeholder 54">
            <a:extLst>
              <a:ext uri="{FF2B5EF4-FFF2-40B4-BE49-F238E27FC236}">
                <a16:creationId xmlns:a16="http://schemas.microsoft.com/office/drawing/2014/main" id="{4427D09F-36B2-4E9E-B819-4E7BF5B516E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9556188" y="5517233"/>
            <a:ext cx="1565162" cy="1340768"/>
          </a:xfrm>
          <a:custGeom>
            <a:avLst/>
            <a:gdLst>
              <a:gd name="connsiteX0" fmla="*/ 710975 w 784278"/>
              <a:gd name="connsiteY0" fmla="*/ 73 h 671838"/>
              <a:gd name="connsiteX1" fmla="*/ 784278 w 784278"/>
              <a:gd name="connsiteY1" fmla="*/ 121712 h 671838"/>
              <a:gd name="connsiteX2" fmla="*/ 784278 w 784278"/>
              <a:gd name="connsiteY2" fmla="*/ 671838 h 671838"/>
              <a:gd name="connsiteX3" fmla="*/ 0 w 784278"/>
              <a:gd name="connsiteY3" fmla="*/ 671838 h 671838"/>
              <a:gd name="connsiteX4" fmla="*/ 618048 w 784278"/>
              <a:gd name="connsiteY4" fmla="*/ 53034 h 671838"/>
              <a:gd name="connsiteX5" fmla="*/ 710975 w 784278"/>
              <a:gd name="connsiteY5" fmla="*/ 73 h 6718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84278" h="671838">
                <a:moveTo>
                  <a:pt x="710975" y="73"/>
                </a:moveTo>
                <a:cubicBezTo>
                  <a:pt x="755194" y="-2002"/>
                  <a:pt x="784278" y="40394"/>
                  <a:pt x="784278" y="121712"/>
                </a:cubicBezTo>
                <a:lnTo>
                  <a:pt x="784278" y="671838"/>
                </a:lnTo>
                <a:lnTo>
                  <a:pt x="0" y="671838"/>
                </a:lnTo>
                <a:lnTo>
                  <a:pt x="618048" y="53034"/>
                </a:lnTo>
                <a:cubicBezTo>
                  <a:pt x="652464" y="18572"/>
                  <a:pt x="684444" y="1318"/>
                  <a:pt x="710975" y="73"/>
                </a:cubicBezTo>
                <a:close/>
              </a:path>
            </a:pathLst>
          </a:custGeom>
          <a:solidFill>
            <a:schemeClr val="accent1">
              <a:alpha val="40000"/>
            </a:schemeClr>
          </a:solidFill>
          <a:ln w="4539" cap="flat">
            <a:noFill/>
            <a:prstDash val="solid"/>
            <a:miter/>
          </a:ln>
        </p:spPr>
        <p:txBody>
          <a:bodyPr vert="horz" wrap="square" lIns="0" tIns="0" rIns="91440" bIns="0" rtlCol="0" anchor="ctr">
            <a:noAutofit/>
          </a:bodyPr>
          <a:lstStyle>
            <a:lvl1pPr>
              <a:defRPr lang="en-US" sz="100" smtClean="0">
                <a:solidFill>
                  <a:srgbClr val="92D7D1">
                    <a:alpha val="0"/>
                  </a:srgbClr>
                </a:solidFill>
                <a:latin typeface="+mn-lt"/>
                <a:cs typeface="+mn-cs"/>
              </a:defRPr>
            </a:lvl1pPr>
            <a:lvl2pPr>
              <a:defRPr lang="en-US" smtClean="0">
                <a:cs typeface="+mn-cs"/>
              </a:defRPr>
            </a:lvl2pPr>
            <a:lvl3pPr>
              <a:defRPr lang="en-US" smtClean="0">
                <a:cs typeface="+mn-cs"/>
              </a:defRPr>
            </a:lvl3pPr>
            <a:lvl4pPr>
              <a:defRPr lang="en-US" sz="1800" smtClean="0">
                <a:cs typeface="+mn-cs"/>
              </a:defRPr>
            </a:lvl4pPr>
            <a:lvl5pPr>
              <a:defRPr lang="en-GB" sz="1800">
                <a:cs typeface="+mn-cs"/>
              </a:defRPr>
            </a:lvl5pPr>
          </a:lstStyle>
          <a:p>
            <a:pPr lvl="0"/>
            <a:r>
              <a:rPr lang="en-US"/>
              <a:t>a</a:t>
            </a:r>
            <a:endParaRPr lang="en-GB"/>
          </a:p>
        </p:txBody>
      </p:sp>
      <p:sp>
        <p:nvSpPr>
          <p:cNvPr id="56" name="Content Placeholder 2">
            <a:extLst>
              <a:ext uri="{FF2B5EF4-FFF2-40B4-BE49-F238E27FC236}">
                <a16:creationId xmlns:a16="http://schemas.microsoft.com/office/drawing/2014/main" id="{1C62B2A9-F38F-45C9-8332-68EFE3EA409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23887" y="1628801"/>
            <a:ext cx="5760145" cy="4105249"/>
          </a:xfrm>
        </p:spPr>
        <p:txBody>
          <a:bodyPr lIns="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7" name="Title 11">
            <a:extLst>
              <a:ext uri="{FF2B5EF4-FFF2-40B4-BE49-F238E27FC236}">
                <a16:creationId xmlns:a16="http://schemas.microsoft.com/office/drawing/2014/main" id="{3E18813C-1B37-44D6-AE09-A794555E7B1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2457" y="332657"/>
            <a:ext cx="7815651" cy="1080120"/>
          </a:xfr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5489346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extLst>
    <p:ext uri="{DCECCB84-F9BA-43D5-87BE-67443E8EF086}">
      <p15:sldGuideLst xmlns:p15="http://schemas.microsoft.com/office/powerpoint/2012/main">
        <p15:guide id="3" orient="horz" pos="3612">
          <p15:clr>
            <a:srgbClr val="FBAE40"/>
          </p15:clr>
        </p15:guide>
        <p15:guide id="5" pos="3840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4" name="Text Placeholder 133">
            <a:extLst>
              <a:ext uri="{FF2B5EF4-FFF2-40B4-BE49-F238E27FC236}">
                <a16:creationId xmlns:a16="http://schemas.microsoft.com/office/drawing/2014/main" id="{23F52D78-230C-7431-5E48-931D061CCA1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" y="0"/>
            <a:ext cx="4098689" cy="6858000"/>
          </a:xfrm>
          <a:custGeom>
            <a:avLst/>
            <a:gdLst>
              <a:gd name="connsiteX0" fmla="*/ 3070124 w 4098689"/>
              <a:gd name="connsiteY0" fmla="*/ 0 h 6858000"/>
              <a:gd name="connsiteX1" fmla="*/ 4098689 w 4098689"/>
              <a:gd name="connsiteY1" fmla="*/ 0 h 6858000"/>
              <a:gd name="connsiteX2" fmla="*/ 4098689 w 4098689"/>
              <a:gd name="connsiteY2" fmla="*/ 3644244 h 6858000"/>
              <a:gd name="connsiteX3" fmla="*/ 3520398 w 4098689"/>
              <a:gd name="connsiteY3" fmla="*/ 5001960 h 6858000"/>
              <a:gd name="connsiteX4" fmla="*/ 1588767 w 4098689"/>
              <a:gd name="connsiteY4" fmla="*/ 6858000 h 6858000"/>
              <a:gd name="connsiteX5" fmla="*/ 0 w 4098689"/>
              <a:gd name="connsiteY5" fmla="*/ 6858000 h 6858000"/>
              <a:gd name="connsiteX6" fmla="*/ 0 w 4098689"/>
              <a:gd name="connsiteY6" fmla="*/ 2957937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098689" h="6858000">
                <a:moveTo>
                  <a:pt x="3070124" y="0"/>
                </a:moveTo>
                <a:lnTo>
                  <a:pt x="4098689" y="0"/>
                </a:lnTo>
                <a:lnTo>
                  <a:pt x="4098689" y="3644244"/>
                </a:lnTo>
                <a:cubicBezTo>
                  <a:pt x="4098689" y="4087376"/>
                  <a:pt x="3839788" y="4695094"/>
                  <a:pt x="3520398" y="5001960"/>
                </a:cubicBezTo>
                <a:lnTo>
                  <a:pt x="1588767" y="6858000"/>
                </a:lnTo>
                <a:lnTo>
                  <a:pt x="0" y="6858000"/>
                </a:lnTo>
                <a:lnTo>
                  <a:pt x="0" y="2957937"/>
                </a:lnTo>
                <a:close/>
              </a:path>
            </a:pathLst>
          </a:custGeom>
          <a:solidFill>
            <a:srgbClr val="005191">
              <a:alpha val="60000"/>
            </a:srgbClr>
          </a:solidFill>
        </p:spPr>
        <p:txBody>
          <a:bodyPr wrap="square" anchor="ctr">
            <a:noAutofit/>
          </a:bodyPr>
          <a:lstStyle>
            <a:lvl1pPr algn="ctr">
              <a:defRPr sz="100">
                <a:solidFill>
                  <a:srgbClr val="005191">
                    <a:alpha val="0"/>
                  </a:srgbClr>
                </a:solidFill>
              </a:defRPr>
            </a:lvl1pPr>
          </a:lstStyle>
          <a:p>
            <a:pPr lvl="0"/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703AE73-0813-1AD7-3E72-C71BFF01092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DB84476-BC29-4407-9D57-B2E562B8968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424B80AE-CD07-4053-764F-D2D2EE735065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1" y="1201283"/>
            <a:ext cx="2894574" cy="5456097"/>
          </a:xfrm>
          <a:custGeom>
            <a:avLst/>
            <a:gdLst>
              <a:gd name="connsiteX0" fmla="*/ 2759851 w 2894574"/>
              <a:gd name="connsiteY0" fmla="*/ 40 h 5456097"/>
              <a:gd name="connsiteX1" fmla="*/ 2894574 w 2894574"/>
              <a:gd name="connsiteY1" fmla="*/ 222154 h 5456097"/>
              <a:gd name="connsiteX2" fmla="*/ 2894574 w 2894574"/>
              <a:gd name="connsiteY2" fmla="*/ 2250366 h 5456097"/>
              <a:gd name="connsiteX3" fmla="*/ 2588555 w 2894574"/>
              <a:gd name="connsiteY3" fmla="*/ 2968840 h 5456097"/>
              <a:gd name="connsiteX4" fmla="*/ 0 w 2894574"/>
              <a:gd name="connsiteY4" fmla="*/ 5456097 h 5456097"/>
              <a:gd name="connsiteX5" fmla="*/ 0 w 2894574"/>
              <a:gd name="connsiteY5" fmla="*/ 2586310 h 5456097"/>
              <a:gd name="connsiteX6" fmla="*/ 2588842 w 2894574"/>
              <a:gd name="connsiteY6" fmla="*/ 92068 h 5456097"/>
              <a:gd name="connsiteX7" fmla="*/ 2759851 w 2894574"/>
              <a:gd name="connsiteY7" fmla="*/ 40 h 54560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894574" h="5456097">
                <a:moveTo>
                  <a:pt x="2759851" y="40"/>
                </a:moveTo>
                <a:cubicBezTo>
                  <a:pt x="2841168" y="-2011"/>
                  <a:pt x="2894574" y="75594"/>
                  <a:pt x="2894574" y="222154"/>
                </a:cubicBezTo>
                <a:lnTo>
                  <a:pt x="2894574" y="2250366"/>
                </a:lnTo>
                <a:cubicBezTo>
                  <a:pt x="2894574" y="2484862"/>
                  <a:pt x="2757569" y="2806453"/>
                  <a:pt x="2588555" y="2968840"/>
                </a:cubicBezTo>
                <a:lnTo>
                  <a:pt x="0" y="5456097"/>
                </a:lnTo>
                <a:lnTo>
                  <a:pt x="0" y="2586310"/>
                </a:lnTo>
                <a:lnTo>
                  <a:pt x="2588842" y="92068"/>
                </a:lnTo>
                <a:cubicBezTo>
                  <a:pt x="2652222" y="31176"/>
                  <a:pt x="2711061" y="1270"/>
                  <a:pt x="2759851" y="40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algn="ctr">
              <a:defRPr sz="1200" b="0"/>
            </a:lvl1pPr>
          </a:lstStyle>
          <a:p>
            <a:endParaRPr lang="en-GB"/>
          </a:p>
        </p:txBody>
      </p:sp>
      <p:sp>
        <p:nvSpPr>
          <p:cNvPr id="130" name="Text Placeholder 16">
            <a:extLst>
              <a:ext uri="{FF2B5EF4-FFF2-40B4-BE49-F238E27FC236}">
                <a16:creationId xmlns:a16="http://schemas.microsoft.com/office/drawing/2014/main" id="{3616F16A-2EBD-FF57-821F-BEDC5EABA4D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118832" y="1764973"/>
            <a:ext cx="6449281" cy="447231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31" name="Title 6">
            <a:extLst>
              <a:ext uri="{FF2B5EF4-FFF2-40B4-BE49-F238E27FC236}">
                <a16:creationId xmlns:a16="http://schemas.microsoft.com/office/drawing/2014/main" id="{F433FC08-0F53-7D5A-16B3-BEF9BC1A811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19267" y="332657"/>
            <a:ext cx="6448846" cy="126248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37" name="Text Placeholder 136">
            <a:extLst>
              <a:ext uri="{FF2B5EF4-FFF2-40B4-BE49-F238E27FC236}">
                <a16:creationId xmlns:a16="http://schemas.microsoft.com/office/drawing/2014/main" id="{60576821-C4B3-606F-FA98-DE0E26E2577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1" y="949365"/>
            <a:ext cx="1491321" cy="3079866"/>
          </a:xfrm>
          <a:custGeom>
            <a:avLst/>
            <a:gdLst>
              <a:gd name="connsiteX0" fmla="*/ 1408371 w 1491321"/>
              <a:gd name="connsiteY0" fmla="*/ 25 h 3079866"/>
              <a:gd name="connsiteX1" fmla="*/ 1436224 w 1491321"/>
              <a:gd name="connsiteY1" fmla="*/ 5100 h 3079866"/>
              <a:gd name="connsiteX2" fmla="*/ 1491321 w 1491321"/>
              <a:gd name="connsiteY2" fmla="*/ 136783 h 3079866"/>
              <a:gd name="connsiteX3" fmla="*/ 1491321 w 1491321"/>
              <a:gd name="connsiteY3" fmla="*/ 1385578 h 3079866"/>
              <a:gd name="connsiteX4" fmla="*/ 1302902 w 1491321"/>
              <a:gd name="connsiteY4" fmla="*/ 1827951 h 3079866"/>
              <a:gd name="connsiteX5" fmla="*/ 0 w 1491321"/>
              <a:gd name="connsiteY5" fmla="*/ 3079866 h 3079866"/>
              <a:gd name="connsiteX6" fmla="*/ 0 w 1491321"/>
              <a:gd name="connsiteY6" fmla="*/ 1312149 h 3079866"/>
              <a:gd name="connsiteX7" fmla="*/ 1303078 w 1491321"/>
              <a:gd name="connsiteY7" fmla="*/ 56688 h 3079866"/>
              <a:gd name="connsiteX8" fmla="*/ 1408371 w 1491321"/>
              <a:gd name="connsiteY8" fmla="*/ 25 h 30798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491321" h="3079866">
                <a:moveTo>
                  <a:pt x="1408371" y="25"/>
                </a:moveTo>
                <a:cubicBezTo>
                  <a:pt x="1418385" y="-228"/>
                  <a:pt x="1427711" y="1482"/>
                  <a:pt x="1436224" y="5100"/>
                </a:cubicBezTo>
                <a:cubicBezTo>
                  <a:pt x="1470277" y="19573"/>
                  <a:pt x="1491321" y="64592"/>
                  <a:pt x="1491321" y="136783"/>
                </a:cubicBezTo>
                <a:lnTo>
                  <a:pt x="1491321" y="1385578"/>
                </a:lnTo>
                <a:cubicBezTo>
                  <a:pt x="1491321" y="1529960"/>
                  <a:pt x="1406966" y="1727967"/>
                  <a:pt x="1302902" y="1827951"/>
                </a:cubicBezTo>
                <a:lnTo>
                  <a:pt x="0" y="3079866"/>
                </a:lnTo>
                <a:lnTo>
                  <a:pt x="0" y="1312149"/>
                </a:lnTo>
                <a:lnTo>
                  <a:pt x="1303078" y="56688"/>
                </a:lnTo>
                <a:cubicBezTo>
                  <a:pt x="1342102" y="19196"/>
                  <a:pt x="1378330" y="782"/>
                  <a:pt x="1408371" y="25"/>
                </a:cubicBezTo>
                <a:close/>
              </a:path>
            </a:pathLst>
          </a:custGeom>
          <a:solidFill>
            <a:srgbClr val="F07E26">
              <a:alpha val="35000"/>
            </a:srgbClr>
          </a:solidFill>
        </p:spPr>
        <p:txBody>
          <a:bodyPr wrap="square" anchor="ctr">
            <a:noAutofit/>
          </a:bodyPr>
          <a:lstStyle>
            <a:lvl1pPr algn="ctr">
              <a:defRPr sz="100">
                <a:solidFill>
                  <a:schemeClr val="accent4">
                    <a:alpha val="0"/>
                  </a:schemeClr>
                </a:solidFill>
              </a:defRPr>
            </a:lvl1pPr>
          </a:lstStyle>
          <a:p>
            <a:pPr lvl="0"/>
            <a:endParaRPr lang="en-GB"/>
          </a:p>
        </p:txBody>
      </p:sp>
      <p:sp>
        <p:nvSpPr>
          <p:cNvPr id="141" name="Text Placeholder 140">
            <a:extLst>
              <a:ext uri="{FF2B5EF4-FFF2-40B4-BE49-F238E27FC236}">
                <a16:creationId xmlns:a16="http://schemas.microsoft.com/office/drawing/2014/main" id="{EE94B476-1FBF-439D-7B43-D444A704061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10740" y="4291002"/>
            <a:ext cx="2822963" cy="2566999"/>
          </a:xfrm>
          <a:custGeom>
            <a:avLst/>
            <a:gdLst>
              <a:gd name="connsiteX0" fmla="*/ 101667 w 2822963"/>
              <a:gd name="connsiteY0" fmla="*/ 30 h 2566999"/>
              <a:gd name="connsiteX1" fmla="*/ 230717 w 2822963"/>
              <a:gd name="connsiteY1" fmla="*/ 69478 h 2566999"/>
              <a:gd name="connsiteX2" fmla="*/ 2822963 w 2822963"/>
              <a:gd name="connsiteY2" fmla="*/ 2566999 h 2566999"/>
              <a:gd name="connsiteX3" fmla="*/ 570843 w 2822963"/>
              <a:gd name="connsiteY3" fmla="*/ 2566999 h 2566999"/>
              <a:gd name="connsiteX4" fmla="*/ 230933 w 2822963"/>
              <a:gd name="connsiteY4" fmla="*/ 2240391 h 2566999"/>
              <a:gd name="connsiteX5" fmla="*/ 0 w 2822963"/>
              <a:gd name="connsiteY5" fmla="*/ 1698206 h 2566999"/>
              <a:gd name="connsiteX6" fmla="*/ 0 w 2822963"/>
              <a:gd name="connsiteY6" fmla="*/ 167645 h 2566999"/>
              <a:gd name="connsiteX7" fmla="*/ 101667 w 2822963"/>
              <a:gd name="connsiteY7" fmla="*/ 30 h 2566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822963" h="2566999">
                <a:moveTo>
                  <a:pt x="101667" y="30"/>
                </a:moveTo>
                <a:cubicBezTo>
                  <a:pt x="138486" y="958"/>
                  <a:pt x="182888" y="23526"/>
                  <a:pt x="230717" y="69478"/>
                </a:cubicBezTo>
                <a:lnTo>
                  <a:pt x="2822963" y="2566999"/>
                </a:lnTo>
                <a:lnTo>
                  <a:pt x="570843" y="2566999"/>
                </a:lnTo>
                <a:lnTo>
                  <a:pt x="230933" y="2240391"/>
                </a:lnTo>
                <a:cubicBezTo>
                  <a:pt x="103389" y="2117848"/>
                  <a:pt x="0" y="1875164"/>
                  <a:pt x="0" y="1698206"/>
                </a:cubicBezTo>
                <a:lnTo>
                  <a:pt x="0" y="167645"/>
                </a:lnTo>
                <a:cubicBezTo>
                  <a:pt x="0" y="57045"/>
                  <a:pt x="40302" y="-1518"/>
                  <a:pt x="101667" y="30"/>
                </a:cubicBezTo>
                <a:close/>
              </a:path>
            </a:pathLst>
          </a:custGeom>
          <a:solidFill>
            <a:srgbClr val="97BE0D">
              <a:alpha val="30000"/>
            </a:srgbClr>
          </a:solidFill>
        </p:spPr>
        <p:txBody>
          <a:bodyPr wrap="square" anchor="ctr">
            <a:noAutofit/>
          </a:bodyPr>
          <a:lstStyle>
            <a:lvl1pPr algn="ctr">
              <a:defRPr sz="100">
                <a:solidFill>
                  <a:srgbClr val="97BE0D">
                    <a:alpha val="0"/>
                  </a:srgbClr>
                </a:solidFill>
              </a:defRPr>
            </a:lvl1pPr>
          </a:lstStyle>
          <a:p>
            <a:pPr lvl="0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7713479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1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7" name="Text Placeholder 146">
            <a:extLst>
              <a:ext uri="{FF2B5EF4-FFF2-40B4-BE49-F238E27FC236}">
                <a16:creationId xmlns:a16="http://schemas.microsoft.com/office/drawing/2014/main" id="{41D2A663-B8CD-4B9D-546F-D365D2134A7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448427" y="0"/>
            <a:ext cx="5743573" cy="6858000"/>
          </a:xfrm>
          <a:custGeom>
            <a:avLst/>
            <a:gdLst>
              <a:gd name="connsiteX0" fmla="*/ 3165530 w 5743573"/>
              <a:gd name="connsiteY0" fmla="*/ 0 h 6858000"/>
              <a:gd name="connsiteX1" fmla="*/ 5743573 w 5743573"/>
              <a:gd name="connsiteY1" fmla="*/ 0 h 6858000"/>
              <a:gd name="connsiteX2" fmla="*/ 5743573 w 5743573"/>
              <a:gd name="connsiteY2" fmla="*/ 4429751 h 6858000"/>
              <a:gd name="connsiteX3" fmla="*/ 3223227 w 5743573"/>
              <a:gd name="connsiteY3" fmla="*/ 6858000 h 6858000"/>
              <a:gd name="connsiteX4" fmla="*/ 0 w 5743573"/>
              <a:gd name="connsiteY4" fmla="*/ 6858000 h 6858000"/>
              <a:gd name="connsiteX5" fmla="*/ 0 w 5743573"/>
              <a:gd name="connsiteY5" fmla="*/ 4062689 h 6858000"/>
              <a:gd name="connsiteX6" fmla="*/ 736180 w 5743573"/>
              <a:gd name="connsiteY6" fmla="*/ 2334283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743573" h="6858000">
                <a:moveTo>
                  <a:pt x="3165530" y="0"/>
                </a:moveTo>
                <a:lnTo>
                  <a:pt x="5743573" y="0"/>
                </a:lnTo>
                <a:lnTo>
                  <a:pt x="5743573" y="4429751"/>
                </a:lnTo>
                <a:lnTo>
                  <a:pt x="3223227" y="6858000"/>
                </a:lnTo>
                <a:lnTo>
                  <a:pt x="0" y="6858000"/>
                </a:lnTo>
                <a:lnTo>
                  <a:pt x="0" y="4062689"/>
                </a:lnTo>
                <a:cubicBezTo>
                  <a:pt x="0" y="3498571"/>
                  <a:pt x="329588" y="2724931"/>
                  <a:pt x="736180" y="2334283"/>
                </a:cubicBezTo>
                <a:close/>
              </a:path>
            </a:pathLst>
          </a:custGeom>
          <a:solidFill>
            <a:srgbClr val="DC006B">
              <a:alpha val="30000"/>
            </a:srgbClr>
          </a:solidFill>
        </p:spPr>
        <p:txBody>
          <a:bodyPr wrap="square" anchor="ctr">
            <a:noAutofit/>
          </a:bodyPr>
          <a:lstStyle>
            <a:lvl1pPr algn="ctr">
              <a:defRPr sz="100">
                <a:solidFill>
                  <a:srgbClr val="DC006B">
                    <a:alpha val="0"/>
                  </a:srgbClr>
                </a:solidFill>
              </a:defRPr>
            </a:lvl1pPr>
          </a:lstStyle>
          <a:p>
            <a:pPr lvl="0"/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703AE73-0813-1AD7-3E72-C71BFF01092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DB84476-BC29-4407-9D57-B2E562B8968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5" name="Picture Placeholder 24">
            <a:extLst>
              <a:ext uri="{FF2B5EF4-FFF2-40B4-BE49-F238E27FC236}">
                <a16:creationId xmlns:a16="http://schemas.microsoft.com/office/drawing/2014/main" id="{AE7C4F3D-2874-1BB6-EA25-268A627F8758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6980135" y="3806402"/>
            <a:ext cx="3359734" cy="3051598"/>
          </a:xfrm>
          <a:custGeom>
            <a:avLst/>
            <a:gdLst>
              <a:gd name="connsiteX0" fmla="*/ 3236405 w 3359734"/>
              <a:gd name="connsiteY0" fmla="*/ 37 h 3051598"/>
              <a:gd name="connsiteX1" fmla="*/ 3359734 w 3359734"/>
              <a:gd name="connsiteY1" fmla="*/ 203367 h 3051598"/>
              <a:gd name="connsiteX2" fmla="*/ 3359734 w 3359734"/>
              <a:gd name="connsiteY2" fmla="*/ 2060053 h 3051598"/>
              <a:gd name="connsiteX3" fmla="*/ 3079596 w 3359734"/>
              <a:gd name="connsiteY3" fmla="*/ 2717765 h 3051598"/>
              <a:gd name="connsiteX4" fmla="*/ 2732167 w 3359734"/>
              <a:gd name="connsiteY4" fmla="*/ 3051598 h 3051598"/>
              <a:gd name="connsiteX5" fmla="*/ 0 w 3359734"/>
              <a:gd name="connsiteY5" fmla="*/ 3051598 h 3051598"/>
              <a:gd name="connsiteX6" fmla="*/ 3079858 w 3359734"/>
              <a:gd name="connsiteY6" fmla="*/ 84283 h 3051598"/>
              <a:gd name="connsiteX7" fmla="*/ 3236405 w 3359734"/>
              <a:gd name="connsiteY7" fmla="*/ 37 h 30515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359734" h="3051598">
                <a:moveTo>
                  <a:pt x="3236405" y="37"/>
                </a:moveTo>
                <a:cubicBezTo>
                  <a:pt x="3310845" y="-1841"/>
                  <a:pt x="3359734" y="69201"/>
                  <a:pt x="3359734" y="203367"/>
                </a:cubicBezTo>
                <a:lnTo>
                  <a:pt x="3359734" y="2060053"/>
                </a:lnTo>
                <a:cubicBezTo>
                  <a:pt x="3359734" y="2274717"/>
                  <a:pt x="3234316" y="2569111"/>
                  <a:pt x="3079596" y="2717765"/>
                </a:cubicBezTo>
                <a:lnTo>
                  <a:pt x="2732167" y="3051598"/>
                </a:lnTo>
                <a:lnTo>
                  <a:pt x="0" y="3051598"/>
                </a:lnTo>
                <a:lnTo>
                  <a:pt x="3079858" y="84283"/>
                </a:lnTo>
                <a:cubicBezTo>
                  <a:pt x="3137878" y="28540"/>
                  <a:pt x="3191741" y="1163"/>
                  <a:pt x="3236405" y="37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algn="ctr">
              <a:defRPr sz="1200" b="0"/>
            </a:lvl1pPr>
          </a:lstStyle>
          <a:p>
            <a:endParaRPr lang="en-GB"/>
          </a:p>
        </p:txBody>
      </p:sp>
      <p:sp>
        <p:nvSpPr>
          <p:cNvPr id="150" name="Text Placeholder 149">
            <a:extLst>
              <a:ext uri="{FF2B5EF4-FFF2-40B4-BE49-F238E27FC236}">
                <a16:creationId xmlns:a16="http://schemas.microsoft.com/office/drawing/2014/main" id="{D7538C79-ED97-E435-0FE8-C0DB8652DFC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660002" y="4005064"/>
            <a:ext cx="3531998" cy="2852936"/>
          </a:xfrm>
          <a:custGeom>
            <a:avLst/>
            <a:gdLst>
              <a:gd name="connsiteX0" fmla="*/ 2961142 w 3531998"/>
              <a:gd name="connsiteY0" fmla="*/ 0 h 2852936"/>
              <a:gd name="connsiteX1" fmla="*/ 3531998 w 3531998"/>
              <a:gd name="connsiteY1" fmla="*/ 0 h 2852936"/>
              <a:gd name="connsiteX2" fmla="*/ 3531998 w 3531998"/>
              <a:gd name="connsiteY2" fmla="*/ 2239358 h 2852936"/>
              <a:gd name="connsiteX3" fmla="*/ 3531188 w 3531998"/>
              <a:gd name="connsiteY3" fmla="*/ 2241499 h 2852936"/>
              <a:gd name="connsiteX4" fmla="*/ 3311816 w 3531998"/>
              <a:gd name="connsiteY4" fmla="*/ 2578272 h 2852936"/>
              <a:gd name="connsiteX5" fmla="*/ 3025965 w 3531998"/>
              <a:gd name="connsiteY5" fmla="*/ 2852936 h 2852936"/>
              <a:gd name="connsiteX6" fmla="*/ 0 w 3531998"/>
              <a:gd name="connsiteY6" fmla="*/ 2852936 h 28529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531998" h="2852936">
                <a:moveTo>
                  <a:pt x="2961142" y="0"/>
                </a:moveTo>
                <a:lnTo>
                  <a:pt x="3531998" y="0"/>
                </a:lnTo>
                <a:lnTo>
                  <a:pt x="3531998" y="2239358"/>
                </a:lnTo>
                <a:lnTo>
                  <a:pt x="3531188" y="2241499"/>
                </a:lnTo>
                <a:cubicBezTo>
                  <a:pt x="3475046" y="2373298"/>
                  <a:pt x="3397487" y="2495960"/>
                  <a:pt x="3311816" y="2578272"/>
                </a:cubicBezTo>
                <a:lnTo>
                  <a:pt x="3025965" y="2852936"/>
                </a:lnTo>
                <a:lnTo>
                  <a:pt x="0" y="2852936"/>
                </a:lnTo>
                <a:close/>
              </a:path>
            </a:pathLst>
          </a:custGeom>
          <a:solidFill>
            <a:srgbClr val="005191">
              <a:alpha val="30000"/>
            </a:srgbClr>
          </a:solidFill>
        </p:spPr>
        <p:txBody>
          <a:bodyPr wrap="square" anchor="ctr">
            <a:noAutofit/>
          </a:bodyPr>
          <a:lstStyle>
            <a:lvl1pPr algn="ctr">
              <a:defRPr sz="100">
                <a:solidFill>
                  <a:srgbClr val="005191">
                    <a:alpha val="0"/>
                  </a:srgbClr>
                </a:solidFill>
              </a:defRPr>
            </a:lvl1pPr>
          </a:lstStyle>
          <a:p>
            <a:pPr lvl="0"/>
            <a:endParaRPr lang="en-GB"/>
          </a:p>
        </p:txBody>
      </p:sp>
      <p:sp>
        <p:nvSpPr>
          <p:cNvPr id="30" name="Picture Placeholder 29">
            <a:extLst>
              <a:ext uri="{FF2B5EF4-FFF2-40B4-BE49-F238E27FC236}">
                <a16:creationId xmlns:a16="http://schemas.microsoft.com/office/drawing/2014/main" id="{68933960-D0E9-BA3A-2718-21D31502D72E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9766470" y="1269106"/>
            <a:ext cx="2425530" cy="3969769"/>
          </a:xfrm>
          <a:custGeom>
            <a:avLst/>
            <a:gdLst>
              <a:gd name="connsiteX0" fmla="*/ 82560 w 2425530"/>
              <a:gd name="connsiteY0" fmla="*/ 25 h 3969769"/>
              <a:gd name="connsiteX1" fmla="*/ 187358 w 2425530"/>
              <a:gd name="connsiteY1" fmla="*/ 56422 h 3969769"/>
              <a:gd name="connsiteX2" fmla="*/ 2425530 w 2425530"/>
              <a:gd name="connsiteY2" fmla="*/ 2212808 h 3969769"/>
              <a:gd name="connsiteX3" fmla="*/ 2425530 w 2425530"/>
              <a:gd name="connsiteY3" fmla="*/ 3969769 h 3969769"/>
              <a:gd name="connsiteX4" fmla="*/ 187533 w 2425530"/>
              <a:gd name="connsiteY4" fmla="*/ 1819352 h 3969769"/>
              <a:gd name="connsiteX5" fmla="*/ 0 w 2425530"/>
              <a:gd name="connsiteY5" fmla="*/ 1379060 h 3969769"/>
              <a:gd name="connsiteX6" fmla="*/ 0 w 2425530"/>
              <a:gd name="connsiteY6" fmla="*/ 136140 h 3969769"/>
              <a:gd name="connsiteX7" fmla="*/ 82560 w 2425530"/>
              <a:gd name="connsiteY7" fmla="*/ 25 h 39697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425530" h="3969769">
                <a:moveTo>
                  <a:pt x="82560" y="25"/>
                </a:moveTo>
                <a:cubicBezTo>
                  <a:pt x="112460" y="779"/>
                  <a:pt x="148517" y="19106"/>
                  <a:pt x="187358" y="56422"/>
                </a:cubicBezTo>
                <a:lnTo>
                  <a:pt x="2425530" y="2212808"/>
                </a:lnTo>
                <a:lnTo>
                  <a:pt x="2425530" y="3969769"/>
                </a:lnTo>
                <a:lnTo>
                  <a:pt x="187533" y="1819352"/>
                </a:lnTo>
                <a:cubicBezTo>
                  <a:pt x="83959" y="1719838"/>
                  <a:pt x="0" y="1522763"/>
                  <a:pt x="0" y="1379060"/>
                </a:cubicBezTo>
                <a:lnTo>
                  <a:pt x="0" y="136140"/>
                </a:lnTo>
                <a:cubicBezTo>
                  <a:pt x="0" y="46326"/>
                  <a:pt x="32728" y="-1232"/>
                  <a:pt x="82560" y="25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algn="ctr">
              <a:defRPr sz="1200" b="0"/>
            </a:lvl1pPr>
          </a:lstStyle>
          <a:p>
            <a:endParaRPr lang="en-GB"/>
          </a:p>
        </p:txBody>
      </p:sp>
      <p:sp>
        <p:nvSpPr>
          <p:cNvPr id="31" name="Picture Placeholder 30">
            <a:extLst>
              <a:ext uri="{FF2B5EF4-FFF2-40B4-BE49-F238E27FC236}">
                <a16:creationId xmlns:a16="http://schemas.microsoft.com/office/drawing/2014/main" id="{B97B3D90-8508-16DD-F3A6-858BCE6CC25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10846794" y="731163"/>
            <a:ext cx="1345206" cy="2758018"/>
          </a:xfrm>
          <a:custGeom>
            <a:avLst/>
            <a:gdLst>
              <a:gd name="connsiteX0" fmla="*/ 49027 w 1345206"/>
              <a:gd name="connsiteY0" fmla="*/ 4538 h 2758018"/>
              <a:gd name="connsiteX1" fmla="*/ 167504 w 1345206"/>
              <a:gd name="connsiteY1" fmla="*/ 50442 h 2758018"/>
              <a:gd name="connsiteX2" fmla="*/ 1345206 w 1345206"/>
              <a:gd name="connsiteY2" fmla="*/ 1185109 h 2758018"/>
              <a:gd name="connsiteX3" fmla="*/ 1345206 w 1345206"/>
              <a:gd name="connsiteY3" fmla="*/ 2758018 h 2758018"/>
              <a:gd name="connsiteX4" fmla="*/ 167661 w 1345206"/>
              <a:gd name="connsiteY4" fmla="*/ 1626553 h 2758018"/>
              <a:gd name="connsiteX5" fmla="*/ 0 w 1345206"/>
              <a:gd name="connsiteY5" fmla="*/ 1232920 h 2758018"/>
              <a:gd name="connsiteX6" fmla="*/ 0 w 1345206"/>
              <a:gd name="connsiteY6" fmla="*/ 121712 h 2758018"/>
              <a:gd name="connsiteX7" fmla="*/ 49027 w 1345206"/>
              <a:gd name="connsiteY7" fmla="*/ 4538 h 27580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345206" h="2758018">
                <a:moveTo>
                  <a:pt x="49027" y="4538"/>
                </a:moveTo>
                <a:cubicBezTo>
                  <a:pt x="79329" y="-8341"/>
                  <a:pt x="121205" y="5960"/>
                  <a:pt x="167504" y="50442"/>
                </a:cubicBezTo>
                <a:lnTo>
                  <a:pt x="1345206" y="1185109"/>
                </a:lnTo>
                <a:lnTo>
                  <a:pt x="1345206" y="2758018"/>
                </a:lnTo>
                <a:lnTo>
                  <a:pt x="167661" y="1626553"/>
                </a:lnTo>
                <a:cubicBezTo>
                  <a:pt x="75062" y="1537586"/>
                  <a:pt x="0" y="1361394"/>
                  <a:pt x="0" y="1232920"/>
                </a:cubicBezTo>
                <a:lnTo>
                  <a:pt x="0" y="121712"/>
                </a:lnTo>
                <a:cubicBezTo>
                  <a:pt x="0" y="57475"/>
                  <a:pt x="18726" y="17417"/>
                  <a:pt x="49027" y="4538"/>
                </a:cubicBezTo>
                <a:close/>
              </a:path>
            </a:pathLst>
          </a:custGeom>
          <a:solidFill>
            <a:schemeClr val="bg2">
              <a:lumMod val="90000"/>
            </a:schemeClr>
          </a:solidFill>
        </p:spPr>
        <p:txBody>
          <a:bodyPr wrap="square" anchor="ctr">
            <a:noAutofit/>
          </a:bodyPr>
          <a:lstStyle>
            <a:lvl1pPr algn="ctr">
              <a:defRPr sz="1200" b="0"/>
            </a:lvl1pPr>
          </a:lstStyle>
          <a:p>
            <a:endParaRPr lang="en-GB"/>
          </a:p>
        </p:txBody>
      </p:sp>
      <p:sp>
        <p:nvSpPr>
          <p:cNvPr id="151" name="Content Placeholder 2">
            <a:extLst>
              <a:ext uri="{FF2B5EF4-FFF2-40B4-BE49-F238E27FC236}">
                <a16:creationId xmlns:a16="http://schemas.microsoft.com/office/drawing/2014/main" id="{4BCD8A3B-1B66-A7C2-3F99-836A5351B09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23887" y="1628801"/>
            <a:ext cx="6696249" cy="4608487"/>
          </a:xfrm>
        </p:spPr>
        <p:txBody>
          <a:bodyPr lIns="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2" name="Title 11">
            <a:extLst>
              <a:ext uri="{FF2B5EF4-FFF2-40B4-BE49-F238E27FC236}">
                <a16:creationId xmlns:a16="http://schemas.microsoft.com/office/drawing/2014/main" id="{4A069A78-03A3-241A-C6F5-23375408E8D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2457" y="332657"/>
            <a:ext cx="6707679" cy="1080120"/>
          </a:xfr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45694772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ic Colour 1">
    <p:bg>
      <p:bgPr>
        <a:solidFill>
          <a:srgbClr val="00519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: Shape 7">
            <a:extLst>
              <a:ext uri="{FF2B5EF4-FFF2-40B4-BE49-F238E27FC236}">
                <a16:creationId xmlns:a16="http://schemas.microsoft.com/office/drawing/2014/main" id="{CBAB13E4-51C6-8C99-374B-F7E519DC07EA}"/>
              </a:ext>
            </a:extLst>
          </p:cNvPr>
          <p:cNvSpPr/>
          <p:nvPr userDrawn="1"/>
        </p:nvSpPr>
        <p:spPr>
          <a:xfrm>
            <a:off x="3842930" y="0"/>
            <a:ext cx="8349070" cy="6841154"/>
          </a:xfrm>
          <a:custGeom>
            <a:avLst/>
            <a:gdLst>
              <a:gd name="connsiteX0" fmla="*/ 6977688 w 8349070"/>
              <a:gd name="connsiteY0" fmla="*/ 0 h 6841154"/>
              <a:gd name="connsiteX1" fmla="*/ 8349070 w 8349070"/>
              <a:gd name="connsiteY1" fmla="*/ 0 h 6841154"/>
              <a:gd name="connsiteX2" fmla="*/ 8349070 w 8349070"/>
              <a:gd name="connsiteY2" fmla="*/ 5402533 h 6841154"/>
              <a:gd name="connsiteX3" fmla="*/ 6851859 w 8349070"/>
              <a:gd name="connsiteY3" fmla="*/ 6841154 h 6841154"/>
              <a:gd name="connsiteX4" fmla="*/ 0 w 8349070"/>
              <a:gd name="connsiteY4" fmla="*/ 6841154 h 6841154"/>
              <a:gd name="connsiteX5" fmla="*/ 55230 w 8349070"/>
              <a:gd name="connsiteY5" fmla="*/ 6746876 h 6841154"/>
              <a:gd name="connsiteX6" fmla="*/ 334016 w 8349070"/>
              <a:gd name="connsiteY6" fmla="*/ 6400901 h 68411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349070" h="6841154">
                <a:moveTo>
                  <a:pt x="6977688" y="0"/>
                </a:moveTo>
                <a:lnTo>
                  <a:pt x="8349070" y="0"/>
                </a:lnTo>
                <a:lnTo>
                  <a:pt x="8349070" y="5402533"/>
                </a:lnTo>
                <a:lnTo>
                  <a:pt x="6851859" y="6841154"/>
                </a:lnTo>
                <a:lnTo>
                  <a:pt x="0" y="6841154"/>
                </a:lnTo>
                <a:lnTo>
                  <a:pt x="55230" y="6746876"/>
                </a:lnTo>
                <a:cubicBezTo>
                  <a:pt x="141126" y="6614317"/>
                  <a:pt x="235379" y="6495995"/>
                  <a:pt x="334016" y="6400901"/>
                </a:cubicBezTo>
                <a:close/>
              </a:path>
            </a:pathLst>
          </a:custGeom>
          <a:solidFill>
            <a:schemeClr val="tx2">
              <a:alpha val="20000"/>
            </a:schemeClr>
          </a:solidFill>
          <a:ln w="4630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703AE73-0813-1AD7-3E72-C71BFF01092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3DB84476-BC29-4407-9D57-B2E562B8968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7" name="Title 11">
            <a:extLst>
              <a:ext uri="{FF2B5EF4-FFF2-40B4-BE49-F238E27FC236}">
                <a16:creationId xmlns:a16="http://schemas.microsoft.com/office/drawing/2014/main" id="{B5447781-1A60-817C-CFAD-D761E437479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5317" y="422444"/>
            <a:ext cx="7815651" cy="1080120"/>
          </a:xfrm>
        </p:spPr>
        <p:txBody>
          <a:bodyPr vert="horz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30946303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ic Colour 2">
    <p:bg>
      <p:bgPr>
        <a:solidFill>
          <a:srgbClr val="750D6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: Shape 7">
            <a:extLst>
              <a:ext uri="{FF2B5EF4-FFF2-40B4-BE49-F238E27FC236}">
                <a16:creationId xmlns:a16="http://schemas.microsoft.com/office/drawing/2014/main" id="{CBAB13E4-51C6-8C99-374B-F7E519DC07EA}"/>
              </a:ext>
            </a:extLst>
          </p:cNvPr>
          <p:cNvSpPr/>
          <p:nvPr userDrawn="1"/>
        </p:nvSpPr>
        <p:spPr>
          <a:xfrm>
            <a:off x="3842930" y="0"/>
            <a:ext cx="8349070" cy="6841154"/>
          </a:xfrm>
          <a:custGeom>
            <a:avLst/>
            <a:gdLst>
              <a:gd name="connsiteX0" fmla="*/ 6977688 w 8349070"/>
              <a:gd name="connsiteY0" fmla="*/ 0 h 6841154"/>
              <a:gd name="connsiteX1" fmla="*/ 8349070 w 8349070"/>
              <a:gd name="connsiteY1" fmla="*/ 0 h 6841154"/>
              <a:gd name="connsiteX2" fmla="*/ 8349070 w 8349070"/>
              <a:gd name="connsiteY2" fmla="*/ 5402533 h 6841154"/>
              <a:gd name="connsiteX3" fmla="*/ 6851859 w 8349070"/>
              <a:gd name="connsiteY3" fmla="*/ 6841154 h 6841154"/>
              <a:gd name="connsiteX4" fmla="*/ 0 w 8349070"/>
              <a:gd name="connsiteY4" fmla="*/ 6841154 h 6841154"/>
              <a:gd name="connsiteX5" fmla="*/ 55230 w 8349070"/>
              <a:gd name="connsiteY5" fmla="*/ 6746876 h 6841154"/>
              <a:gd name="connsiteX6" fmla="*/ 334016 w 8349070"/>
              <a:gd name="connsiteY6" fmla="*/ 6400901 h 68411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349070" h="6841154">
                <a:moveTo>
                  <a:pt x="6977688" y="0"/>
                </a:moveTo>
                <a:lnTo>
                  <a:pt x="8349070" y="0"/>
                </a:lnTo>
                <a:lnTo>
                  <a:pt x="8349070" y="5402533"/>
                </a:lnTo>
                <a:lnTo>
                  <a:pt x="6851859" y="6841154"/>
                </a:lnTo>
                <a:lnTo>
                  <a:pt x="0" y="6841154"/>
                </a:lnTo>
                <a:lnTo>
                  <a:pt x="55230" y="6746876"/>
                </a:lnTo>
                <a:cubicBezTo>
                  <a:pt x="141126" y="6614317"/>
                  <a:pt x="235379" y="6495995"/>
                  <a:pt x="334016" y="6400901"/>
                </a:cubicBezTo>
                <a:close/>
              </a:path>
            </a:pathLst>
          </a:custGeom>
          <a:solidFill>
            <a:srgbClr val="DC006B">
              <a:alpha val="18000"/>
            </a:srgbClr>
          </a:solidFill>
          <a:ln w="4630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703AE73-0813-1AD7-3E72-C71BFF01092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3DB84476-BC29-4407-9D57-B2E562B8968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7" name="Title 11">
            <a:extLst>
              <a:ext uri="{FF2B5EF4-FFF2-40B4-BE49-F238E27FC236}">
                <a16:creationId xmlns:a16="http://schemas.microsoft.com/office/drawing/2014/main" id="{49962258-50C2-AAFE-1D2D-C8E38A0BE49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5317" y="422444"/>
            <a:ext cx="7815651" cy="1080120"/>
          </a:xfrm>
        </p:spPr>
        <p:txBody>
          <a:bodyPr vert="horz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03132943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ic Colour 3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: Shape 7">
            <a:extLst>
              <a:ext uri="{FF2B5EF4-FFF2-40B4-BE49-F238E27FC236}">
                <a16:creationId xmlns:a16="http://schemas.microsoft.com/office/drawing/2014/main" id="{CBAB13E4-51C6-8C99-374B-F7E519DC07EA}"/>
              </a:ext>
            </a:extLst>
          </p:cNvPr>
          <p:cNvSpPr/>
          <p:nvPr userDrawn="1"/>
        </p:nvSpPr>
        <p:spPr>
          <a:xfrm>
            <a:off x="3842930" y="0"/>
            <a:ext cx="8349070" cy="6841154"/>
          </a:xfrm>
          <a:custGeom>
            <a:avLst/>
            <a:gdLst>
              <a:gd name="connsiteX0" fmla="*/ 6977688 w 8349070"/>
              <a:gd name="connsiteY0" fmla="*/ 0 h 6841154"/>
              <a:gd name="connsiteX1" fmla="*/ 8349070 w 8349070"/>
              <a:gd name="connsiteY1" fmla="*/ 0 h 6841154"/>
              <a:gd name="connsiteX2" fmla="*/ 8349070 w 8349070"/>
              <a:gd name="connsiteY2" fmla="*/ 5402533 h 6841154"/>
              <a:gd name="connsiteX3" fmla="*/ 6851859 w 8349070"/>
              <a:gd name="connsiteY3" fmla="*/ 6841154 h 6841154"/>
              <a:gd name="connsiteX4" fmla="*/ 0 w 8349070"/>
              <a:gd name="connsiteY4" fmla="*/ 6841154 h 6841154"/>
              <a:gd name="connsiteX5" fmla="*/ 55230 w 8349070"/>
              <a:gd name="connsiteY5" fmla="*/ 6746876 h 6841154"/>
              <a:gd name="connsiteX6" fmla="*/ 334016 w 8349070"/>
              <a:gd name="connsiteY6" fmla="*/ 6400901 h 68411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349070" h="6841154">
                <a:moveTo>
                  <a:pt x="6977688" y="0"/>
                </a:moveTo>
                <a:lnTo>
                  <a:pt x="8349070" y="0"/>
                </a:lnTo>
                <a:lnTo>
                  <a:pt x="8349070" y="5402533"/>
                </a:lnTo>
                <a:lnTo>
                  <a:pt x="6851859" y="6841154"/>
                </a:lnTo>
                <a:lnTo>
                  <a:pt x="0" y="6841154"/>
                </a:lnTo>
                <a:lnTo>
                  <a:pt x="55230" y="6746876"/>
                </a:lnTo>
                <a:cubicBezTo>
                  <a:pt x="141126" y="6614317"/>
                  <a:pt x="235379" y="6495995"/>
                  <a:pt x="334016" y="6400901"/>
                </a:cubicBezTo>
                <a:close/>
              </a:path>
            </a:pathLst>
          </a:custGeom>
          <a:solidFill>
            <a:srgbClr val="009BA4">
              <a:alpha val="40000"/>
            </a:srgbClr>
          </a:solidFill>
          <a:ln w="4630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703AE73-0813-1AD7-3E72-C71BFF01092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3DB84476-BC29-4407-9D57-B2E562B8968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7" name="Title 11">
            <a:extLst>
              <a:ext uri="{FF2B5EF4-FFF2-40B4-BE49-F238E27FC236}">
                <a16:creationId xmlns:a16="http://schemas.microsoft.com/office/drawing/2014/main" id="{8D165B35-791B-F74A-B5BD-15E5DF79CF1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5317" y="422444"/>
            <a:ext cx="7815651" cy="1080120"/>
          </a:xfrm>
        </p:spPr>
        <p:txBody>
          <a:bodyPr vert="horz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2703197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ic Colour 4">
    <p:bg>
      <p:bgPr>
        <a:solidFill>
          <a:srgbClr val="00A070">
            <a:alpha val="30000"/>
          </a:srgb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: Shape 7">
            <a:extLst>
              <a:ext uri="{FF2B5EF4-FFF2-40B4-BE49-F238E27FC236}">
                <a16:creationId xmlns:a16="http://schemas.microsoft.com/office/drawing/2014/main" id="{CBAB13E4-51C6-8C99-374B-F7E519DC07EA}"/>
              </a:ext>
            </a:extLst>
          </p:cNvPr>
          <p:cNvSpPr/>
          <p:nvPr userDrawn="1"/>
        </p:nvSpPr>
        <p:spPr>
          <a:xfrm>
            <a:off x="3842930" y="0"/>
            <a:ext cx="8349070" cy="6841154"/>
          </a:xfrm>
          <a:custGeom>
            <a:avLst/>
            <a:gdLst>
              <a:gd name="connsiteX0" fmla="*/ 6977688 w 8349070"/>
              <a:gd name="connsiteY0" fmla="*/ 0 h 6841154"/>
              <a:gd name="connsiteX1" fmla="*/ 8349070 w 8349070"/>
              <a:gd name="connsiteY1" fmla="*/ 0 h 6841154"/>
              <a:gd name="connsiteX2" fmla="*/ 8349070 w 8349070"/>
              <a:gd name="connsiteY2" fmla="*/ 5402533 h 6841154"/>
              <a:gd name="connsiteX3" fmla="*/ 6851859 w 8349070"/>
              <a:gd name="connsiteY3" fmla="*/ 6841154 h 6841154"/>
              <a:gd name="connsiteX4" fmla="*/ 0 w 8349070"/>
              <a:gd name="connsiteY4" fmla="*/ 6841154 h 6841154"/>
              <a:gd name="connsiteX5" fmla="*/ 55230 w 8349070"/>
              <a:gd name="connsiteY5" fmla="*/ 6746876 h 6841154"/>
              <a:gd name="connsiteX6" fmla="*/ 334016 w 8349070"/>
              <a:gd name="connsiteY6" fmla="*/ 6400901 h 68411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349070" h="6841154">
                <a:moveTo>
                  <a:pt x="6977688" y="0"/>
                </a:moveTo>
                <a:lnTo>
                  <a:pt x="8349070" y="0"/>
                </a:lnTo>
                <a:lnTo>
                  <a:pt x="8349070" y="5402533"/>
                </a:lnTo>
                <a:lnTo>
                  <a:pt x="6851859" y="6841154"/>
                </a:lnTo>
                <a:lnTo>
                  <a:pt x="0" y="6841154"/>
                </a:lnTo>
                <a:lnTo>
                  <a:pt x="55230" y="6746876"/>
                </a:lnTo>
                <a:cubicBezTo>
                  <a:pt x="141126" y="6614317"/>
                  <a:pt x="235379" y="6495995"/>
                  <a:pt x="334016" y="6400901"/>
                </a:cubicBezTo>
                <a:close/>
              </a:path>
            </a:pathLst>
          </a:custGeom>
          <a:solidFill>
            <a:schemeClr val="bg1">
              <a:alpha val="50000"/>
            </a:schemeClr>
          </a:solidFill>
          <a:ln w="4630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703AE73-0813-1AD7-3E72-C71BFF01092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3DB84476-BC29-4407-9D57-B2E562B8968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5" name="Title 11">
            <a:extLst>
              <a:ext uri="{FF2B5EF4-FFF2-40B4-BE49-F238E27FC236}">
                <a16:creationId xmlns:a16="http://schemas.microsoft.com/office/drawing/2014/main" id="{E47DAE63-DEA0-E46F-C169-4404F2E294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5317" y="422444"/>
            <a:ext cx="7815651" cy="1080120"/>
          </a:xfrm>
        </p:spPr>
        <p:txBody>
          <a:bodyPr vert="horz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25979592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2">
    <p:bg>
      <p:bgPr>
        <a:solidFill>
          <a:srgbClr val="750D6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2FCA15A6-5D9D-7EB0-7EAB-66136DC09318}"/>
              </a:ext>
            </a:extLst>
          </p:cNvPr>
          <p:cNvSpPr/>
          <p:nvPr userDrawn="1"/>
        </p:nvSpPr>
        <p:spPr>
          <a:xfrm>
            <a:off x="4670361" y="334156"/>
            <a:ext cx="6168665" cy="6506999"/>
          </a:xfrm>
          <a:custGeom>
            <a:avLst/>
            <a:gdLst>
              <a:gd name="connsiteX0" fmla="*/ 5982236 w 6168665"/>
              <a:gd name="connsiteY0" fmla="*/ 55 h 6506999"/>
              <a:gd name="connsiteX1" fmla="*/ 6168665 w 6168665"/>
              <a:gd name="connsiteY1" fmla="*/ 307414 h 6506999"/>
              <a:gd name="connsiteX2" fmla="*/ 6168665 w 6168665"/>
              <a:gd name="connsiteY2" fmla="*/ 3114034 h 6506999"/>
              <a:gd name="connsiteX3" fmla="*/ 5745199 w 6168665"/>
              <a:gd name="connsiteY3" fmla="*/ 4108249 h 6506999"/>
              <a:gd name="connsiteX4" fmla="*/ 3248756 w 6168665"/>
              <a:gd name="connsiteY4" fmla="*/ 6506999 h 6506999"/>
              <a:gd name="connsiteX5" fmla="*/ 0 w 6168665"/>
              <a:gd name="connsiteY5" fmla="*/ 6506999 h 6506999"/>
              <a:gd name="connsiteX6" fmla="*/ 1037 w 6168665"/>
              <a:gd name="connsiteY6" fmla="*/ 6246740 h 6506999"/>
              <a:gd name="connsiteX7" fmla="*/ 426494 w 6168665"/>
              <a:gd name="connsiteY7" fmla="*/ 5252136 h 6506999"/>
              <a:gd name="connsiteX8" fmla="*/ 5745595 w 6168665"/>
              <a:gd name="connsiteY8" fmla="*/ 127404 h 6506999"/>
              <a:gd name="connsiteX9" fmla="*/ 5982236 w 6168665"/>
              <a:gd name="connsiteY9" fmla="*/ 55 h 6506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168665" h="6506999">
                <a:moveTo>
                  <a:pt x="5982236" y="55"/>
                </a:moveTo>
                <a:cubicBezTo>
                  <a:pt x="6094763" y="-2782"/>
                  <a:pt x="6168665" y="104606"/>
                  <a:pt x="6168665" y="307414"/>
                </a:cubicBezTo>
                <a:lnTo>
                  <a:pt x="6168665" y="3114034"/>
                </a:lnTo>
                <a:cubicBezTo>
                  <a:pt x="6168665" y="3438526"/>
                  <a:pt x="5979079" y="3883540"/>
                  <a:pt x="5745199" y="4108249"/>
                </a:cubicBezTo>
                <a:lnTo>
                  <a:pt x="3248756" y="6506999"/>
                </a:lnTo>
                <a:lnTo>
                  <a:pt x="0" y="6506999"/>
                </a:lnTo>
                <a:lnTo>
                  <a:pt x="1037" y="6246740"/>
                </a:lnTo>
                <a:cubicBezTo>
                  <a:pt x="1037" y="5922256"/>
                  <a:pt x="193010" y="5477233"/>
                  <a:pt x="426494" y="5252136"/>
                </a:cubicBezTo>
                <a:lnTo>
                  <a:pt x="5745595" y="127404"/>
                </a:lnTo>
                <a:cubicBezTo>
                  <a:pt x="5833300" y="43141"/>
                  <a:pt x="5914720" y="1758"/>
                  <a:pt x="5982236" y="55"/>
                </a:cubicBezTo>
                <a:close/>
              </a:path>
            </a:pathLst>
          </a:custGeom>
          <a:solidFill>
            <a:srgbClr val="00A070">
              <a:alpha val="76000"/>
            </a:srgbClr>
          </a:solidFill>
          <a:ln w="4630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703AE73-0813-1AD7-3E72-C71BFF01092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DB84476-BC29-4407-9D57-B2E562B8968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2E0AC103-BF79-BBD4-4F66-81534E3E49E0}"/>
              </a:ext>
            </a:extLst>
          </p:cNvPr>
          <p:cNvSpPr/>
          <p:nvPr userDrawn="1"/>
        </p:nvSpPr>
        <p:spPr>
          <a:xfrm>
            <a:off x="7104112" y="855869"/>
            <a:ext cx="2174700" cy="3294723"/>
          </a:xfrm>
          <a:custGeom>
            <a:avLst/>
            <a:gdLst>
              <a:gd name="connsiteX0" fmla="*/ 1805 w 716872"/>
              <a:gd name="connsiteY0" fmla="*/ 724844 h 1086078"/>
              <a:gd name="connsiteX1" fmla="*/ 51167 w 716872"/>
              <a:gd name="connsiteY1" fmla="*/ 609449 h 1086078"/>
              <a:gd name="connsiteX2" fmla="*/ 668295 w 716872"/>
              <a:gd name="connsiteY2" fmla="*/ 14872 h 1086078"/>
              <a:gd name="connsiteX3" fmla="*/ 717380 w 716872"/>
              <a:gd name="connsiteY3" fmla="*/ 35757 h 1086078"/>
              <a:gd name="connsiteX4" fmla="*/ 717380 w 716872"/>
              <a:gd name="connsiteY4" fmla="*/ 361384 h 1086078"/>
              <a:gd name="connsiteX5" fmla="*/ 668249 w 716872"/>
              <a:gd name="connsiteY5" fmla="*/ 476734 h 1086078"/>
              <a:gd name="connsiteX6" fmla="*/ 49361 w 716872"/>
              <a:gd name="connsiteY6" fmla="*/ 1071403 h 1086078"/>
              <a:gd name="connsiteX7" fmla="*/ 508 w 716872"/>
              <a:gd name="connsiteY7" fmla="*/ 1050472 h 1086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16872" h="1086078">
                <a:moveTo>
                  <a:pt x="1805" y="724844"/>
                </a:moveTo>
                <a:cubicBezTo>
                  <a:pt x="1805" y="687197"/>
                  <a:pt x="24078" y="635565"/>
                  <a:pt x="51167" y="609449"/>
                </a:cubicBezTo>
                <a:lnTo>
                  <a:pt x="668295" y="14872"/>
                </a:lnTo>
                <a:cubicBezTo>
                  <a:pt x="695430" y="-11198"/>
                  <a:pt x="717380" y="-1891"/>
                  <a:pt x="717380" y="35757"/>
                </a:cubicBezTo>
                <a:lnTo>
                  <a:pt x="717380" y="361384"/>
                </a:lnTo>
                <a:cubicBezTo>
                  <a:pt x="717380" y="399032"/>
                  <a:pt x="695384" y="450663"/>
                  <a:pt x="668249" y="476734"/>
                </a:cubicBezTo>
                <a:lnTo>
                  <a:pt x="49361" y="1071403"/>
                </a:lnTo>
                <a:cubicBezTo>
                  <a:pt x="22226" y="1097473"/>
                  <a:pt x="369" y="1088119"/>
                  <a:pt x="508" y="1050472"/>
                </a:cubicBezTo>
                <a:close/>
              </a:path>
            </a:pathLst>
          </a:custGeom>
          <a:solidFill>
            <a:srgbClr val="E9473D">
              <a:alpha val="45000"/>
            </a:srgbClr>
          </a:solidFill>
          <a:ln w="4630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88753DF1-4BC3-4EAD-9B6F-2E71E9BC65EF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-13402"/>
            <a:ext cx="9048328" cy="6871402"/>
          </a:xfrm>
          <a:custGeom>
            <a:avLst/>
            <a:gdLst>
              <a:gd name="connsiteX0" fmla="*/ 1078275 w 8986314"/>
              <a:gd name="connsiteY0" fmla="*/ 0 h 6824308"/>
              <a:gd name="connsiteX1" fmla="*/ 8986314 w 8986314"/>
              <a:gd name="connsiteY1" fmla="*/ 0 h 6824308"/>
              <a:gd name="connsiteX2" fmla="*/ 8885776 w 8986314"/>
              <a:gd name="connsiteY2" fmla="*/ 211633 h 6824308"/>
              <a:gd name="connsiteX3" fmla="*/ 8413938 w 8986314"/>
              <a:gd name="connsiteY3" fmla="*/ 864817 h 6824308"/>
              <a:gd name="connsiteX4" fmla="*/ 2211738 w 8986314"/>
              <a:gd name="connsiteY4" fmla="*/ 6824308 h 6824308"/>
              <a:gd name="connsiteX5" fmla="*/ 0 w 8986314"/>
              <a:gd name="connsiteY5" fmla="*/ 6824308 h 6824308"/>
              <a:gd name="connsiteX6" fmla="*/ 0 w 8986314"/>
              <a:gd name="connsiteY6" fmla="*/ 1038873 h 68243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986314" h="6824308">
                <a:moveTo>
                  <a:pt x="1078275" y="0"/>
                </a:moveTo>
                <a:lnTo>
                  <a:pt x="8986314" y="0"/>
                </a:lnTo>
                <a:lnTo>
                  <a:pt x="8885776" y="211633"/>
                </a:lnTo>
                <a:cubicBezTo>
                  <a:pt x="8751089" y="467221"/>
                  <a:pt x="8588720" y="696889"/>
                  <a:pt x="8413938" y="864817"/>
                </a:cubicBezTo>
                <a:lnTo>
                  <a:pt x="2211738" y="6824308"/>
                </a:lnTo>
                <a:lnTo>
                  <a:pt x="0" y="6824308"/>
                </a:lnTo>
                <a:lnTo>
                  <a:pt x="0" y="1038873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algn="ctr">
              <a:defRPr sz="1200" b="0"/>
            </a:lvl1pPr>
          </a:lstStyle>
          <a:p>
            <a:endParaRPr lang="en-GB"/>
          </a:p>
        </p:txBody>
      </p:sp>
      <p:sp>
        <p:nvSpPr>
          <p:cNvPr id="18" name="Text Placeholder 16">
            <a:extLst>
              <a:ext uri="{FF2B5EF4-FFF2-40B4-BE49-F238E27FC236}">
                <a16:creationId xmlns:a16="http://schemas.microsoft.com/office/drawing/2014/main" id="{5A6D1114-3527-E0DC-8823-3465CE4FEEB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23890" y="2636913"/>
            <a:ext cx="10944222" cy="1584176"/>
          </a:xfrm>
        </p:spPr>
        <p:txBody>
          <a:bodyPr anchor="ctr">
            <a:noAutofit/>
          </a:bodyPr>
          <a:lstStyle>
            <a:lvl1pPr algn="ctr">
              <a:defRPr sz="6600">
                <a:solidFill>
                  <a:schemeClr val="bg1"/>
                </a:solidFill>
              </a:defRPr>
            </a:lvl1pPr>
            <a:lvl2pPr algn="ctr">
              <a:defRPr sz="8000" b="1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1"/>
            <a:r>
              <a:rPr lang="en-US"/>
              <a:t>Enter title here</a:t>
            </a:r>
            <a:endParaRPr lang="en-GB"/>
          </a:p>
        </p:txBody>
      </p:sp>
      <p:sp>
        <p:nvSpPr>
          <p:cNvPr id="121" name="Text Placeholder 120">
            <a:extLst>
              <a:ext uri="{FF2B5EF4-FFF2-40B4-BE49-F238E27FC236}">
                <a16:creationId xmlns:a16="http://schemas.microsoft.com/office/drawing/2014/main" id="{CC9B63C1-5D83-8FAB-57CF-FDDC4C7A470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669672" y="1197179"/>
            <a:ext cx="3374582" cy="5112571"/>
          </a:xfrm>
          <a:custGeom>
            <a:avLst/>
            <a:gdLst>
              <a:gd name="connsiteX0" fmla="*/ 101819 w 3374582"/>
              <a:gd name="connsiteY0" fmla="*/ 30 h 5112571"/>
              <a:gd name="connsiteX1" fmla="*/ 231061 w 3374582"/>
              <a:gd name="connsiteY1" fmla="*/ 69582 h 5112571"/>
              <a:gd name="connsiteX2" fmla="*/ 3136108 w 3374582"/>
              <a:gd name="connsiteY2" fmla="*/ 2868474 h 5112571"/>
              <a:gd name="connsiteX3" fmla="*/ 3368473 w 3374582"/>
              <a:gd name="connsiteY3" fmla="*/ 3411681 h 5112571"/>
              <a:gd name="connsiteX4" fmla="*/ 3374579 w 3374582"/>
              <a:gd name="connsiteY4" fmla="*/ 4944532 h 5112571"/>
              <a:gd name="connsiteX5" fmla="*/ 3144610 w 3374582"/>
              <a:gd name="connsiteY5" fmla="*/ 5043062 h 5112571"/>
              <a:gd name="connsiteX6" fmla="*/ 231277 w 3374582"/>
              <a:gd name="connsiteY6" fmla="*/ 2243736 h 5112571"/>
              <a:gd name="connsiteX7" fmla="*/ 0 w 3374582"/>
              <a:gd name="connsiteY7" fmla="*/ 1700741 h 5112571"/>
              <a:gd name="connsiteX8" fmla="*/ 0 w 3374582"/>
              <a:gd name="connsiteY8" fmla="*/ 167895 h 5112571"/>
              <a:gd name="connsiteX9" fmla="*/ 101819 w 3374582"/>
              <a:gd name="connsiteY9" fmla="*/ 30 h 51125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374582" h="5112571">
                <a:moveTo>
                  <a:pt x="101819" y="30"/>
                </a:moveTo>
                <a:cubicBezTo>
                  <a:pt x="138693" y="960"/>
                  <a:pt x="183161" y="23562"/>
                  <a:pt x="231061" y="69582"/>
                </a:cubicBezTo>
                <a:lnTo>
                  <a:pt x="3136108" y="2868474"/>
                </a:lnTo>
                <a:cubicBezTo>
                  <a:pt x="3263626" y="2991412"/>
                  <a:pt x="3368473" y="3234463"/>
                  <a:pt x="3368473" y="3411681"/>
                </a:cubicBezTo>
                <a:lnTo>
                  <a:pt x="3374579" y="4944532"/>
                </a:lnTo>
                <a:cubicBezTo>
                  <a:pt x="3375233" y="5121750"/>
                  <a:pt x="3272344" y="5165783"/>
                  <a:pt x="3144610" y="5043062"/>
                </a:cubicBezTo>
                <a:lnTo>
                  <a:pt x="231277" y="2243736"/>
                </a:lnTo>
                <a:cubicBezTo>
                  <a:pt x="103543" y="2121010"/>
                  <a:pt x="0" y="1877964"/>
                  <a:pt x="0" y="1700741"/>
                </a:cubicBezTo>
                <a:lnTo>
                  <a:pt x="0" y="167895"/>
                </a:lnTo>
                <a:cubicBezTo>
                  <a:pt x="0" y="57131"/>
                  <a:pt x="40362" y="-1519"/>
                  <a:pt x="101819" y="30"/>
                </a:cubicBezTo>
                <a:close/>
              </a:path>
            </a:pathLst>
          </a:custGeom>
          <a:solidFill>
            <a:schemeClr val="accent4">
              <a:alpha val="30000"/>
            </a:schemeClr>
          </a:solidFill>
        </p:spPr>
        <p:txBody>
          <a:bodyPr wrap="square" anchor="ctr">
            <a:noAutofit/>
          </a:bodyPr>
          <a:lstStyle>
            <a:lvl1pPr algn="ctr">
              <a:defRPr sz="100">
                <a:solidFill>
                  <a:schemeClr val="accent4">
                    <a:alpha val="0"/>
                  </a:schemeClr>
                </a:solidFill>
              </a:defRPr>
            </a:lvl1pPr>
          </a:lstStyle>
          <a:p>
            <a:pPr lvl="0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5357150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decel="10000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1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8" decel="10000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2" decel="10000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1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121">
                                            <p:bg/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121">
                                            <p:bg/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2" presetClass="entr" presetSubtype="2" decel="100000" fill="hold" grpId="0" nodeType="withEffect" nodePh="1">
                                  <p:stCondLst>
                                    <p:cond delay="500"/>
                                  </p:stCondLst>
                                  <p:endCondLst>
                                    <p:cond evt="begin" delay="0">
                                      <p:tn val="21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1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1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1250"/>
                            </p:stCondLst>
                            <p:childTnLst>
                              <p:par>
                                <p:cTn id="26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iterate type="lt">
                                    <p:tmPct val="5000"/>
                                  </p:iterate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animBg="1"/>
      <p:bldP spid="13" grpId="0" animBg="1"/>
      <p:bldP spid="16" grpId="0" animBg="1"/>
      <p:bldP spid="18" grpId="0" build="p"/>
      <p:bldP spid="121" grpId="0" build="p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121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121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  <p:tmpl lvl="1">
            <p:tnLst>
              <p:par>
                <p:cTn presetID="2" presetClass="entr" presetSubtype="2" decel="100000" fill="hold" nodeType="withEffect" nodePh="1">
                  <p:stCondLst>
                    <p:cond delay="500"/>
                  </p:stCondLst>
                  <p:endCondLst>
                    <p:cond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121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121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</p:bld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1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7" name="Text Placeholder 146">
            <a:extLst>
              <a:ext uri="{FF2B5EF4-FFF2-40B4-BE49-F238E27FC236}">
                <a16:creationId xmlns:a16="http://schemas.microsoft.com/office/drawing/2014/main" id="{AA7C710D-8E47-E3A8-2CF9-60EA5688C40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884353" y="0"/>
            <a:ext cx="8307649" cy="6858000"/>
          </a:xfrm>
          <a:custGeom>
            <a:avLst/>
            <a:gdLst>
              <a:gd name="connsiteX0" fmla="*/ 5698023 w 8307649"/>
              <a:gd name="connsiteY0" fmla="*/ 0 h 6858000"/>
              <a:gd name="connsiteX1" fmla="*/ 8307649 w 8307649"/>
              <a:gd name="connsiteY1" fmla="*/ 0 h 6858000"/>
              <a:gd name="connsiteX2" fmla="*/ 8307649 w 8307649"/>
              <a:gd name="connsiteY2" fmla="*/ 3284129 h 6858000"/>
              <a:gd name="connsiteX3" fmla="*/ 4588225 w 8307649"/>
              <a:gd name="connsiteY3" fmla="*/ 6858000 h 6858000"/>
              <a:gd name="connsiteX4" fmla="*/ 0 w 8307649"/>
              <a:gd name="connsiteY4" fmla="*/ 6858000 h 6858000"/>
              <a:gd name="connsiteX5" fmla="*/ 2065 w 8307649"/>
              <a:gd name="connsiteY5" fmla="*/ 6339573 h 6858000"/>
              <a:gd name="connsiteX6" fmla="*/ 621851 w 8307649"/>
              <a:gd name="connsiteY6" fmla="*/ 4890681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307649" h="6858000">
                <a:moveTo>
                  <a:pt x="5698023" y="0"/>
                </a:moveTo>
                <a:lnTo>
                  <a:pt x="8307649" y="0"/>
                </a:lnTo>
                <a:lnTo>
                  <a:pt x="8307649" y="3284129"/>
                </a:lnTo>
                <a:lnTo>
                  <a:pt x="4588225" y="6858000"/>
                </a:lnTo>
                <a:lnTo>
                  <a:pt x="0" y="6858000"/>
                </a:lnTo>
                <a:lnTo>
                  <a:pt x="2065" y="6339573"/>
                </a:lnTo>
                <a:cubicBezTo>
                  <a:pt x="2065" y="5866880"/>
                  <a:pt x="281723" y="5218592"/>
                  <a:pt x="621851" y="4890681"/>
                </a:cubicBezTo>
                <a:close/>
              </a:path>
            </a:pathLst>
          </a:custGeom>
          <a:solidFill>
            <a:schemeClr val="accent2">
              <a:alpha val="10000"/>
            </a:schemeClr>
          </a:solidFill>
        </p:spPr>
        <p:txBody>
          <a:bodyPr wrap="square" anchor="ctr">
            <a:noAutofit/>
          </a:bodyPr>
          <a:lstStyle>
            <a:lvl1pPr algn="ctr">
              <a:defRPr sz="100">
                <a:solidFill>
                  <a:schemeClr val="accent2">
                    <a:alpha val="0"/>
                  </a:schemeClr>
                </a:solidFill>
              </a:defRPr>
            </a:lvl1pPr>
          </a:lstStyle>
          <a:p>
            <a:pPr lvl="0"/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703AE73-0813-1AD7-3E72-C71BFF01092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DB84476-BC29-4407-9D57-B2E562B8968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BAC155FC-D973-D576-838C-25A1E227425B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9050553" y="0"/>
            <a:ext cx="2566530" cy="2324996"/>
          </a:xfrm>
          <a:custGeom>
            <a:avLst/>
            <a:gdLst>
              <a:gd name="connsiteX0" fmla="*/ 465501 w 2566530"/>
              <a:gd name="connsiteY0" fmla="*/ 0 h 2324996"/>
              <a:gd name="connsiteX1" fmla="*/ 2566530 w 2566530"/>
              <a:gd name="connsiteY1" fmla="*/ 0 h 2324996"/>
              <a:gd name="connsiteX2" fmla="*/ 214236 w 2566530"/>
              <a:gd name="connsiteY2" fmla="*/ 2260243 h 2324996"/>
              <a:gd name="connsiteX3" fmla="*/ 3 w 2566530"/>
              <a:gd name="connsiteY3" fmla="*/ 2168455 h 2324996"/>
              <a:gd name="connsiteX4" fmla="*/ 5690 w 2566530"/>
              <a:gd name="connsiteY4" fmla="*/ 740490 h 2324996"/>
              <a:gd name="connsiteX5" fmla="*/ 222156 w 2566530"/>
              <a:gd name="connsiteY5" fmla="*/ 234452 h 23249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566530" h="2324996">
                <a:moveTo>
                  <a:pt x="465501" y="0"/>
                </a:moveTo>
                <a:lnTo>
                  <a:pt x="2566530" y="0"/>
                </a:lnTo>
                <a:lnTo>
                  <a:pt x="214236" y="2260243"/>
                </a:lnTo>
                <a:cubicBezTo>
                  <a:pt x="95242" y="2374566"/>
                  <a:pt x="-607" y="2333547"/>
                  <a:pt x="3" y="2168455"/>
                </a:cubicBezTo>
                <a:lnTo>
                  <a:pt x="5690" y="740490"/>
                </a:lnTo>
                <a:cubicBezTo>
                  <a:pt x="5690" y="575398"/>
                  <a:pt x="103363" y="348978"/>
                  <a:pt x="222156" y="234452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algn="ctr">
              <a:defRPr sz="1200" b="0"/>
            </a:lvl1pPr>
          </a:lstStyle>
          <a:p>
            <a:endParaRPr lang="en-GB"/>
          </a:p>
        </p:txBody>
      </p:sp>
      <p:sp>
        <p:nvSpPr>
          <p:cNvPr id="25" name="Picture Placeholder 24">
            <a:extLst>
              <a:ext uri="{FF2B5EF4-FFF2-40B4-BE49-F238E27FC236}">
                <a16:creationId xmlns:a16="http://schemas.microsoft.com/office/drawing/2014/main" id="{394AD9BD-C5AB-9506-5096-F88CE0F314D3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10850755" y="1"/>
            <a:ext cx="1341247" cy="2863547"/>
          </a:xfrm>
          <a:custGeom>
            <a:avLst/>
            <a:gdLst>
              <a:gd name="connsiteX0" fmla="*/ 1024478 w 1341247"/>
              <a:gd name="connsiteY0" fmla="*/ 0 h 2863547"/>
              <a:gd name="connsiteX1" fmla="*/ 1341247 w 1341247"/>
              <a:gd name="connsiteY1" fmla="*/ 0 h 2863547"/>
              <a:gd name="connsiteX2" fmla="*/ 1341247 w 1341247"/>
              <a:gd name="connsiteY2" fmla="*/ 1715886 h 2863547"/>
              <a:gd name="connsiteX3" fmla="*/ 214236 w 1341247"/>
              <a:gd name="connsiteY3" fmla="*/ 2798794 h 2863547"/>
              <a:gd name="connsiteX4" fmla="*/ 3 w 1341247"/>
              <a:gd name="connsiteY4" fmla="*/ 2707006 h 2863547"/>
              <a:gd name="connsiteX5" fmla="*/ 5690 w 1341247"/>
              <a:gd name="connsiteY5" fmla="*/ 1279041 h 2863547"/>
              <a:gd name="connsiteX6" fmla="*/ 222156 w 1341247"/>
              <a:gd name="connsiteY6" fmla="*/ 773003 h 28635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41247" h="2863547">
                <a:moveTo>
                  <a:pt x="1024478" y="0"/>
                </a:moveTo>
                <a:lnTo>
                  <a:pt x="1341247" y="0"/>
                </a:lnTo>
                <a:lnTo>
                  <a:pt x="1341247" y="1715886"/>
                </a:lnTo>
                <a:lnTo>
                  <a:pt x="214236" y="2798794"/>
                </a:lnTo>
                <a:cubicBezTo>
                  <a:pt x="95242" y="2913117"/>
                  <a:pt x="-607" y="2872098"/>
                  <a:pt x="3" y="2707006"/>
                </a:cubicBezTo>
                <a:lnTo>
                  <a:pt x="5690" y="1279041"/>
                </a:lnTo>
                <a:cubicBezTo>
                  <a:pt x="5690" y="1113949"/>
                  <a:pt x="103363" y="887529"/>
                  <a:pt x="222156" y="773003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algn="ctr">
              <a:defRPr sz="1200" b="0"/>
            </a:lvl1pPr>
          </a:lstStyle>
          <a:p>
            <a:endParaRPr lang="en-GB"/>
          </a:p>
        </p:txBody>
      </p:sp>
      <p:sp>
        <p:nvSpPr>
          <p:cNvPr id="138" name="Content Placeholder 2">
            <a:extLst>
              <a:ext uri="{FF2B5EF4-FFF2-40B4-BE49-F238E27FC236}">
                <a16:creationId xmlns:a16="http://schemas.microsoft.com/office/drawing/2014/main" id="{023B6287-DC51-AA57-6722-056D2C79521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23888" y="3067997"/>
            <a:ext cx="5314076" cy="3169291"/>
          </a:xfrm>
        </p:spPr>
        <p:txBody>
          <a:bodyPr lIns="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9" name="Title 11">
            <a:extLst>
              <a:ext uri="{FF2B5EF4-FFF2-40B4-BE49-F238E27FC236}">
                <a16:creationId xmlns:a16="http://schemas.microsoft.com/office/drawing/2014/main" id="{34352D96-DF15-8E5E-F95D-12F952799A5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2457" y="1628800"/>
            <a:ext cx="6707679" cy="1080120"/>
          </a:xfr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41" name="Content Placeholder 2">
            <a:extLst>
              <a:ext uri="{FF2B5EF4-FFF2-40B4-BE49-F238E27FC236}">
                <a16:creationId xmlns:a16="http://schemas.microsoft.com/office/drawing/2014/main" id="{86A71CC3-65D1-A737-0BD6-AF9E0DD9F530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6254038" y="3067997"/>
            <a:ext cx="5314076" cy="3169291"/>
          </a:xfrm>
        </p:spPr>
        <p:txBody>
          <a:bodyPr lIns="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4" name="Text Placeholder 143">
            <a:extLst>
              <a:ext uri="{FF2B5EF4-FFF2-40B4-BE49-F238E27FC236}">
                <a16:creationId xmlns:a16="http://schemas.microsoft.com/office/drawing/2014/main" id="{510F25E8-1438-42EB-CE08-E53079A70AC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760934" y="1340101"/>
            <a:ext cx="4431067" cy="5517900"/>
          </a:xfrm>
          <a:custGeom>
            <a:avLst/>
            <a:gdLst>
              <a:gd name="connsiteX0" fmla="*/ 157026 w 4431067"/>
              <a:gd name="connsiteY0" fmla="*/ 43 h 5517900"/>
              <a:gd name="connsiteX1" fmla="*/ 357885 w 4431067"/>
              <a:gd name="connsiteY1" fmla="*/ 108172 h 5517900"/>
              <a:gd name="connsiteX2" fmla="*/ 4431067 w 4431067"/>
              <a:gd name="connsiteY2" fmla="*/ 4021958 h 5517900"/>
              <a:gd name="connsiteX3" fmla="*/ 4431067 w 4431067"/>
              <a:gd name="connsiteY3" fmla="*/ 5517900 h 5517900"/>
              <a:gd name="connsiteX4" fmla="*/ 2473557 w 4431067"/>
              <a:gd name="connsiteY4" fmla="*/ 5517900 h 5517900"/>
              <a:gd name="connsiteX5" fmla="*/ 371115 w 4431067"/>
              <a:gd name="connsiteY5" fmla="*/ 3492284 h 5517900"/>
              <a:gd name="connsiteX6" fmla="*/ 9506 w 4431067"/>
              <a:gd name="connsiteY6" fmla="*/ 2646941 h 5517900"/>
              <a:gd name="connsiteX7" fmla="*/ 5 w 4431067"/>
              <a:gd name="connsiteY7" fmla="*/ 261505 h 5517900"/>
              <a:gd name="connsiteX8" fmla="*/ 157026 w 4431067"/>
              <a:gd name="connsiteY8" fmla="*/ 43 h 55179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431067" h="5517900">
                <a:moveTo>
                  <a:pt x="157026" y="43"/>
                </a:moveTo>
                <a:cubicBezTo>
                  <a:pt x="214236" y="1430"/>
                  <a:pt x="283342" y="36555"/>
                  <a:pt x="357885" y="108172"/>
                </a:cubicBezTo>
                <a:lnTo>
                  <a:pt x="4431067" y="4021958"/>
                </a:lnTo>
                <a:lnTo>
                  <a:pt x="4431067" y="5517900"/>
                </a:lnTo>
                <a:lnTo>
                  <a:pt x="2473557" y="5517900"/>
                </a:lnTo>
                <a:lnTo>
                  <a:pt x="371115" y="3492284"/>
                </a:lnTo>
                <a:cubicBezTo>
                  <a:pt x="172670" y="3300968"/>
                  <a:pt x="9506" y="2922730"/>
                  <a:pt x="9506" y="2646941"/>
                </a:cubicBezTo>
                <a:lnTo>
                  <a:pt x="5" y="261505"/>
                </a:lnTo>
                <a:cubicBezTo>
                  <a:pt x="-632" y="89137"/>
                  <a:pt x="61675" y="-2268"/>
                  <a:pt x="157026" y="43"/>
                </a:cubicBezTo>
                <a:close/>
              </a:path>
            </a:pathLst>
          </a:custGeom>
          <a:solidFill>
            <a:srgbClr val="750D68">
              <a:alpha val="10000"/>
            </a:srgbClr>
          </a:solidFill>
        </p:spPr>
        <p:txBody>
          <a:bodyPr wrap="square" anchor="ctr">
            <a:noAutofit/>
          </a:bodyPr>
          <a:lstStyle>
            <a:lvl1pPr algn="ctr">
              <a:defRPr sz="100">
                <a:solidFill>
                  <a:srgbClr val="750D68">
                    <a:alpha val="0"/>
                  </a:srgbClr>
                </a:solidFill>
              </a:defRPr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0934705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Freeform: Shape 44">
            <a:extLst>
              <a:ext uri="{FF2B5EF4-FFF2-40B4-BE49-F238E27FC236}">
                <a16:creationId xmlns:a16="http://schemas.microsoft.com/office/drawing/2014/main" id="{16A59692-18AC-0E4A-B387-27824A2ADDF1}"/>
              </a:ext>
            </a:extLst>
          </p:cNvPr>
          <p:cNvSpPr/>
          <p:nvPr userDrawn="1"/>
        </p:nvSpPr>
        <p:spPr>
          <a:xfrm flipV="1">
            <a:off x="2553515" y="1903682"/>
            <a:ext cx="3400879" cy="4954318"/>
          </a:xfrm>
          <a:custGeom>
            <a:avLst/>
            <a:gdLst>
              <a:gd name="connsiteX0" fmla="*/ 101690 w 3400879"/>
              <a:gd name="connsiteY0" fmla="*/ 4954291 h 4954318"/>
              <a:gd name="connsiteX1" fmla="*/ 231765 w 3400879"/>
              <a:gd name="connsiteY1" fmla="*/ 4884267 h 4954318"/>
              <a:gd name="connsiteX2" fmla="*/ 3167799 w 3400879"/>
              <a:gd name="connsiteY2" fmla="*/ 2063128 h 4954318"/>
              <a:gd name="connsiteX3" fmla="*/ 3400879 w 3400879"/>
              <a:gd name="connsiteY3" fmla="*/ 1515903 h 4954318"/>
              <a:gd name="connsiteX4" fmla="*/ 3400879 w 3400879"/>
              <a:gd name="connsiteY4" fmla="*/ 0 h 4954318"/>
              <a:gd name="connsiteX5" fmla="*/ 3035197 w 3400879"/>
              <a:gd name="connsiteY5" fmla="*/ 0 h 4954318"/>
              <a:gd name="connsiteX6" fmla="*/ 240333 w 3400879"/>
              <a:gd name="connsiteY6" fmla="*/ 2692735 h 4954318"/>
              <a:gd name="connsiteX7" fmla="*/ 6157 w 3400879"/>
              <a:gd name="connsiteY7" fmla="*/ 3240174 h 4954318"/>
              <a:gd name="connsiteX8" fmla="*/ 4 w 3400879"/>
              <a:gd name="connsiteY8" fmla="*/ 4784970 h 4954318"/>
              <a:gd name="connsiteX9" fmla="*/ 101690 w 3400879"/>
              <a:gd name="connsiteY9" fmla="*/ 4954291 h 49543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400879" h="4954318">
                <a:moveTo>
                  <a:pt x="101690" y="4954291"/>
                </a:moveTo>
                <a:cubicBezTo>
                  <a:pt x="138739" y="4953393"/>
                  <a:pt x="183492" y="4930646"/>
                  <a:pt x="231765" y="4884267"/>
                </a:cubicBezTo>
                <a:lnTo>
                  <a:pt x="3167799" y="2063128"/>
                </a:lnTo>
                <a:cubicBezTo>
                  <a:pt x="3296529" y="1939446"/>
                  <a:pt x="3400879" y="1694506"/>
                  <a:pt x="3400879" y="1515903"/>
                </a:cubicBezTo>
                <a:lnTo>
                  <a:pt x="3400879" y="0"/>
                </a:lnTo>
                <a:lnTo>
                  <a:pt x="3035197" y="0"/>
                </a:lnTo>
                <a:lnTo>
                  <a:pt x="240333" y="2692735"/>
                </a:lnTo>
                <a:cubicBezTo>
                  <a:pt x="111821" y="2816630"/>
                  <a:pt x="6157" y="3061575"/>
                  <a:pt x="6157" y="3240174"/>
                </a:cubicBezTo>
                <a:lnTo>
                  <a:pt x="4" y="4784970"/>
                </a:lnTo>
                <a:cubicBezTo>
                  <a:pt x="-408" y="4896594"/>
                  <a:pt x="39942" y="4955787"/>
                  <a:pt x="101690" y="4954291"/>
                </a:cubicBezTo>
                <a:close/>
              </a:path>
            </a:pathLst>
          </a:custGeom>
          <a:solidFill>
            <a:srgbClr val="27257A">
              <a:alpha val="40000"/>
            </a:srgbClr>
          </a:solidFill>
          <a:ln w="4630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GB"/>
          </a:p>
        </p:txBody>
      </p:sp>
      <p:sp>
        <p:nvSpPr>
          <p:cNvPr id="46" name="Freeform: Shape 45">
            <a:extLst>
              <a:ext uri="{FF2B5EF4-FFF2-40B4-BE49-F238E27FC236}">
                <a16:creationId xmlns:a16="http://schemas.microsoft.com/office/drawing/2014/main" id="{9D84DB3B-EE16-75C2-709B-5045D24BD3D2}"/>
              </a:ext>
            </a:extLst>
          </p:cNvPr>
          <p:cNvSpPr/>
          <p:nvPr userDrawn="1"/>
        </p:nvSpPr>
        <p:spPr>
          <a:xfrm>
            <a:off x="469027" y="0"/>
            <a:ext cx="7499182" cy="6858000"/>
          </a:xfrm>
          <a:custGeom>
            <a:avLst/>
            <a:gdLst>
              <a:gd name="connsiteX0" fmla="*/ 6872385 w 7503995"/>
              <a:gd name="connsiteY0" fmla="*/ 0 h 6845197"/>
              <a:gd name="connsiteX1" fmla="*/ 7494744 w 7503995"/>
              <a:gd name="connsiteY1" fmla="*/ 0 h 6845197"/>
              <a:gd name="connsiteX2" fmla="*/ 7499783 w 7503995"/>
              <a:gd name="connsiteY2" fmla="*/ 31741 h 6845197"/>
              <a:gd name="connsiteX3" fmla="*/ 7503995 w 7503995"/>
              <a:gd name="connsiteY3" fmla="*/ 120512 h 6845197"/>
              <a:gd name="connsiteX4" fmla="*/ 7503995 w 7503995"/>
              <a:gd name="connsiteY4" fmla="*/ 3602593 h 6845197"/>
              <a:gd name="connsiteX5" fmla="*/ 6978614 w 7503995"/>
              <a:gd name="connsiteY5" fmla="*/ 4836084 h 6845197"/>
              <a:gd name="connsiteX6" fmla="*/ 4887676 w 7503995"/>
              <a:gd name="connsiteY6" fmla="*/ 6845197 h 6845197"/>
              <a:gd name="connsiteX7" fmla="*/ 0 w 7503995"/>
              <a:gd name="connsiteY7" fmla="*/ 6845197 h 6845197"/>
              <a:gd name="connsiteX8" fmla="*/ 7318 w 7503995"/>
              <a:gd name="connsiteY8" fmla="*/ 6826013 h 6845197"/>
              <a:gd name="connsiteX9" fmla="*/ 379872 w 7503995"/>
              <a:gd name="connsiteY9" fmla="*/ 6255267 h 68451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7503995" h="6845197">
                <a:moveTo>
                  <a:pt x="6872385" y="0"/>
                </a:moveTo>
                <a:lnTo>
                  <a:pt x="7494744" y="0"/>
                </a:lnTo>
                <a:lnTo>
                  <a:pt x="7499783" y="31741"/>
                </a:lnTo>
                <a:cubicBezTo>
                  <a:pt x="7502563" y="59458"/>
                  <a:pt x="7503995" y="89060"/>
                  <a:pt x="7503995" y="120512"/>
                </a:cubicBezTo>
                <a:lnTo>
                  <a:pt x="7503995" y="3602593"/>
                </a:lnTo>
                <a:cubicBezTo>
                  <a:pt x="7503995" y="4005180"/>
                  <a:pt x="7268781" y="4557294"/>
                  <a:pt x="6978614" y="4836084"/>
                </a:cubicBezTo>
                <a:lnTo>
                  <a:pt x="4887676" y="6845197"/>
                </a:lnTo>
                <a:lnTo>
                  <a:pt x="0" y="6845197"/>
                </a:lnTo>
                <a:lnTo>
                  <a:pt x="7318" y="6826013"/>
                </a:lnTo>
                <a:cubicBezTo>
                  <a:pt x="103071" y="6602751"/>
                  <a:pt x="235034" y="6394902"/>
                  <a:pt x="379872" y="6255267"/>
                </a:cubicBezTo>
                <a:close/>
              </a:path>
            </a:pathLst>
          </a:custGeom>
          <a:solidFill>
            <a:srgbClr val="00A070">
              <a:alpha val="20000"/>
            </a:srgbClr>
          </a:solidFill>
          <a:ln w="4630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GB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C4FD3E1C-850C-C02D-1DB8-89F0D37B108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495870" y="251460"/>
            <a:ext cx="1283569" cy="1038860"/>
          </a:xfrm>
          <a:prstGeom prst="rect">
            <a:avLst/>
          </a:prstGeom>
        </p:spPr>
      </p:pic>
      <p:pic>
        <p:nvPicPr>
          <p:cNvPr id="8" name="Graphic 7">
            <a:extLst>
              <a:ext uri="{FF2B5EF4-FFF2-40B4-BE49-F238E27FC236}">
                <a16:creationId xmlns:a16="http://schemas.microsoft.com/office/drawing/2014/main" id="{D83698D8-7C67-8F6E-EA48-ECE24E092CC2}"/>
              </a:ext>
            </a:extLst>
          </p:cNvPr>
          <p:cNvPicPr>
            <a:picLocks noChangeAspect="1"/>
          </p:cNvPicPr>
          <p:nvPr userDrawn="1"/>
        </p:nvPicPr>
        <p:blipFill>
          <a:blip cstate="hq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27202" y="334561"/>
            <a:ext cx="1667613" cy="1007898"/>
          </a:xfrm>
          <a:prstGeom prst="rect">
            <a:avLst/>
          </a:prstGeom>
        </p:spPr>
      </p:pic>
      <p:sp>
        <p:nvSpPr>
          <p:cNvPr id="41" name="Freeform: Shape 40">
            <a:extLst>
              <a:ext uri="{FF2B5EF4-FFF2-40B4-BE49-F238E27FC236}">
                <a16:creationId xmlns:a16="http://schemas.microsoft.com/office/drawing/2014/main" id="{F76C648E-DF52-0BE6-F84E-068DC417EE92}"/>
              </a:ext>
            </a:extLst>
          </p:cNvPr>
          <p:cNvSpPr/>
          <p:nvPr userDrawn="1"/>
        </p:nvSpPr>
        <p:spPr>
          <a:xfrm>
            <a:off x="0" y="2853346"/>
            <a:ext cx="3001952" cy="4004655"/>
          </a:xfrm>
          <a:custGeom>
            <a:avLst/>
            <a:gdLst>
              <a:gd name="connsiteX0" fmla="*/ 2904183 w 3001952"/>
              <a:gd name="connsiteY0" fmla="*/ 29 h 4004655"/>
              <a:gd name="connsiteX1" fmla="*/ 3001952 w 3001952"/>
              <a:gd name="connsiteY1" fmla="*/ 161218 h 4004655"/>
              <a:gd name="connsiteX2" fmla="*/ 3001952 w 3001952"/>
              <a:gd name="connsiteY2" fmla="*/ 1633097 h 4004655"/>
              <a:gd name="connsiteX3" fmla="*/ 2779873 w 3001952"/>
              <a:gd name="connsiteY3" fmla="*/ 2154495 h 4004655"/>
              <a:gd name="connsiteX4" fmla="*/ 854363 w 3001952"/>
              <a:gd name="connsiteY4" fmla="*/ 4004655 h 4004655"/>
              <a:gd name="connsiteX5" fmla="*/ 0 w 3001952"/>
              <a:gd name="connsiteY5" fmla="*/ 4004655 h 4004655"/>
              <a:gd name="connsiteX6" fmla="*/ 0 w 3001952"/>
              <a:gd name="connsiteY6" fmla="*/ 2745307 h 4004655"/>
              <a:gd name="connsiteX7" fmla="*/ 2780081 w 3001952"/>
              <a:gd name="connsiteY7" fmla="*/ 66815 h 4004655"/>
              <a:gd name="connsiteX8" fmla="*/ 2904183 w 3001952"/>
              <a:gd name="connsiteY8" fmla="*/ 29 h 40046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001952" h="4004655">
                <a:moveTo>
                  <a:pt x="2904183" y="29"/>
                </a:moveTo>
                <a:cubicBezTo>
                  <a:pt x="2963196" y="-1459"/>
                  <a:pt x="3001952" y="54859"/>
                  <a:pt x="3001952" y="161218"/>
                </a:cubicBezTo>
                <a:lnTo>
                  <a:pt x="3001952" y="1633097"/>
                </a:lnTo>
                <a:cubicBezTo>
                  <a:pt x="3001952" y="1803271"/>
                  <a:pt x="2902527" y="2036650"/>
                  <a:pt x="2779873" y="2154495"/>
                </a:cubicBezTo>
                <a:lnTo>
                  <a:pt x="854363" y="4004655"/>
                </a:lnTo>
                <a:lnTo>
                  <a:pt x="0" y="4004655"/>
                </a:lnTo>
                <a:lnTo>
                  <a:pt x="0" y="2745307"/>
                </a:lnTo>
                <a:lnTo>
                  <a:pt x="2780081" y="66815"/>
                </a:lnTo>
                <a:cubicBezTo>
                  <a:pt x="2826077" y="22625"/>
                  <a:pt x="2868777" y="922"/>
                  <a:pt x="2904183" y="29"/>
                </a:cubicBezTo>
                <a:close/>
              </a:path>
            </a:pathLst>
          </a:custGeom>
          <a:solidFill>
            <a:schemeClr val="accent4"/>
          </a:solidFill>
          <a:ln w="4630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GB"/>
          </a:p>
        </p:txBody>
      </p:sp>
      <p:sp>
        <p:nvSpPr>
          <p:cNvPr id="25" name="Picture Placeholder 24">
            <a:extLst>
              <a:ext uri="{FF2B5EF4-FFF2-40B4-BE49-F238E27FC236}">
                <a16:creationId xmlns:a16="http://schemas.microsoft.com/office/drawing/2014/main" id="{70CAD6CE-C706-1ADE-7266-1D793CECED73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3891962"/>
            <a:ext cx="854789" cy="2883102"/>
          </a:xfrm>
          <a:custGeom>
            <a:avLst/>
            <a:gdLst>
              <a:gd name="connsiteX0" fmla="*/ 750943 w 854789"/>
              <a:gd name="connsiteY0" fmla="*/ 31 h 2883102"/>
              <a:gd name="connsiteX1" fmla="*/ 854789 w 854789"/>
              <a:gd name="connsiteY1" fmla="*/ 171239 h 2883102"/>
              <a:gd name="connsiteX2" fmla="*/ 854789 w 854789"/>
              <a:gd name="connsiteY2" fmla="*/ 1734608 h 2883102"/>
              <a:gd name="connsiteX3" fmla="*/ 618906 w 854789"/>
              <a:gd name="connsiteY3" fmla="*/ 2288415 h 2883102"/>
              <a:gd name="connsiteX4" fmla="*/ 0 w 854789"/>
              <a:gd name="connsiteY4" fmla="*/ 2883102 h 2883102"/>
              <a:gd name="connsiteX5" fmla="*/ 0 w 854789"/>
              <a:gd name="connsiteY5" fmla="*/ 667471 h 2883102"/>
              <a:gd name="connsiteX6" fmla="*/ 619127 w 854789"/>
              <a:gd name="connsiteY6" fmla="*/ 70968 h 2883102"/>
              <a:gd name="connsiteX7" fmla="*/ 750943 w 854789"/>
              <a:gd name="connsiteY7" fmla="*/ 31 h 28831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54789" h="2883102">
                <a:moveTo>
                  <a:pt x="750943" y="31"/>
                </a:moveTo>
                <a:cubicBezTo>
                  <a:pt x="813623" y="-1549"/>
                  <a:pt x="854789" y="58269"/>
                  <a:pt x="854789" y="171239"/>
                </a:cubicBezTo>
                <a:lnTo>
                  <a:pt x="854789" y="1734608"/>
                </a:lnTo>
                <a:cubicBezTo>
                  <a:pt x="854789" y="1915360"/>
                  <a:pt x="749184" y="2163245"/>
                  <a:pt x="618906" y="2288415"/>
                </a:cubicBezTo>
                <a:lnTo>
                  <a:pt x="0" y="2883102"/>
                </a:lnTo>
                <a:lnTo>
                  <a:pt x="0" y="667471"/>
                </a:lnTo>
                <a:lnTo>
                  <a:pt x="619127" y="70968"/>
                </a:lnTo>
                <a:cubicBezTo>
                  <a:pt x="667981" y="24031"/>
                  <a:pt x="713335" y="980"/>
                  <a:pt x="750943" y="31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algn="ctr">
              <a:defRPr sz="1200" b="0">
                <a:solidFill>
                  <a:schemeClr val="tx1"/>
                </a:solidFill>
              </a:defRPr>
            </a:lvl1pPr>
          </a:lstStyle>
          <a:p>
            <a:endParaRPr lang="en-GB"/>
          </a:p>
        </p:txBody>
      </p:sp>
      <p:sp>
        <p:nvSpPr>
          <p:cNvPr id="26" name="Picture Placeholder 25">
            <a:extLst>
              <a:ext uri="{FF2B5EF4-FFF2-40B4-BE49-F238E27FC236}">
                <a16:creationId xmlns:a16="http://schemas.microsoft.com/office/drawing/2014/main" id="{450AB378-581F-F9A8-4147-4DFDEF29656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1111588" y="2257874"/>
            <a:ext cx="3440011" cy="4600126"/>
          </a:xfrm>
          <a:custGeom>
            <a:avLst/>
            <a:gdLst>
              <a:gd name="connsiteX0" fmla="*/ 3336165 w 3440011"/>
              <a:gd name="connsiteY0" fmla="*/ 31 h 4600126"/>
              <a:gd name="connsiteX1" fmla="*/ 3440011 w 3440011"/>
              <a:gd name="connsiteY1" fmla="*/ 171239 h 4600126"/>
              <a:gd name="connsiteX2" fmla="*/ 3440011 w 3440011"/>
              <a:gd name="connsiteY2" fmla="*/ 1734608 h 4600126"/>
              <a:gd name="connsiteX3" fmla="*/ 3204128 w 3440011"/>
              <a:gd name="connsiteY3" fmla="*/ 2288415 h 4600126"/>
              <a:gd name="connsiteX4" fmla="*/ 798269 w 3440011"/>
              <a:gd name="connsiteY4" fmla="*/ 4600126 h 4600126"/>
              <a:gd name="connsiteX5" fmla="*/ 0 w 3440011"/>
              <a:gd name="connsiteY5" fmla="*/ 4600126 h 4600126"/>
              <a:gd name="connsiteX6" fmla="*/ 4463 w 3440011"/>
              <a:gd name="connsiteY6" fmla="*/ 3479617 h 4600126"/>
              <a:gd name="connsiteX7" fmla="*/ 241455 w 3440011"/>
              <a:gd name="connsiteY7" fmla="*/ 2925593 h 4600126"/>
              <a:gd name="connsiteX8" fmla="*/ 3204349 w 3440011"/>
              <a:gd name="connsiteY8" fmla="*/ 70968 h 4600126"/>
              <a:gd name="connsiteX9" fmla="*/ 3336165 w 3440011"/>
              <a:gd name="connsiteY9" fmla="*/ 31 h 46001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440011" h="4600126">
                <a:moveTo>
                  <a:pt x="3336165" y="31"/>
                </a:moveTo>
                <a:cubicBezTo>
                  <a:pt x="3398846" y="-1549"/>
                  <a:pt x="3440011" y="58269"/>
                  <a:pt x="3440011" y="171239"/>
                </a:cubicBezTo>
                <a:lnTo>
                  <a:pt x="3440011" y="1734608"/>
                </a:lnTo>
                <a:cubicBezTo>
                  <a:pt x="3440011" y="1915360"/>
                  <a:pt x="3334406" y="2163245"/>
                  <a:pt x="3204128" y="2288415"/>
                </a:cubicBezTo>
                <a:lnTo>
                  <a:pt x="798269" y="4600126"/>
                </a:lnTo>
                <a:lnTo>
                  <a:pt x="0" y="4600126"/>
                </a:lnTo>
                <a:lnTo>
                  <a:pt x="4463" y="3479617"/>
                </a:lnTo>
                <a:cubicBezTo>
                  <a:pt x="4463" y="3298869"/>
                  <a:pt x="111398" y="3050979"/>
                  <a:pt x="241455" y="2925593"/>
                </a:cubicBezTo>
                <a:lnTo>
                  <a:pt x="3204349" y="70968"/>
                </a:lnTo>
                <a:cubicBezTo>
                  <a:pt x="3253204" y="24031"/>
                  <a:pt x="3298557" y="980"/>
                  <a:pt x="3336165" y="31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algn="ctr">
              <a:defRPr sz="1200" b="0"/>
            </a:lvl1pPr>
          </a:lstStyle>
          <a:p>
            <a:endParaRPr lang="en-GB"/>
          </a:p>
        </p:txBody>
      </p:sp>
      <p:sp>
        <p:nvSpPr>
          <p:cNvPr id="44" name="Freeform: Shape 43">
            <a:extLst>
              <a:ext uri="{FF2B5EF4-FFF2-40B4-BE49-F238E27FC236}">
                <a16:creationId xmlns:a16="http://schemas.microsoft.com/office/drawing/2014/main" id="{D3792340-32BE-88F6-ACE3-36C759D08793}"/>
              </a:ext>
            </a:extLst>
          </p:cNvPr>
          <p:cNvSpPr/>
          <p:nvPr userDrawn="1"/>
        </p:nvSpPr>
        <p:spPr>
          <a:xfrm flipH="1" flipV="1">
            <a:off x="5086440" y="2704513"/>
            <a:ext cx="3746773" cy="4153487"/>
          </a:xfrm>
          <a:custGeom>
            <a:avLst/>
            <a:gdLst>
              <a:gd name="connsiteX0" fmla="*/ 101690 w 3400879"/>
              <a:gd name="connsiteY0" fmla="*/ 3770019 h 3770046"/>
              <a:gd name="connsiteX1" fmla="*/ 4 w 3400879"/>
              <a:gd name="connsiteY1" fmla="*/ 3600697 h 3770046"/>
              <a:gd name="connsiteX2" fmla="*/ 6157 w 3400879"/>
              <a:gd name="connsiteY2" fmla="*/ 2055902 h 3770046"/>
              <a:gd name="connsiteX3" fmla="*/ 240333 w 3400879"/>
              <a:gd name="connsiteY3" fmla="*/ 1508463 h 3770046"/>
              <a:gd name="connsiteX4" fmla="*/ 1806008 w 3400879"/>
              <a:gd name="connsiteY4" fmla="*/ 0 h 3770046"/>
              <a:gd name="connsiteX5" fmla="*/ 3400879 w 3400879"/>
              <a:gd name="connsiteY5" fmla="*/ 0 h 3770046"/>
              <a:gd name="connsiteX6" fmla="*/ 3400879 w 3400879"/>
              <a:gd name="connsiteY6" fmla="*/ 331631 h 3770046"/>
              <a:gd name="connsiteX7" fmla="*/ 3167799 w 3400879"/>
              <a:gd name="connsiteY7" fmla="*/ 878856 h 3770046"/>
              <a:gd name="connsiteX8" fmla="*/ 231765 w 3400879"/>
              <a:gd name="connsiteY8" fmla="*/ 3699995 h 3770046"/>
              <a:gd name="connsiteX9" fmla="*/ 101690 w 3400879"/>
              <a:gd name="connsiteY9" fmla="*/ 3770019 h 37700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400879" h="3770046">
                <a:moveTo>
                  <a:pt x="101690" y="3770019"/>
                </a:moveTo>
                <a:cubicBezTo>
                  <a:pt x="39942" y="3771515"/>
                  <a:pt x="-408" y="3712322"/>
                  <a:pt x="4" y="3600697"/>
                </a:cubicBezTo>
                <a:lnTo>
                  <a:pt x="6157" y="2055902"/>
                </a:lnTo>
                <a:cubicBezTo>
                  <a:pt x="6157" y="1877303"/>
                  <a:pt x="111821" y="1632358"/>
                  <a:pt x="240333" y="1508463"/>
                </a:cubicBezTo>
                <a:lnTo>
                  <a:pt x="1806008" y="0"/>
                </a:lnTo>
                <a:lnTo>
                  <a:pt x="3400879" y="0"/>
                </a:lnTo>
                <a:lnTo>
                  <a:pt x="3400879" y="331631"/>
                </a:lnTo>
                <a:cubicBezTo>
                  <a:pt x="3400879" y="510234"/>
                  <a:pt x="3296529" y="755174"/>
                  <a:pt x="3167799" y="878856"/>
                </a:cubicBezTo>
                <a:lnTo>
                  <a:pt x="231765" y="3699995"/>
                </a:lnTo>
                <a:cubicBezTo>
                  <a:pt x="183491" y="3746374"/>
                  <a:pt x="138739" y="3769121"/>
                  <a:pt x="101690" y="3770019"/>
                </a:cubicBezTo>
                <a:close/>
              </a:path>
            </a:pathLst>
          </a:custGeom>
          <a:solidFill>
            <a:schemeClr val="accent4">
              <a:alpha val="37000"/>
            </a:schemeClr>
          </a:solidFill>
          <a:ln w="4630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GB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9BAE3441-4B8F-388F-1334-FA8345D509B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248128" y="2708920"/>
            <a:ext cx="4319985" cy="2441159"/>
          </a:xfrm>
          <a:prstGeom prst="rect">
            <a:avLst/>
          </a:prstGeom>
        </p:spPr>
      </p:pic>
      <p:sp>
        <p:nvSpPr>
          <p:cNvPr id="49" name="Freeform: Shape 48">
            <a:extLst>
              <a:ext uri="{FF2B5EF4-FFF2-40B4-BE49-F238E27FC236}">
                <a16:creationId xmlns:a16="http://schemas.microsoft.com/office/drawing/2014/main" id="{594DF9C5-1ACE-4653-DD2A-168090968222}"/>
              </a:ext>
            </a:extLst>
          </p:cNvPr>
          <p:cNvSpPr/>
          <p:nvPr userDrawn="1"/>
        </p:nvSpPr>
        <p:spPr>
          <a:xfrm flipV="1">
            <a:off x="5998219" y="3857193"/>
            <a:ext cx="3263724" cy="3013611"/>
          </a:xfrm>
          <a:custGeom>
            <a:avLst/>
            <a:gdLst>
              <a:gd name="connsiteX0" fmla="*/ 101690 w 3263724"/>
              <a:gd name="connsiteY0" fmla="*/ 3013584 h 3013611"/>
              <a:gd name="connsiteX1" fmla="*/ 231765 w 3263724"/>
              <a:gd name="connsiteY1" fmla="*/ 2943560 h 3013611"/>
              <a:gd name="connsiteX2" fmla="*/ 3167799 w 3263724"/>
              <a:gd name="connsiteY2" fmla="*/ 122421 h 3013611"/>
              <a:gd name="connsiteX3" fmla="*/ 3258526 w 3263724"/>
              <a:gd name="connsiteY3" fmla="*/ 9855 h 3013611"/>
              <a:gd name="connsiteX4" fmla="*/ 3263724 w 3263724"/>
              <a:gd name="connsiteY4" fmla="*/ 0 h 3013611"/>
              <a:gd name="connsiteX5" fmla="*/ 1020884 w 3263724"/>
              <a:gd name="connsiteY5" fmla="*/ 0 h 3013611"/>
              <a:gd name="connsiteX6" fmla="*/ 240333 w 3263724"/>
              <a:gd name="connsiteY6" fmla="*/ 752028 h 3013611"/>
              <a:gd name="connsiteX7" fmla="*/ 6157 w 3263724"/>
              <a:gd name="connsiteY7" fmla="*/ 1299467 h 3013611"/>
              <a:gd name="connsiteX8" fmla="*/ 4 w 3263724"/>
              <a:gd name="connsiteY8" fmla="*/ 2844263 h 3013611"/>
              <a:gd name="connsiteX9" fmla="*/ 101690 w 3263724"/>
              <a:gd name="connsiteY9" fmla="*/ 3013584 h 301361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263724" h="3013611">
                <a:moveTo>
                  <a:pt x="101690" y="3013584"/>
                </a:moveTo>
                <a:cubicBezTo>
                  <a:pt x="138739" y="3012686"/>
                  <a:pt x="183492" y="2989939"/>
                  <a:pt x="231765" y="2943560"/>
                </a:cubicBezTo>
                <a:lnTo>
                  <a:pt x="3167799" y="122421"/>
                </a:lnTo>
                <a:cubicBezTo>
                  <a:pt x="3199981" y="91501"/>
                  <a:pt x="3230640" y="53002"/>
                  <a:pt x="3258526" y="9855"/>
                </a:cubicBezTo>
                <a:lnTo>
                  <a:pt x="3263724" y="0"/>
                </a:lnTo>
                <a:lnTo>
                  <a:pt x="1020884" y="0"/>
                </a:lnTo>
                <a:lnTo>
                  <a:pt x="240333" y="752028"/>
                </a:lnTo>
                <a:cubicBezTo>
                  <a:pt x="111821" y="875923"/>
                  <a:pt x="6157" y="1120868"/>
                  <a:pt x="6157" y="1299467"/>
                </a:cubicBezTo>
                <a:lnTo>
                  <a:pt x="4" y="2844263"/>
                </a:lnTo>
                <a:cubicBezTo>
                  <a:pt x="-408" y="2955887"/>
                  <a:pt x="39942" y="3015080"/>
                  <a:pt x="101690" y="3013584"/>
                </a:cubicBezTo>
                <a:close/>
              </a:path>
            </a:pathLst>
          </a:custGeom>
          <a:solidFill>
            <a:srgbClr val="00A070">
              <a:alpha val="30000"/>
            </a:srgbClr>
          </a:solidFill>
          <a:ln w="4630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BE6E9FE-8B81-CF95-8FC4-107CC121397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248128" y="5350924"/>
            <a:ext cx="4319985" cy="395035"/>
          </a:xfrm>
        </p:spPr>
        <p:txBody>
          <a:bodyPr tIns="0" rIns="0" bIns="0">
            <a:normAutofit/>
          </a:bodyPr>
          <a:lstStyle>
            <a:lvl1pPr>
              <a:defRPr sz="1600" b="0"/>
            </a:lvl1pPr>
          </a:lstStyle>
          <a:p>
            <a:r>
              <a:rPr lang="en-GB"/>
              <a:t>This project is financed by the European Union</a:t>
            </a:r>
          </a:p>
        </p:txBody>
      </p:sp>
    </p:spTree>
    <p:extLst>
      <p:ext uri="{BB962C8B-B14F-4D97-AF65-F5344CB8AC3E}">
        <p14:creationId xmlns:p14="http://schemas.microsoft.com/office/powerpoint/2010/main" val="390728272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decel="10000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8" decel="10000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8" decel="10000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2" presetClass="entr" presetSubtype="4" decel="100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2" presetClass="entr" presetSubtype="4" decel="100000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9" presetID="2" presetClass="entr" presetSubtype="4" decel="100000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3" fill="hold">
                            <p:stCondLst>
                              <p:cond delay="2000"/>
                            </p:stCondLst>
                            <p:childTnLst>
                              <p:par>
                                <p:cTn id="34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7" fill="hold">
                            <p:stCondLst>
                              <p:cond delay="2500"/>
                            </p:stCondLst>
                            <p:childTnLst>
                              <p:par>
                                <p:cTn id="38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iterate type="lt">
                                    <p:tmPct val="5000"/>
                                  </p:iterate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5" grpId="0" animBg="1"/>
      <p:bldP spid="46" grpId="0" animBg="1"/>
      <p:bldP spid="41" grpId="0" animBg="1"/>
      <p:bldP spid="25" grpId="0" animBg="1"/>
      <p:bldP spid="26" grpId="0" animBg="1"/>
      <p:bldP spid="44" grpId="0" animBg="1"/>
      <p:bldP spid="49" grpId="0" animBg="1"/>
      <p:bldP spid="2" grpId="0"/>
    </p:bld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3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703AE73-0813-1AD7-3E72-C71BFF01092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DB84476-BC29-4407-9D57-B2E562B8968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1" name="Picture Placeholder 20">
            <a:extLst>
              <a:ext uri="{FF2B5EF4-FFF2-40B4-BE49-F238E27FC236}">
                <a16:creationId xmlns:a16="http://schemas.microsoft.com/office/drawing/2014/main" id="{3CDD6310-32C9-D02A-F75A-8202E2F8AA18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3487286" y="0"/>
            <a:ext cx="8704714" cy="6858000"/>
          </a:xfrm>
          <a:custGeom>
            <a:avLst/>
            <a:gdLst>
              <a:gd name="connsiteX0" fmla="*/ 2756259 w 8704714"/>
              <a:gd name="connsiteY0" fmla="*/ 0 h 6841154"/>
              <a:gd name="connsiteX1" fmla="*/ 8704714 w 8704714"/>
              <a:gd name="connsiteY1" fmla="*/ 0 h 6841154"/>
              <a:gd name="connsiteX2" fmla="*/ 8704714 w 8704714"/>
              <a:gd name="connsiteY2" fmla="*/ 2314108 h 6841154"/>
              <a:gd name="connsiteX3" fmla="*/ 3993297 w 8704714"/>
              <a:gd name="connsiteY3" fmla="*/ 6841154 h 6841154"/>
              <a:gd name="connsiteX4" fmla="*/ 0 w 8704714"/>
              <a:gd name="connsiteY4" fmla="*/ 6841154 h 6841154"/>
              <a:gd name="connsiteX5" fmla="*/ 12006 w 8704714"/>
              <a:gd name="connsiteY5" fmla="*/ 3826853 h 6841154"/>
              <a:gd name="connsiteX6" fmla="*/ 872739 w 8704714"/>
              <a:gd name="connsiteY6" fmla="*/ 1814693 h 68411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704714" h="6841154">
                <a:moveTo>
                  <a:pt x="2756259" y="0"/>
                </a:moveTo>
                <a:lnTo>
                  <a:pt x="8704714" y="0"/>
                </a:lnTo>
                <a:lnTo>
                  <a:pt x="8704714" y="2314108"/>
                </a:lnTo>
                <a:lnTo>
                  <a:pt x="3993297" y="6841154"/>
                </a:lnTo>
                <a:lnTo>
                  <a:pt x="0" y="6841154"/>
                </a:lnTo>
                <a:lnTo>
                  <a:pt x="12006" y="3826853"/>
                </a:lnTo>
                <a:cubicBezTo>
                  <a:pt x="12006" y="3170397"/>
                  <a:pt x="400384" y="2270082"/>
                  <a:pt x="872739" y="1814693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algn="ctr">
              <a:defRPr sz="1800" b="0">
                <a:solidFill>
                  <a:schemeClr val="tx1"/>
                </a:solidFill>
              </a:defRPr>
            </a:lvl1pPr>
          </a:lstStyle>
          <a:p>
            <a:endParaRPr lang="en-GB"/>
          </a:p>
        </p:txBody>
      </p:sp>
      <p:sp>
        <p:nvSpPr>
          <p:cNvPr id="24" name="Picture Placeholder 23">
            <a:extLst>
              <a:ext uri="{FF2B5EF4-FFF2-40B4-BE49-F238E27FC236}">
                <a16:creationId xmlns:a16="http://schemas.microsoft.com/office/drawing/2014/main" id="{F2B89C08-3145-4E61-F74B-4EC92B6D5D5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399802"/>
            <a:ext cx="4700424" cy="6458199"/>
          </a:xfrm>
          <a:custGeom>
            <a:avLst/>
            <a:gdLst>
              <a:gd name="connsiteX0" fmla="*/ 4516707 w 4700424"/>
              <a:gd name="connsiteY0" fmla="*/ 55 h 6458199"/>
              <a:gd name="connsiteX1" fmla="*/ 4700424 w 4700424"/>
              <a:gd name="connsiteY1" fmla="*/ 302944 h 6458199"/>
              <a:gd name="connsiteX2" fmla="*/ 4700424 w 4700424"/>
              <a:gd name="connsiteY2" fmla="*/ 3068743 h 6458199"/>
              <a:gd name="connsiteX3" fmla="*/ 4283117 w 4700424"/>
              <a:gd name="connsiteY3" fmla="*/ 4048499 h 6458199"/>
              <a:gd name="connsiteX4" fmla="*/ 1775277 w 4700424"/>
              <a:gd name="connsiteY4" fmla="*/ 6458199 h 6458199"/>
              <a:gd name="connsiteX5" fmla="*/ 0 w 4700424"/>
              <a:gd name="connsiteY5" fmla="*/ 6458199 h 6458199"/>
              <a:gd name="connsiteX6" fmla="*/ 0 w 4700424"/>
              <a:gd name="connsiteY6" fmla="*/ 4252532 h 6458199"/>
              <a:gd name="connsiteX7" fmla="*/ 4283508 w 4700424"/>
              <a:gd name="connsiteY7" fmla="*/ 125551 h 6458199"/>
              <a:gd name="connsiteX8" fmla="*/ 4516707 w 4700424"/>
              <a:gd name="connsiteY8" fmla="*/ 55 h 64581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700424" h="6458199">
                <a:moveTo>
                  <a:pt x="4516707" y="55"/>
                </a:moveTo>
                <a:cubicBezTo>
                  <a:pt x="4627597" y="-2741"/>
                  <a:pt x="4700424" y="103085"/>
                  <a:pt x="4700424" y="302944"/>
                </a:cubicBezTo>
                <a:lnTo>
                  <a:pt x="4700424" y="3068743"/>
                </a:lnTo>
                <a:cubicBezTo>
                  <a:pt x="4700424" y="3388516"/>
                  <a:pt x="4513595" y="3827058"/>
                  <a:pt x="4283117" y="4048499"/>
                </a:cubicBezTo>
                <a:lnTo>
                  <a:pt x="1775277" y="6458199"/>
                </a:lnTo>
                <a:lnTo>
                  <a:pt x="0" y="6458199"/>
                </a:lnTo>
                <a:lnTo>
                  <a:pt x="0" y="4252532"/>
                </a:lnTo>
                <a:lnTo>
                  <a:pt x="4283508" y="125551"/>
                </a:lnTo>
                <a:cubicBezTo>
                  <a:pt x="4369937" y="42514"/>
                  <a:pt x="4450173" y="1733"/>
                  <a:pt x="4516707" y="55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</p:spPr>
        <p:txBody>
          <a:bodyPr wrap="square" anchor="ctr">
            <a:noAutofit/>
          </a:bodyPr>
          <a:lstStyle>
            <a:lvl1pPr algn="ctr">
              <a:defRPr sz="1800" b="0">
                <a:solidFill>
                  <a:schemeClr val="tx1"/>
                </a:solidFill>
              </a:defRPr>
            </a:lvl1pPr>
          </a:lstStyle>
          <a:p>
            <a:endParaRPr lang="en-GB"/>
          </a:p>
        </p:txBody>
      </p:sp>
      <p:sp>
        <p:nvSpPr>
          <p:cNvPr id="119" name="Text Placeholder 118">
            <a:extLst>
              <a:ext uri="{FF2B5EF4-FFF2-40B4-BE49-F238E27FC236}">
                <a16:creationId xmlns:a16="http://schemas.microsoft.com/office/drawing/2014/main" id="{3498E6CF-EFC3-5EDD-E98E-8BBCE25C4EA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759187" y="1992797"/>
            <a:ext cx="1885144" cy="2856036"/>
          </a:xfrm>
          <a:custGeom>
            <a:avLst/>
            <a:gdLst>
              <a:gd name="connsiteX0" fmla="*/ 1828265 w 1885144"/>
              <a:gd name="connsiteY0" fmla="*/ 17 h 2856036"/>
              <a:gd name="connsiteX1" fmla="*/ 1885144 w 1885144"/>
              <a:gd name="connsiteY1" fmla="*/ 93791 h 2856036"/>
              <a:gd name="connsiteX2" fmla="*/ 1885144 w 1885144"/>
              <a:gd name="connsiteY2" fmla="*/ 950086 h 2856036"/>
              <a:gd name="connsiteX3" fmla="*/ 1755945 w 1885144"/>
              <a:gd name="connsiteY3" fmla="*/ 1253419 h 2856036"/>
              <a:gd name="connsiteX4" fmla="*/ 128470 w 1885144"/>
              <a:gd name="connsiteY4" fmla="*/ 2817207 h 2856036"/>
              <a:gd name="connsiteX5" fmla="*/ 2 w 1885144"/>
              <a:gd name="connsiteY5" fmla="*/ 2762165 h 2856036"/>
              <a:gd name="connsiteX6" fmla="*/ 3413 w 1885144"/>
              <a:gd name="connsiteY6" fmla="*/ 1905868 h 2856036"/>
              <a:gd name="connsiteX7" fmla="*/ 133219 w 1885144"/>
              <a:gd name="connsiteY7" fmla="*/ 1602417 h 2856036"/>
              <a:gd name="connsiteX8" fmla="*/ 1756066 w 1885144"/>
              <a:gd name="connsiteY8" fmla="*/ 38871 h 2856036"/>
              <a:gd name="connsiteX9" fmla="*/ 1828265 w 1885144"/>
              <a:gd name="connsiteY9" fmla="*/ 17 h 28560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885144" h="2856036">
                <a:moveTo>
                  <a:pt x="1828265" y="17"/>
                </a:moveTo>
                <a:cubicBezTo>
                  <a:pt x="1862597" y="-849"/>
                  <a:pt x="1885144" y="31915"/>
                  <a:pt x="1885144" y="93791"/>
                </a:cubicBezTo>
                <a:lnTo>
                  <a:pt x="1885144" y="950086"/>
                </a:lnTo>
                <a:cubicBezTo>
                  <a:pt x="1885144" y="1049088"/>
                  <a:pt x="1827302" y="1184861"/>
                  <a:pt x="1755945" y="1253419"/>
                </a:cubicBezTo>
                <a:lnTo>
                  <a:pt x="128470" y="2817207"/>
                </a:lnTo>
                <a:cubicBezTo>
                  <a:pt x="57113" y="2885762"/>
                  <a:pt x="-364" y="2861164"/>
                  <a:pt x="2" y="2762165"/>
                </a:cubicBezTo>
                <a:lnTo>
                  <a:pt x="3413" y="1905868"/>
                </a:lnTo>
                <a:cubicBezTo>
                  <a:pt x="3413" y="1806869"/>
                  <a:pt x="61983" y="1671093"/>
                  <a:pt x="133219" y="1602417"/>
                </a:cubicBezTo>
                <a:lnTo>
                  <a:pt x="1756066" y="38871"/>
                </a:lnTo>
                <a:cubicBezTo>
                  <a:pt x="1782825" y="13162"/>
                  <a:pt x="1807666" y="536"/>
                  <a:pt x="1828265" y="17"/>
                </a:cubicBezTo>
                <a:close/>
              </a:path>
            </a:pathLst>
          </a:custGeom>
          <a:solidFill>
            <a:srgbClr val="F07E26">
              <a:alpha val="40000"/>
            </a:srgbClr>
          </a:solidFill>
        </p:spPr>
        <p:txBody>
          <a:bodyPr wrap="square" anchor="ctr">
            <a:noAutofit/>
          </a:bodyPr>
          <a:lstStyle>
            <a:lvl1pPr algn="ctr">
              <a:defRPr sz="100">
                <a:solidFill>
                  <a:srgbClr val="F07E26">
                    <a:alpha val="0"/>
                  </a:srgbClr>
                </a:solidFill>
              </a:defRPr>
            </a:lvl1pPr>
            <a:lvl2pPr algn="ctr">
              <a:defRPr>
                <a:solidFill>
                  <a:srgbClr val="F07E26"/>
                </a:solidFill>
              </a:defRPr>
            </a:lvl2pPr>
            <a:lvl3pPr algn="ctr">
              <a:defRPr>
                <a:solidFill>
                  <a:srgbClr val="F07E26"/>
                </a:solidFill>
              </a:defRPr>
            </a:lvl3pPr>
            <a:lvl4pPr algn="ctr">
              <a:defRPr>
                <a:solidFill>
                  <a:srgbClr val="F07E26"/>
                </a:solidFill>
              </a:defRPr>
            </a:lvl4pPr>
            <a:lvl5pPr algn="ctr">
              <a:defRPr>
                <a:solidFill>
                  <a:srgbClr val="F07E26"/>
                </a:solidFill>
              </a:defRPr>
            </a:lvl5pPr>
          </a:lstStyle>
          <a:p>
            <a:pPr lvl="0"/>
            <a:endParaRPr lang="en-GB"/>
          </a:p>
        </p:txBody>
      </p:sp>
      <p:sp>
        <p:nvSpPr>
          <p:cNvPr id="122" name="Text Placeholder 121">
            <a:extLst>
              <a:ext uri="{FF2B5EF4-FFF2-40B4-BE49-F238E27FC236}">
                <a16:creationId xmlns:a16="http://schemas.microsoft.com/office/drawing/2014/main" id="{1699D606-9738-C9EC-FC65-6F6AD95EE2D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404620" y="1269298"/>
            <a:ext cx="4260152" cy="5588702"/>
          </a:xfrm>
          <a:custGeom>
            <a:avLst/>
            <a:gdLst>
              <a:gd name="connsiteX0" fmla="*/ 128617 w 4260152"/>
              <a:gd name="connsiteY0" fmla="*/ 38 h 5588702"/>
              <a:gd name="connsiteX1" fmla="*/ 291876 w 4260152"/>
              <a:gd name="connsiteY1" fmla="*/ 87896 h 5588702"/>
              <a:gd name="connsiteX2" fmla="*/ 3961534 w 4260152"/>
              <a:gd name="connsiteY2" fmla="*/ 3623459 h 5588702"/>
              <a:gd name="connsiteX3" fmla="*/ 4255058 w 4260152"/>
              <a:gd name="connsiteY3" fmla="*/ 4309638 h 5588702"/>
              <a:gd name="connsiteX4" fmla="*/ 4260152 w 4260152"/>
              <a:gd name="connsiteY4" fmla="*/ 5588702 h 5588702"/>
              <a:gd name="connsiteX5" fmla="*/ 3158741 w 4260152"/>
              <a:gd name="connsiteY5" fmla="*/ 5588702 h 5588702"/>
              <a:gd name="connsiteX6" fmla="*/ 292149 w 4260152"/>
              <a:gd name="connsiteY6" fmla="*/ 2834289 h 5588702"/>
              <a:gd name="connsiteX7" fmla="*/ 0 w 4260152"/>
              <a:gd name="connsiteY7" fmla="*/ 2148378 h 5588702"/>
              <a:gd name="connsiteX8" fmla="*/ 0 w 4260152"/>
              <a:gd name="connsiteY8" fmla="*/ 212086 h 5588702"/>
              <a:gd name="connsiteX9" fmla="*/ 128617 w 4260152"/>
              <a:gd name="connsiteY9" fmla="*/ 38 h 55887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4260152" h="5588702">
                <a:moveTo>
                  <a:pt x="128617" y="38"/>
                </a:moveTo>
                <a:cubicBezTo>
                  <a:pt x="175196" y="1213"/>
                  <a:pt x="231368" y="29763"/>
                  <a:pt x="291876" y="87896"/>
                </a:cubicBezTo>
                <a:lnTo>
                  <a:pt x="3961534" y="3623459"/>
                </a:lnTo>
                <a:cubicBezTo>
                  <a:pt x="4122615" y="3778754"/>
                  <a:pt x="4255058" y="4085775"/>
                  <a:pt x="4255058" y="4309638"/>
                </a:cubicBezTo>
                <a:lnTo>
                  <a:pt x="4260152" y="5588702"/>
                </a:lnTo>
                <a:lnTo>
                  <a:pt x="3158741" y="5588702"/>
                </a:lnTo>
                <a:lnTo>
                  <a:pt x="292149" y="2834289"/>
                </a:lnTo>
                <a:cubicBezTo>
                  <a:pt x="130795" y="2679262"/>
                  <a:pt x="0" y="2372246"/>
                  <a:pt x="0" y="2148378"/>
                </a:cubicBezTo>
                <a:lnTo>
                  <a:pt x="0" y="212086"/>
                </a:lnTo>
                <a:cubicBezTo>
                  <a:pt x="0" y="72168"/>
                  <a:pt x="50985" y="-1919"/>
                  <a:pt x="128617" y="38"/>
                </a:cubicBezTo>
                <a:close/>
              </a:path>
            </a:pathLst>
          </a:custGeom>
          <a:solidFill>
            <a:srgbClr val="27257A">
              <a:alpha val="50000"/>
            </a:srgbClr>
          </a:solidFill>
        </p:spPr>
        <p:txBody>
          <a:bodyPr wrap="square" anchor="ctr">
            <a:noAutofit/>
          </a:bodyPr>
          <a:lstStyle>
            <a:lvl1pPr algn="ctr">
              <a:defRPr sz="100">
                <a:solidFill>
                  <a:srgbClr val="27257A">
                    <a:alpha val="0"/>
                  </a:srgbClr>
                </a:solidFill>
              </a:defRPr>
            </a:lvl1pPr>
          </a:lstStyle>
          <a:p>
            <a:pPr lvl="0"/>
            <a:endParaRPr lang="en-GB"/>
          </a:p>
        </p:txBody>
      </p:sp>
      <p:sp>
        <p:nvSpPr>
          <p:cNvPr id="26" name="Text Placeholder 16">
            <a:extLst>
              <a:ext uri="{FF2B5EF4-FFF2-40B4-BE49-F238E27FC236}">
                <a16:creationId xmlns:a16="http://schemas.microsoft.com/office/drawing/2014/main" id="{7B0E17D5-868C-E89F-DA74-17A32A61D9A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23889" y="2636913"/>
            <a:ext cx="10944224" cy="1584176"/>
          </a:xfrm>
        </p:spPr>
        <p:txBody>
          <a:bodyPr anchor="ctr">
            <a:noAutofit/>
          </a:bodyPr>
          <a:lstStyle>
            <a:lvl1pPr algn="ctr">
              <a:defRPr sz="6600">
                <a:solidFill>
                  <a:schemeClr val="bg1"/>
                </a:solidFill>
              </a:defRPr>
            </a:lvl1pPr>
            <a:lvl2pPr algn="ctr">
              <a:defRPr sz="8000" b="1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1"/>
            <a:r>
              <a:rPr lang="en-US"/>
              <a:t>Enter title he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8325335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2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8" decel="10000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3" decel="10000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9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119">
                                            <p:bg/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119">
                                            <p:bg/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3" decel="100000" fill="hold" grpId="0" nodeType="withEffect" nodePh="1">
                                  <p:stCondLst>
                                    <p:cond delay="500"/>
                                  </p:stCondLst>
                                  <p:endCondLst>
                                    <p:cond evt="begin" delay="0">
                                      <p:tn val="17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1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1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2" presetClass="entr" presetSubtype="4" decel="10000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2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122">
                                            <p:bg/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122">
                                            <p:bg/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2" presetClass="entr" presetSubtype="4" decel="100000" fill="hold" grpId="0" nodeType="withEffect" nodePh="1">
                                  <p:stCondLst>
                                    <p:cond delay="750"/>
                                  </p:stCondLst>
                                  <p:endCondLst>
                                    <p:cond evt="begin" delay="0">
                                      <p:tn val="25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12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12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9" fill="hold">
                            <p:stCondLst>
                              <p:cond delay="1250"/>
                            </p:stCondLst>
                            <p:childTnLst>
                              <p:par>
                                <p:cTn id="30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iterate type="lt">
                                    <p:tmPct val="5000"/>
                                  </p:iterate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1" grpId="0" animBg="1"/>
      <p:bldP spid="24" grpId="0" animBg="1"/>
      <p:bldP spid="119" grpId="0" build="p" animBg="1">
        <p:tmplLst>
          <p:tmpl>
            <p:tnLst>
              <p:par>
                <p:cTn presetID="2" presetClass="entr" presetSubtype="3" decel="10000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119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119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0-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  <p:tmpl lvl="1">
            <p:tnLst>
              <p:par>
                <p:cTn presetID="2" presetClass="entr" presetSubtype="3" decel="100000" fill="hold" nodeType="withEffect" nodePh="1">
                  <p:stCondLst>
                    <p:cond delay="500"/>
                  </p:stCondLst>
                  <p:endCondLst>
                    <p:cond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119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119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0-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22" grpId="0" uiExpand="1" build="p" animBg="1">
        <p:tmplLst>
          <p:tmpl>
            <p:tnLst>
              <p:par>
                <p:cTn presetID="2" presetClass="entr" presetSubtype="4" decel="10000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122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122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  <p:tmpl lvl="1">
            <p:tnLst>
              <p:par>
                <p:cTn presetID="2" presetClass="entr" presetSubtype="4" decel="100000" fill="hold" nodeType="withEffect" nodePh="1">
                  <p:stCondLst>
                    <p:cond delay="750"/>
                  </p:stCondLst>
                  <p:endCondLst>
                    <p:cond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122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122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26" grpId="0" build="p">
        <p:tmplLst>
          <p:tmpl lvl="2"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iterate type="lt">
                    <p:tmPct val="5000"/>
                  </p:iterate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6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1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2" name="Text Placeholder 141">
            <a:extLst>
              <a:ext uri="{FF2B5EF4-FFF2-40B4-BE49-F238E27FC236}">
                <a16:creationId xmlns:a16="http://schemas.microsoft.com/office/drawing/2014/main" id="{BF2379A6-416F-A243-1DD7-9276A2B5D9B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466262" y="0"/>
            <a:ext cx="5725739" cy="6858000"/>
          </a:xfrm>
          <a:custGeom>
            <a:avLst/>
            <a:gdLst>
              <a:gd name="connsiteX0" fmla="*/ 5117570 w 5725739"/>
              <a:gd name="connsiteY0" fmla="*/ 0 h 6858000"/>
              <a:gd name="connsiteX1" fmla="*/ 5725739 w 5725739"/>
              <a:gd name="connsiteY1" fmla="*/ 0 h 6858000"/>
              <a:gd name="connsiteX2" fmla="*/ 5725739 w 5725739"/>
              <a:gd name="connsiteY2" fmla="*/ 3401607 h 6858000"/>
              <a:gd name="connsiteX3" fmla="*/ 2128578 w 5725739"/>
              <a:gd name="connsiteY3" fmla="*/ 6858000 h 6858000"/>
              <a:gd name="connsiteX4" fmla="*/ 0 w 5725739"/>
              <a:gd name="connsiteY4" fmla="*/ 6858000 h 6858000"/>
              <a:gd name="connsiteX5" fmla="*/ 5365 w 5725739"/>
              <a:gd name="connsiteY5" fmla="*/ 5511145 h 6858000"/>
              <a:gd name="connsiteX6" fmla="*/ 431589 w 5725739"/>
              <a:gd name="connsiteY6" fmla="*/ 4514748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725739" h="6858000">
                <a:moveTo>
                  <a:pt x="5117570" y="0"/>
                </a:moveTo>
                <a:lnTo>
                  <a:pt x="5725739" y="0"/>
                </a:lnTo>
                <a:lnTo>
                  <a:pt x="5725739" y="3401607"/>
                </a:lnTo>
                <a:lnTo>
                  <a:pt x="2128578" y="6858000"/>
                </a:lnTo>
                <a:lnTo>
                  <a:pt x="0" y="6858000"/>
                </a:lnTo>
                <a:lnTo>
                  <a:pt x="5365" y="5511145"/>
                </a:lnTo>
                <a:cubicBezTo>
                  <a:pt x="5365" y="5186076"/>
                  <a:pt x="197685" y="4740251"/>
                  <a:pt x="431589" y="4514748"/>
                </a:cubicBezTo>
                <a:close/>
              </a:path>
            </a:pathLst>
          </a:custGeom>
          <a:solidFill>
            <a:srgbClr val="38B6AB">
              <a:alpha val="20000"/>
            </a:srgbClr>
          </a:solidFill>
        </p:spPr>
        <p:txBody>
          <a:bodyPr wrap="square" anchor="ctr">
            <a:noAutofit/>
          </a:bodyPr>
          <a:lstStyle>
            <a:lvl1pPr algn="ctr">
              <a:defRPr sz="100" b="0">
                <a:solidFill>
                  <a:schemeClr val="accent2">
                    <a:alpha val="0"/>
                  </a:schemeClr>
                </a:solidFill>
              </a:defRPr>
            </a:lvl1pPr>
          </a:lstStyle>
          <a:p>
            <a:pPr lvl="0"/>
            <a:endParaRPr lang="en-GB"/>
          </a:p>
        </p:txBody>
      </p:sp>
      <p:sp>
        <p:nvSpPr>
          <p:cNvPr id="145" name="Text Placeholder 144">
            <a:extLst>
              <a:ext uri="{FF2B5EF4-FFF2-40B4-BE49-F238E27FC236}">
                <a16:creationId xmlns:a16="http://schemas.microsoft.com/office/drawing/2014/main" id="{47136838-D8CD-1DE4-55C8-249715F1441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7550874" y="1"/>
            <a:ext cx="3878381" cy="3539155"/>
          </a:xfrm>
          <a:custGeom>
            <a:avLst/>
            <a:gdLst>
              <a:gd name="connsiteX0" fmla="*/ 0 w 3878381"/>
              <a:gd name="connsiteY0" fmla="*/ 0 h 3539155"/>
              <a:gd name="connsiteX1" fmla="*/ 2792543 w 3878381"/>
              <a:gd name="connsiteY1" fmla="*/ 0 h 3539155"/>
              <a:gd name="connsiteX2" fmla="*/ 3583241 w 3878381"/>
              <a:gd name="connsiteY2" fmla="*/ 761805 h 3539155"/>
              <a:gd name="connsiteX3" fmla="*/ 3870822 w 3878381"/>
              <a:gd name="connsiteY3" fmla="*/ 1434091 h 3539155"/>
              <a:gd name="connsiteX4" fmla="*/ 3878378 w 3878381"/>
              <a:gd name="connsiteY4" fmla="*/ 3331185 h 3539155"/>
              <a:gd name="connsiteX5" fmla="*/ 3593763 w 3878381"/>
              <a:gd name="connsiteY5" fmla="*/ 3453128 h 35391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878381" h="3539155">
                <a:moveTo>
                  <a:pt x="0" y="0"/>
                </a:moveTo>
                <a:lnTo>
                  <a:pt x="2792543" y="0"/>
                </a:lnTo>
                <a:lnTo>
                  <a:pt x="3583241" y="761805"/>
                </a:lnTo>
                <a:cubicBezTo>
                  <a:pt x="3741061" y="913955"/>
                  <a:pt x="3870822" y="1214761"/>
                  <a:pt x="3870822" y="1434091"/>
                </a:cubicBezTo>
                <a:lnTo>
                  <a:pt x="3878378" y="3331185"/>
                </a:lnTo>
                <a:cubicBezTo>
                  <a:pt x="3879188" y="3550515"/>
                  <a:pt x="3751850" y="3605011"/>
                  <a:pt x="3593763" y="3453128"/>
                </a:cubicBezTo>
                <a:close/>
              </a:path>
            </a:pathLst>
          </a:custGeom>
          <a:solidFill>
            <a:srgbClr val="750D68">
              <a:alpha val="40000"/>
            </a:srgbClr>
          </a:solidFill>
        </p:spPr>
        <p:txBody>
          <a:bodyPr wrap="square" anchor="ctr">
            <a:noAutofit/>
          </a:bodyPr>
          <a:lstStyle>
            <a:lvl1pPr algn="ctr">
              <a:defRPr sz="100">
                <a:solidFill>
                  <a:srgbClr val="750D68">
                    <a:alpha val="0"/>
                  </a:srgbClr>
                </a:solidFill>
              </a:defRPr>
            </a:lvl1pPr>
          </a:lstStyle>
          <a:p>
            <a:pPr lvl="0"/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D9A5370-F19F-35AB-0B59-17D1B69F462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DB84476-BC29-4407-9D57-B2E562B8968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4" name="Picture Placeholder 23">
            <a:extLst>
              <a:ext uri="{FF2B5EF4-FFF2-40B4-BE49-F238E27FC236}">
                <a16:creationId xmlns:a16="http://schemas.microsoft.com/office/drawing/2014/main" id="{4E52AA2E-72C8-26E5-69FC-B43BCA87D96F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9397584" y="2"/>
            <a:ext cx="2794416" cy="3055719"/>
          </a:xfrm>
          <a:custGeom>
            <a:avLst/>
            <a:gdLst>
              <a:gd name="connsiteX0" fmla="*/ 1289861 w 2794416"/>
              <a:gd name="connsiteY0" fmla="*/ 0 h 3055719"/>
              <a:gd name="connsiteX1" fmla="*/ 2794416 w 2794416"/>
              <a:gd name="connsiteY1" fmla="*/ 0 h 3055719"/>
              <a:gd name="connsiteX2" fmla="*/ 2794416 w 2794416"/>
              <a:gd name="connsiteY2" fmla="*/ 506981 h 3055719"/>
              <a:gd name="connsiteX3" fmla="*/ 206986 w 2794416"/>
              <a:gd name="connsiteY3" fmla="*/ 2993158 h 3055719"/>
              <a:gd name="connsiteX4" fmla="*/ 3 w 2794416"/>
              <a:gd name="connsiteY4" fmla="*/ 2904476 h 3055719"/>
              <a:gd name="connsiteX5" fmla="*/ 5498 w 2794416"/>
              <a:gd name="connsiteY5" fmla="*/ 1524843 h 3055719"/>
              <a:gd name="connsiteX6" fmla="*/ 214637 w 2794416"/>
              <a:gd name="connsiteY6" fmla="*/ 1035934 h 30557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794416" h="3055719">
                <a:moveTo>
                  <a:pt x="1289861" y="0"/>
                </a:moveTo>
                <a:lnTo>
                  <a:pt x="2794416" y="0"/>
                </a:lnTo>
                <a:lnTo>
                  <a:pt x="2794416" y="506981"/>
                </a:lnTo>
                <a:lnTo>
                  <a:pt x="206986" y="2993158"/>
                </a:lnTo>
                <a:cubicBezTo>
                  <a:pt x="92019" y="3103612"/>
                  <a:pt x="-586" y="3063981"/>
                  <a:pt x="3" y="2904476"/>
                </a:cubicBezTo>
                <a:lnTo>
                  <a:pt x="5498" y="1524843"/>
                </a:lnTo>
                <a:cubicBezTo>
                  <a:pt x="5498" y="1365339"/>
                  <a:pt x="99866" y="1146583"/>
                  <a:pt x="214637" y="1035934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algn="ctr">
              <a:defRPr sz="1200" b="0">
                <a:solidFill>
                  <a:schemeClr val="tx1"/>
                </a:solidFill>
              </a:defRPr>
            </a:lvl1pPr>
          </a:lstStyle>
          <a:p>
            <a:endParaRPr lang="en-GB"/>
          </a:p>
        </p:txBody>
      </p:sp>
      <p:sp>
        <p:nvSpPr>
          <p:cNvPr id="27" name="Picture Placeholder 26">
            <a:extLst>
              <a:ext uri="{FF2B5EF4-FFF2-40B4-BE49-F238E27FC236}">
                <a16:creationId xmlns:a16="http://schemas.microsoft.com/office/drawing/2014/main" id="{64B5F9CE-D3E8-3BD0-08E1-F1E5FC20BF1D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9395146" y="2837674"/>
            <a:ext cx="2796853" cy="4020327"/>
          </a:xfrm>
          <a:custGeom>
            <a:avLst/>
            <a:gdLst>
              <a:gd name="connsiteX0" fmla="*/ 2796853 w 2796853"/>
              <a:gd name="connsiteY0" fmla="*/ 0 h 4020327"/>
              <a:gd name="connsiteX1" fmla="*/ 2796853 w 2796853"/>
              <a:gd name="connsiteY1" fmla="*/ 2233857 h 4020327"/>
              <a:gd name="connsiteX2" fmla="*/ 937626 w 2796853"/>
              <a:gd name="connsiteY2" fmla="*/ 4020327 h 4020327"/>
              <a:gd name="connsiteX3" fmla="*/ 0 w 2796853"/>
              <a:gd name="connsiteY3" fmla="*/ 4020327 h 4020327"/>
              <a:gd name="connsiteX4" fmla="*/ 3988 w 2796853"/>
              <a:gd name="connsiteY4" fmla="*/ 3019106 h 4020327"/>
              <a:gd name="connsiteX5" fmla="*/ 242877 w 2796853"/>
              <a:gd name="connsiteY5" fmla="*/ 2460649 h 4020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796853" h="4020327">
                <a:moveTo>
                  <a:pt x="2796853" y="0"/>
                </a:moveTo>
                <a:lnTo>
                  <a:pt x="2796853" y="2233857"/>
                </a:lnTo>
                <a:lnTo>
                  <a:pt x="937626" y="4020327"/>
                </a:lnTo>
                <a:lnTo>
                  <a:pt x="0" y="4020327"/>
                </a:lnTo>
                <a:lnTo>
                  <a:pt x="3988" y="3019106"/>
                </a:lnTo>
                <a:cubicBezTo>
                  <a:pt x="3988" y="2836913"/>
                  <a:pt x="111779" y="2587038"/>
                  <a:pt x="242877" y="2460649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algn="ctr">
              <a:defRPr sz="1200" b="0">
                <a:solidFill>
                  <a:schemeClr val="tx1"/>
                </a:solidFill>
              </a:defRPr>
            </a:lvl1pPr>
          </a:lstStyle>
          <a:p>
            <a:endParaRPr lang="en-GB"/>
          </a:p>
        </p:txBody>
      </p:sp>
      <p:sp>
        <p:nvSpPr>
          <p:cNvPr id="138" name="Text Placeholder 16">
            <a:extLst>
              <a:ext uri="{FF2B5EF4-FFF2-40B4-BE49-F238E27FC236}">
                <a16:creationId xmlns:a16="http://schemas.microsoft.com/office/drawing/2014/main" id="{C988D38C-4ACE-4EBE-659A-4DABA52F915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35823" y="1764973"/>
            <a:ext cx="6972345" cy="447231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39" name="Title 6">
            <a:extLst>
              <a:ext uri="{FF2B5EF4-FFF2-40B4-BE49-F238E27FC236}">
                <a16:creationId xmlns:a16="http://schemas.microsoft.com/office/drawing/2014/main" id="{81A7BADE-6A14-3A6C-FD8E-B3FC5E42D4F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6257" y="332657"/>
            <a:ext cx="6971875" cy="126248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6166383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1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8" name="Text Placeholder 137">
            <a:extLst>
              <a:ext uri="{FF2B5EF4-FFF2-40B4-BE49-F238E27FC236}">
                <a16:creationId xmlns:a16="http://schemas.microsoft.com/office/drawing/2014/main" id="{AF655483-0C24-4907-8772-5DE2404EA80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0" y="2"/>
            <a:ext cx="4950288" cy="6841155"/>
          </a:xfrm>
          <a:custGeom>
            <a:avLst/>
            <a:gdLst>
              <a:gd name="connsiteX0" fmla="*/ 2470295 w 4950288"/>
              <a:gd name="connsiteY0" fmla="*/ 0 h 6841155"/>
              <a:gd name="connsiteX1" fmla="*/ 4950288 w 4950288"/>
              <a:gd name="connsiteY1" fmla="*/ 0 h 6841155"/>
              <a:gd name="connsiteX2" fmla="*/ 4950288 w 4950288"/>
              <a:gd name="connsiteY2" fmla="*/ 2199465 h 6841155"/>
              <a:gd name="connsiteX3" fmla="*/ 4377784 w 4950288"/>
              <a:gd name="connsiteY3" fmla="*/ 3543592 h 6841155"/>
              <a:gd name="connsiteX4" fmla="*/ 945922 w 4950288"/>
              <a:gd name="connsiteY4" fmla="*/ 6841155 h 6841155"/>
              <a:gd name="connsiteX5" fmla="*/ 0 w 4950288"/>
              <a:gd name="connsiteY5" fmla="*/ 6841155 h 6841155"/>
              <a:gd name="connsiteX6" fmla="*/ 0 w 4950288"/>
              <a:gd name="connsiteY6" fmla="*/ 2380026 h 68411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950288" h="6841155">
                <a:moveTo>
                  <a:pt x="2470295" y="0"/>
                </a:moveTo>
                <a:lnTo>
                  <a:pt x="4950288" y="0"/>
                </a:lnTo>
                <a:lnTo>
                  <a:pt x="4950288" y="2199465"/>
                </a:lnTo>
                <a:cubicBezTo>
                  <a:pt x="4950288" y="2638162"/>
                  <a:pt x="4693977" y="3239797"/>
                  <a:pt x="4377784" y="3543592"/>
                </a:cubicBezTo>
                <a:lnTo>
                  <a:pt x="945922" y="6841155"/>
                </a:lnTo>
                <a:lnTo>
                  <a:pt x="0" y="6841155"/>
                </a:lnTo>
                <a:lnTo>
                  <a:pt x="0" y="2380026"/>
                </a:lnTo>
                <a:close/>
              </a:path>
            </a:pathLst>
          </a:custGeom>
          <a:solidFill>
            <a:schemeClr val="accent2">
              <a:alpha val="40000"/>
            </a:schemeClr>
          </a:solidFill>
        </p:spPr>
        <p:txBody>
          <a:bodyPr wrap="square" anchor="ctr">
            <a:noAutofit/>
          </a:bodyPr>
          <a:lstStyle>
            <a:lvl1pPr algn="ctr">
              <a:defRPr sz="100">
                <a:solidFill>
                  <a:schemeClr val="accent2">
                    <a:alpha val="0"/>
                  </a:schemeClr>
                </a:solidFill>
              </a:defRPr>
            </a:lvl1pPr>
          </a:lstStyle>
          <a:p>
            <a:pPr lvl="0"/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D9A5370-F19F-35AB-0B59-17D1B69F462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DB84476-BC29-4407-9D57-B2E562B8968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0" name="Picture Placeholder 19">
            <a:extLst>
              <a:ext uri="{FF2B5EF4-FFF2-40B4-BE49-F238E27FC236}">
                <a16:creationId xmlns:a16="http://schemas.microsoft.com/office/drawing/2014/main" id="{E891FE4E-F382-C0D6-872B-B4A28FB7025D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711385"/>
            <a:ext cx="2949628" cy="5539194"/>
          </a:xfrm>
          <a:custGeom>
            <a:avLst/>
            <a:gdLst>
              <a:gd name="connsiteX0" fmla="*/ 2813384 w 2949628"/>
              <a:gd name="connsiteY0" fmla="*/ 41 h 5539194"/>
              <a:gd name="connsiteX1" fmla="*/ 2949628 w 2949628"/>
              <a:gd name="connsiteY1" fmla="*/ 224663 h 5539194"/>
              <a:gd name="connsiteX2" fmla="*/ 2949628 w 2949628"/>
              <a:gd name="connsiteY2" fmla="*/ 2275772 h 5539194"/>
              <a:gd name="connsiteX3" fmla="*/ 2640154 w 2949628"/>
              <a:gd name="connsiteY3" fmla="*/ 3002357 h 5539194"/>
              <a:gd name="connsiteX4" fmla="*/ 0 w 2949628"/>
              <a:gd name="connsiteY4" fmla="*/ 5539194 h 5539194"/>
              <a:gd name="connsiteX5" fmla="*/ 0 w 2949628"/>
              <a:gd name="connsiteY5" fmla="*/ 2637067 h 5539194"/>
              <a:gd name="connsiteX6" fmla="*/ 2640444 w 2949628"/>
              <a:gd name="connsiteY6" fmla="*/ 93109 h 5539194"/>
              <a:gd name="connsiteX7" fmla="*/ 2813384 w 2949628"/>
              <a:gd name="connsiteY7" fmla="*/ 41 h 55391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949628" h="5539194">
                <a:moveTo>
                  <a:pt x="2813384" y="41"/>
                </a:moveTo>
                <a:cubicBezTo>
                  <a:pt x="2895620" y="-2032"/>
                  <a:pt x="2949628" y="76448"/>
                  <a:pt x="2949628" y="224663"/>
                </a:cubicBezTo>
                <a:lnTo>
                  <a:pt x="2949628" y="2275772"/>
                </a:lnTo>
                <a:cubicBezTo>
                  <a:pt x="2949628" y="2512915"/>
                  <a:pt x="2811076" y="2838136"/>
                  <a:pt x="2640154" y="3002357"/>
                </a:cubicBezTo>
                <a:lnTo>
                  <a:pt x="0" y="5539194"/>
                </a:lnTo>
                <a:lnTo>
                  <a:pt x="0" y="2637067"/>
                </a:lnTo>
                <a:lnTo>
                  <a:pt x="2640444" y="93109"/>
                </a:lnTo>
                <a:cubicBezTo>
                  <a:pt x="2704540" y="31529"/>
                  <a:pt x="2764043" y="1286"/>
                  <a:pt x="2813384" y="41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algn="ctr">
              <a:defRPr sz="1200" b="0"/>
            </a:lvl1pPr>
          </a:lstStyle>
          <a:p>
            <a:endParaRPr lang="en-GB"/>
          </a:p>
        </p:txBody>
      </p:sp>
      <p:sp>
        <p:nvSpPr>
          <p:cNvPr id="131" name="Text Placeholder 16">
            <a:extLst>
              <a:ext uri="{FF2B5EF4-FFF2-40B4-BE49-F238E27FC236}">
                <a16:creationId xmlns:a16="http://schemas.microsoft.com/office/drawing/2014/main" id="{F59625D9-6BB4-4109-AC45-89E806A187D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575720" y="1764973"/>
            <a:ext cx="7992393" cy="447231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32" name="Title 6">
            <a:extLst>
              <a:ext uri="{FF2B5EF4-FFF2-40B4-BE49-F238E27FC236}">
                <a16:creationId xmlns:a16="http://schemas.microsoft.com/office/drawing/2014/main" id="{783F3316-1F89-DBDA-5FEE-D86A5796B7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76259" y="332657"/>
            <a:ext cx="7991854" cy="126248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35" name="Text Placeholder 134">
            <a:extLst>
              <a:ext uri="{FF2B5EF4-FFF2-40B4-BE49-F238E27FC236}">
                <a16:creationId xmlns:a16="http://schemas.microsoft.com/office/drawing/2014/main" id="{315CD7DB-182D-5366-1F14-F32CECBABF1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940141" y="3501440"/>
            <a:ext cx="3407492" cy="3356558"/>
          </a:xfrm>
          <a:custGeom>
            <a:avLst/>
            <a:gdLst>
              <a:gd name="connsiteX0" fmla="*/ 103347 w 3407492"/>
              <a:gd name="connsiteY0" fmla="*/ 31 h 3356558"/>
              <a:gd name="connsiteX1" fmla="*/ 234529 w 3407492"/>
              <a:gd name="connsiteY1" fmla="*/ 70627 h 3356558"/>
              <a:gd name="connsiteX2" fmla="*/ 3183188 w 3407492"/>
              <a:gd name="connsiteY2" fmla="*/ 2911537 h 3356558"/>
              <a:gd name="connsiteX3" fmla="*/ 3400391 w 3407492"/>
              <a:gd name="connsiteY3" fmla="*/ 3318409 h 3356558"/>
              <a:gd name="connsiteX4" fmla="*/ 3407492 w 3407492"/>
              <a:gd name="connsiteY4" fmla="*/ 3356558 h 3356558"/>
              <a:gd name="connsiteX5" fmla="*/ 1357837 w 3407492"/>
              <a:gd name="connsiteY5" fmla="*/ 3356558 h 3356558"/>
              <a:gd name="connsiteX6" fmla="*/ 234749 w 3407492"/>
              <a:gd name="connsiteY6" fmla="*/ 2277420 h 3356558"/>
              <a:gd name="connsiteX7" fmla="*/ 0 w 3407492"/>
              <a:gd name="connsiteY7" fmla="*/ 1726274 h 3356558"/>
              <a:gd name="connsiteX8" fmla="*/ 0 w 3407492"/>
              <a:gd name="connsiteY8" fmla="*/ 170416 h 3356558"/>
              <a:gd name="connsiteX9" fmla="*/ 103347 w 3407492"/>
              <a:gd name="connsiteY9" fmla="*/ 31 h 33565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407492" h="3356558">
                <a:moveTo>
                  <a:pt x="103347" y="31"/>
                </a:moveTo>
                <a:cubicBezTo>
                  <a:pt x="140774" y="975"/>
                  <a:pt x="185910" y="23916"/>
                  <a:pt x="234529" y="70627"/>
                </a:cubicBezTo>
                <a:lnTo>
                  <a:pt x="3183188" y="2911537"/>
                </a:lnTo>
                <a:cubicBezTo>
                  <a:pt x="3280262" y="3005125"/>
                  <a:pt x="3364393" y="3167290"/>
                  <a:pt x="3400391" y="3318409"/>
                </a:cubicBezTo>
                <a:lnTo>
                  <a:pt x="3407492" y="3356558"/>
                </a:lnTo>
                <a:lnTo>
                  <a:pt x="1357837" y="3356558"/>
                </a:lnTo>
                <a:lnTo>
                  <a:pt x="234749" y="2277420"/>
                </a:lnTo>
                <a:cubicBezTo>
                  <a:pt x="105098" y="2152852"/>
                  <a:pt x="0" y="1906157"/>
                  <a:pt x="0" y="1726274"/>
                </a:cubicBezTo>
                <a:lnTo>
                  <a:pt x="0" y="170416"/>
                </a:lnTo>
                <a:cubicBezTo>
                  <a:pt x="0" y="57989"/>
                  <a:pt x="40968" y="-1542"/>
                  <a:pt x="103347" y="31"/>
                </a:cubicBezTo>
                <a:close/>
              </a:path>
            </a:pathLst>
          </a:custGeom>
          <a:solidFill>
            <a:srgbClr val="F07E26">
              <a:alpha val="50000"/>
            </a:srgbClr>
          </a:solidFill>
        </p:spPr>
        <p:txBody>
          <a:bodyPr wrap="square" anchor="ctr">
            <a:noAutofit/>
          </a:bodyPr>
          <a:lstStyle>
            <a:lvl1pPr algn="ctr">
              <a:defRPr sz="100">
                <a:solidFill>
                  <a:srgbClr val="F07E26">
                    <a:alpha val="0"/>
                  </a:srgbClr>
                </a:solidFill>
              </a:defRPr>
            </a:lvl1pPr>
          </a:lstStyle>
          <a:p>
            <a:pPr lvl="0"/>
            <a:endParaRPr lang="en-GB"/>
          </a:p>
        </p:txBody>
      </p:sp>
      <p:sp>
        <p:nvSpPr>
          <p:cNvPr id="141" name="Text Placeholder 140">
            <a:extLst>
              <a:ext uri="{FF2B5EF4-FFF2-40B4-BE49-F238E27FC236}">
                <a16:creationId xmlns:a16="http://schemas.microsoft.com/office/drawing/2014/main" id="{778B168F-4EED-21A2-E736-EB00F72A905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944586" y="1"/>
            <a:ext cx="2780826" cy="2612989"/>
          </a:xfrm>
          <a:custGeom>
            <a:avLst/>
            <a:gdLst>
              <a:gd name="connsiteX0" fmla="*/ 946876 w 2780826"/>
              <a:gd name="connsiteY0" fmla="*/ 0 h 2612989"/>
              <a:gd name="connsiteX1" fmla="*/ 2780826 w 2780826"/>
              <a:gd name="connsiteY1" fmla="*/ 0 h 2612989"/>
              <a:gd name="connsiteX2" fmla="*/ 2729916 w 2780826"/>
              <a:gd name="connsiteY2" fmla="*/ 96513 h 2612989"/>
              <a:gd name="connsiteX3" fmla="*/ 2653907 w 2780826"/>
              <a:gd name="connsiteY3" fmla="*/ 190819 h 2612989"/>
              <a:gd name="connsiteX4" fmla="*/ 194167 w 2780826"/>
              <a:gd name="connsiteY4" fmla="*/ 2554302 h 2612989"/>
              <a:gd name="connsiteX5" fmla="*/ 3 w 2780826"/>
              <a:gd name="connsiteY5" fmla="*/ 2471113 h 2612989"/>
              <a:gd name="connsiteX6" fmla="*/ 5158 w 2780826"/>
              <a:gd name="connsiteY6" fmla="*/ 1176920 h 2612989"/>
              <a:gd name="connsiteX7" fmla="*/ 201345 w 2780826"/>
              <a:gd name="connsiteY7" fmla="*/ 718288 h 26129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780826" h="2612989">
                <a:moveTo>
                  <a:pt x="946876" y="0"/>
                </a:moveTo>
                <a:lnTo>
                  <a:pt x="2780826" y="0"/>
                </a:lnTo>
                <a:lnTo>
                  <a:pt x="2729916" y="96513"/>
                </a:lnTo>
                <a:cubicBezTo>
                  <a:pt x="2706554" y="132660"/>
                  <a:pt x="2680869" y="164914"/>
                  <a:pt x="2653907" y="190819"/>
                </a:cubicBezTo>
                <a:lnTo>
                  <a:pt x="194167" y="2554302"/>
                </a:lnTo>
                <a:cubicBezTo>
                  <a:pt x="86320" y="2657916"/>
                  <a:pt x="-549" y="2620739"/>
                  <a:pt x="3" y="2471113"/>
                </a:cubicBezTo>
                <a:lnTo>
                  <a:pt x="5158" y="1176920"/>
                </a:lnTo>
                <a:cubicBezTo>
                  <a:pt x="5158" y="1027293"/>
                  <a:pt x="93681" y="822085"/>
                  <a:pt x="201345" y="718288"/>
                </a:cubicBezTo>
                <a:close/>
              </a:path>
            </a:pathLst>
          </a:custGeom>
          <a:solidFill>
            <a:schemeClr val="accent4">
              <a:alpha val="40000"/>
            </a:schemeClr>
          </a:solidFill>
        </p:spPr>
        <p:txBody>
          <a:bodyPr wrap="square" anchor="ctr">
            <a:noAutofit/>
          </a:bodyPr>
          <a:lstStyle>
            <a:lvl1pPr algn="ctr">
              <a:defRPr sz="100">
                <a:solidFill>
                  <a:schemeClr val="accent4">
                    <a:alpha val="0"/>
                  </a:schemeClr>
                </a:solidFill>
              </a:defRPr>
            </a:lvl1pPr>
          </a:lstStyle>
          <a:p>
            <a:pPr lvl="0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0097034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7" name="Text Placeholder 146">
            <a:extLst>
              <a:ext uri="{FF2B5EF4-FFF2-40B4-BE49-F238E27FC236}">
                <a16:creationId xmlns:a16="http://schemas.microsoft.com/office/drawing/2014/main" id="{201D88E4-56DF-0AA6-46D1-411796C5138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168009" y="997575"/>
            <a:ext cx="6023991" cy="5860425"/>
          </a:xfrm>
          <a:custGeom>
            <a:avLst/>
            <a:gdLst>
              <a:gd name="connsiteX0" fmla="*/ 6023991 w 6023991"/>
              <a:gd name="connsiteY0" fmla="*/ 0 h 5860425"/>
              <a:gd name="connsiteX1" fmla="*/ 6023991 w 6023991"/>
              <a:gd name="connsiteY1" fmla="*/ 5860425 h 5860425"/>
              <a:gd name="connsiteX2" fmla="*/ 0 w 6023991"/>
              <a:gd name="connsiteY2" fmla="*/ 5860425 h 58604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6023991" h="5860425">
                <a:moveTo>
                  <a:pt x="6023991" y="0"/>
                </a:moveTo>
                <a:lnTo>
                  <a:pt x="6023991" y="5860425"/>
                </a:lnTo>
                <a:lnTo>
                  <a:pt x="0" y="5860425"/>
                </a:lnTo>
                <a:close/>
              </a:path>
            </a:pathLst>
          </a:custGeom>
          <a:solidFill>
            <a:schemeClr val="tx2">
              <a:alpha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 sz="100">
                <a:solidFill>
                  <a:schemeClr val="tx2">
                    <a:alpha val="0"/>
                  </a:schemeClr>
                </a:solidFill>
              </a:defRPr>
            </a:lvl1pPr>
          </a:lstStyle>
          <a:p>
            <a:pPr lvl="0"/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D9A5370-F19F-35AB-0B59-17D1B69F462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DB84476-BC29-4407-9D57-B2E562B8968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38" name="Text Placeholder 16">
            <a:extLst>
              <a:ext uri="{FF2B5EF4-FFF2-40B4-BE49-F238E27FC236}">
                <a16:creationId xmlns:a16="http://schemas.microsoft.com/office/drawing/2014/main" id="{24696413-086A-CF84-AD7F-61BE2151802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35823" y="1764973"/>
            <a:ext cx="6972345" cy="447231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39" name="Title 6">
            <a:extLst>
              <a:ext uri="{FF2B5EF4-FFF2-40B4-BE49-F238E27FC236}">
                <a16:creationId xmlns:a16="http://schemas.microsoft.com/office/drawing/2014/main" id="{901F54B5-3F7C-0C3C-06B5-160E68DC42C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6257" y="332657"/>
            <a:ext cx="6971875" cy="126248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42" name="Text Placeholder 141">
            <a:extLst>
              <a:ext uri="{FF2B5EF4-FFF2-40B4-BE49-F238E27FC236}">
                <a16:creationId xmlns:a16="http://schemas.microsoft.com/office/drawing/2014/main" id="{6B191277-17B0-6D43-372E-9466D2D4431C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966579" y="3582252"/>
            <a:ext cx="3439851" cy="3275748"/>
          </a:xfrm>
          <a:custGeom>
            <a:avLst/>
            <a:gdLst>
              <a:gd name="connsiteX0" fmla="*/ 105769 w 3439851"/>
              <a:gd name="connsiteY0" fmla="*/ 32 h 3275748"/>
              <a:gd name="connsiteX1" fmla="*/ 240027 w 3439851"/>
              <a:gd name="connsiteY1" fmla="*/ 72283 h 3275748"/>
              <a:gd name="connsiteX2" fmla="*/ 3257802 w 3439851"/>
              <a:gd name="connsiteY2" fmla="*/ 2979783 h 3275748"/>
              <a:gd name="connsiteX3" fmla="*/ 3428167 w 3439851"/>
              <a:gd name="connsiteY3" fmla="*/ 3240781 h 3275748"/>
              <a:gd name="connsiteX4" fmla="*/ 3439851 w 3439851"/>
              <a:gd name="connsiteY4" fmla="*/ 3275748 h 3275748"/>
              <a:gd name="connsiteX5" fmla="*/ 1223682 w 3439851"/>
              <a:gd name="connsiteY5" fmla="*/ 3275748 h 3275748"/>
              <a:gd name="connsiteX6" fmla="*/ 240252 w 3439851"/>
              <a:gd name="connsiteY6" fmla="*/ 2330803 h 3275748"/>
              <a:gd name="connsiteX7" fmla="*/ 0 w 3439851"/>
              <a:gd name="connsiteY7" fmla="*/ 1766737 h 3275748"/>
              <a:gd name="connsiteX8" fmla="*/ 0 w 3439851"/>
              <a:gd name="connsiteY8" fmla="*/ 174411 h 3275748"/>
              <a:gd name="connsiteX9" fmla="*/ 105769 w 3439851"/>
              <a:gd name="connsiteY9" fmla="*/ 32 h 32757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439851" h="3275748">
                <a:moveTo>
                  <a:pt x="105769" y="32"/>
                </a:moveTo>
                <a:cubicBezTo>
                  <a:pt x="144074" y="998"/>
                  <a:pt x="190268" y="24477"/>
                  <a:pt x="240027" y="72283"/>
                </a:cubicBezTo>
                <a:lnTo>
                  <a:pt x="3257802" y="2979783"/>
                </a:lnTo>
                <a:cubicBezTo>
                  <a:pt x="3324035" y="3043637"/>
                  <a:pt x="3384380" y="3138685"/>
                  <a:pt x="3428167" y="3240781"/>
                </a:cubicBezTo>
                <a:lnTo>
                  <a:pt x="3439851" y="3275748"/>
                </a:lnTo>
                <a:lnTo>
                  <a:pt x="1223682" y="3275748"/>
                </a:lnTo>
                <a:lnTo>
                  <a:pt x="240252" y="2330803"/>
                </a:lnTo>
                <a:cubicBezTo>
                  <a:pt x="107561" y="2203315"/>
                  <a:pt x="0" y="1950837"/>
                  <a:pt x="0" y="1766737"/>
                </a:cubicBezTo>
                <a:lnTo>
                  <a:pt x="0" y="174411"/>
                </a:lnTo>
                <a:cubicBezTo>
                  <a:pt x="0" y="59349"/>
                  <a:pt x="41928" y="-1578"/>
                  <a:pt x="105769" y="32"/>
                </a:cubicBezTo>
                <a:close/>
              </a:path>
            </a:pathLst>
          </a:custGeom>
          <a:solidFill>
            <a:srgbClr val="27257A">
              <a:alpha val="40000"/>
            </a:srgb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 sz="100">
                <a:solidFill>
                  <a:srgbClr val="27257A">
                    <a:alpha val="0"/>
                  </a:srgbClr>
                </a:solidFill>
              </a:defRPr>
            </a:lvl1pPr>
          </a:lstStyle>
          <a:p>
            <a:pPr lvl="0"/>
            <a:endParaRPr lang="en-GB"/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08E03413-6338-5E7A-B5D1-13E6D8643C31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6549430" y="3824580"/>
            <a:ext cx="3306404" cy="3033420"/>
          </a:xfrm>
          <a:custGeom>
            <a:avLst/>
            <a:gdLst>
              <a:gd name="connsiteX0" fmla="*/ 3200634 w 3306404"/>
              <a:gd name="connsiteY0" fmla="*/ 32 h 3033420"/>
              <a:gd name="connsiteX1" fmla="*/ 3306404 w 3306404"/>
              <a:gd name="connsiteY1" fmla="*/ 174411 h 3033420"/>
              <a:gd name="connsiteX2" fmla="*/ 3306404 w 3306404"/>
              <a:gd name="connsiteY2" fmla="*/ 1766737 h 3033420"/>
              <a:gd name="connsiteX3" fmla="*/ 3066152 w 3306404"/>
              <a:gd name="connsiteY3" fmla="*/ 2330803 h 3033420"/>
              <a:gd name="connsiteX4" fmla="*/ 2334919 w 3306404"/>
              <a:gd name="connsiteY4" fmla="*/ 3033420 h 3033420"/>
              <a:gd name="connsiteX5" fmla="*/ 0 w 3306404"/>
              <a:gd name="connsiteY5" fmla="*/ 3033420 h 3033420"/>
              <a:gd name="connsiteX6" fmla="*/ 198 w 3306404"/>
              <a:gd name="connsiteY6" fmla="*/ 3033145 h 3033420"/>
              <a:gd name="connsiteX7" fmla="*/ 48602 w 3306404"/>
              <a:gd name="connsiteY7" fmla="*/ 2979783 h 3033420"/>
              <a:gd name="connsiteX8" fmla="*/ 3066377 w 3306404"/>
              <a:gd name="connsiteY8" fmla="*/ 72283 h 3033420"/>
              <a:gd name="connsiteX9" fmla="*/ 3200634 w 3306404"/>
              <a:gd name="connsiteY9" fmla="*/ 32 h 30334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306404" h="3033420">
                <a:moveTo>
                  <a:pt x="3200634" y="32"/>
                </a:moveTo>
                <a:cubicBezTo>
                  <a:pt x="3264476" y="-1578"/>
                  <a:pt x="3306404" y="59349"/>
                  <a:pt x="3306404" y="174411"/>
                </a:cubicBezTo>
                <a:lnTo>
                  <a:pt x="3306404" y="1766737"/>
                </a:lnTo>
                <a:cubicBezTo>
                  <a:pt x="3306404" y="1950837"/>
                  <a:pt x="3198843" y="2203315"/>
                  <a:pt x="3066152" y="2330803"/>
                </a:cubicBezTo>
                <a:lnTo>
                  <a:pt x="2334919" y="3033420"/>
                </a:lnTo>
                <a:lnTo>
                  <a:pt x="0" y="3033420"/>
                </a:lnTo>
                <a:lnTo>
                  <a:pt x="198" y="3033145"/>
                </a:lnTo>
                <a:cubicBezTo>
                  <a:pt x="15854" y="3013660"/>
                  <a:pt x="32044" y="2995747"/>
                  <a:pt x="48602" y="2979783"/>
                </a:cubicBezTo>
                <a:lnTo>
                  <a:pt x="3066377" y="72283"/>
                </a:lnTo>
                <a:cubicBezTo>
                  <a:pt x="3116136" y="24477"/>
                  <a:pt x="3162330" y="998"/>
                  <a:pt x="3200634" y="32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algn="ctr">
              <a:defRPr sz="1200" b="0">
                <a:solidFill>
                  <a:schemeClr val="tx1"/>
                </a:solidFill>
              </a:defRPr>
            </a:lvl1pPr>
          </a:lstStyle>
          <a:p>
            <a:endParaRPr lang="en-GB"/>
          </a:p>
        </p:txBody>
      </p:sp>
      <p:sp>
        <p:nvSpPr>
          <p:cNvPr id="27" name="Picture Placeholder 26">
            <a:extLst>
              <a:ext uri="{FF2B5EF4-FFF2-40B4-BE49-F238E27FC236}">
                <a16:creationId xmlns:a16="http://schemas.microsoft.com/office/drawing/2014/main" id="{9C89B243-2F97-EFE0-7F5A-0D7B82D55933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9403639" y="2520239"/>
            <a:ext cx="2788363" cy="4337761"/>
          </a:xfrm>
          <a:custGeom>
            <a:avLst/>
            <a:gdLst>
              <a:gd name="connsiteX0" fmla="*/ 2788363 w 2788363"/>
              <a:gd name="connsiteY0" fmla="*/ 0 h 4337761"/>
              <a:gd name="connsiteX1" fmla="*/ 2788363 w 2788363"/>
              <a:gd name="connsiteY1" fmla="*/ 2257070 h 4337761"/>
              <a:gd name="connsiteX2" fmla="*/ 622932 w 2788363"/>
              <a:gd name="connsiteY2" fmla="*/ 4337761 h 4337761"/>
              <a:gd name="connsiteX3" fmla="*/ 0 w 2788363"/>
              <a:gd name="connsiteY3" fmla="*/ 4337761 h 4337761"/>
              <a:gd name="connsiteX4" fmla="*/ 5277 w 2788363"/>
              <a:gd name="connsiteY4" fmla="*/ 3013111 h 4337761"/>
              <a:gd name="connsiteX5" fmla="*/ 246658 w 2788363"/>
              <a:gd name="connsiteY5" fmla="*/ 2448826 h 43377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788363" h="4337761">
                <a:moveTo>
                  <a:pt x="2788363" y="0"/>
                </a:moveTo>
                <a:lnTo>
                  <a:pt x="2788363" y="2257070"/>
                </a:lnTo>
                <a:lnTo>
                  <a:pt x="622932" y="4337761"/>
                </a:lnTo>
                <a:lnTo>
                  <a:pt x="0" y="4337761"/>
                </a:lnTo>
                <a:lnTo>
                  <a:pt x="5277" y="3013111"/>
                </a:lnTo>
                <a:cubicBezTo>
                  <a:pt x="5277" y="2829016"/>
                  <a:pt x="114192" y="2576534"/>
                  <a:pt x="246658" y="2448826"/>
                </a:cubicBezTo>
                <a:close/>
              </a:path>
            </a:pathLst>
          </a:custGeom>
          <a:solidFill>
            <a:schemeClr val="bg2">
              <a:lumMod val="90000"/>
            </a:schemeClr>
          </a:solidFill>
        </p:spPr>
        <p:txBody>
          <a:bodyPr wrap="square" anchor="ctr">
            <a:noAutofit/>
          </a:bodyPr>
          <a:lstStyle>
            <a:lvl1pPr algn="ctr">
              <a:defRPr sz="1200" b="0">
                <a:solidFill>
                  <a:schemeClr val="tx1"/>
                </a:solidFill>
              </a:defRPr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5538796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1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2" name="Text Placeholder 131">
            <a:extLst>
              <a:ext uri="{FF2B5EF4-FFF2-40B4-BE49-F238E27FC236}">
                <a16:creationId xmlns:a16="http://schemas.microsoft.com/office/drawing/2014/main" id="{EFC71865-06BE-A4E3-2B04-E70CE51DB33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2515316"/>
            <a:ext cx="4476959" cy="4342684"/>
          </a:xfrm>
          <a:custGeom>
            <a:avLst/>
            <a:gdLst>
              <a:gd name="connsiteX0" fmla="*/ 0 w 4476959"/>
              <a:gd name="connsiteY0" fmla="*/ 0 h 4342684"/>
              <a:gd name="connsiteX1" fmla="*/ 4265976 w 4476959"/>
              <a:gd name="connsiteY1" fmla="*/ 4110090 h 4342684"/>
              <a:gd name="connsiteX2" fmla="*/ 4476959 w 4476959"/>
              <a:gd name="connsiteY2" fmla="*/ 4342684 h 4342684"/>
              <a:gd name="connsiteX3" fmla="*/ 0 w 4476959"/>
              <a:gd name="connsiteY3" fmla="*/ 4342684 h 43426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476959" h="4342684">
                <a:moveTo>
                  <a:pt x="0" y="0"/>
                </a:moveTo>
                <a:lnTo>
                  <a:pt x="4265976" y="4110090"/>
                </a:lnTo>
                <a:lnTo>
                  <a:pt x="4476959" y="4342684"/>
                </a:lnTo>
                <a:lnTo>
                  <a:pt x="0" y="4342684"/>
                </a:lnTo>
                <a:close/>
              </a:path>
            </a:pathLst>
          </a:custGeom>
          <a:solidFill>
            <a:schemeClr val="tx2">
              <a:alpha val="30000"/>
            </a:schemeClr>
          </a:solidFill>
        </p:spPr>
        <p:txBody>
          <a:bodyPr wrap="square" anchor="ctr">
            <a:noAutofit/>
          </a:bodyPr>
          <a:lstStyle>
            <a:lvl1pPr algn="ctr">
              <a:defRPr sz="100">
                <a:solidFill>
                  <a:schemeClr val="tx2">
                    <a:alpha val="0"/>
                  </a:schemeClr>
                </a:solidFill>
              </a:defRPr>
            </a:lvl1pPr>
          </a:lstStyle>
          <a:p>
            <a:pPr lvl="0"/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D9A5370-F19F-35AB-0B59-17D1B69F462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DB84476-BC29-4407-9D57-B2E562B8968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5" name="Text Placeholder 16">
            <a:extLst>
              <a:ext uri="{FF2B5EF4-FFF2-40B4-BE49-F238E27FC236}">
                <a16:creationId xmlns:a16="http://schemas.microsoft.com/office/drawing/2014/main" id="{A205015B-D9D2-4C2E-8ADD-D765DE1120E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369769" y="1764973"/>
            <a:ext cx="6198344" cy="447231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26" name="Title 6">
            <a:extLst>
              <a:ext uri="{FF2B5EF4-FFF2-40B4-BE49-F238E27FC236}">
                <a16:creationId xmlns:a16="http://schemas.microsoft.com/office/drawing/2014/main" id="{F47342DE-2AF2-7209-DD6B-B5B02D4754E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70187" y="332657"/>
            <a:ext cx="6197926" cy="126248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29" name="Text Placeholder 128">
            <a:extLst>
              <a:ext uri="{FF2B5EF4-FFF2-40B4-BE49-F238E27FC236}">
                <a16:creationId xmlns:a16="http://schemas.microsoft.com/office/drawing/2014/main" id="{0568114B-1607-9400-3EE7-3120123CEDBC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0" y="1"/>
            <a:ext cx="2863438" cy="6285957"/>
          </a:xfrm>
          <a:custGeom>
            <a:avLst/>
            <a:gdLst>
              <a:gd name="connsiteX0" fmla="*/ 0 w 2863438"/>
              <a:gd name="connsiteY0" fmla="*/ 0 h 6285957"/>
              <a:gd name="connsiteX1" fmla="*/ 834528 w 2863438"/>
              <a:gd name="connsiteY1" fmla="*/ 0 h 6285957"/>
              <a:gd name="connsiteX2" fmla="*/ 2350678 w 2863438"/>
              <a:gd name="connsiteY2" fmla="*/ 1460747 h 6285957"/>
              <a:gd name="connsiteX3" fmla="*/ 2850304 w 2863438"/>
              <a:gd name="connsiteY3" fmla="*/ 2628739 h 6285957"/>
              <a:gd name="connsiteX4" fmla="*/ 2863432 w 2863438"/>
              <a:gd name="connsiteY4" fmla="*/ 5924642 h 6285957"/>
              <a:gd name="connsiteX5" fmla="*/ 2368957 w 2863438"/>
              <a:gd name="connsiteY5" fmla="*/ 6136499 h 6285957"/>
              <a:gd name="connsiteX6" fmla="*/ 0 w 2863438"/>
              <a:gd name="connsiteY6" fmla="*/ 3860246 h 62859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863438" h="6285957">
                <a:moveTo>
                  <a:pt x="0" y="0"/>
                </a:moveTo>
                <a:lnTo>
                  <a:pt x="834528" y="0"/>
                </a:lnTo>
                <a:lnTo>
                  <a:pt x="2350678" y="1460747"/>
                </a:lnTo>
                <a:cubicBezTo>
                  <a:pt x="2624864" y="1725085"/>
                  <a:pt x="2850304" y="2247688"/>
                  <a:pt x="2850304" y="2628739"/>
                </a:cubicBezTo>
                <a:lnTo>
                  <a:pt x="2863432" y="5924642"/>
                </a:lnTo>
                <a:cubicBezTo>
                  <a:pt x="2864839" y="6305693"/>
                  <a:pt x="2643609" y="6400372"/>
                  <a:pt x="2368957" y="6136499"/>
                </a:cubicBezTo>
                <a:lnTo>
                  <a:pt x="0" y="3860246"/>
                </a:lnTo>
                <a:close/>
              </a:path>
            </a:pathLst>
          </a:custGeom>
          <a:solidFill>
            <a:srgbClr val="FFDC00">
              <a:alpha val="40000"/>
            </a:srgbClr>
          </a:solidFill>
        </p:spPr>
        <p:txBody>
          <a:bodyPr wrap="square" anchor="ctr">
            <a:noAutofit/>
          </a:bodyPr>
          <a:lstStyle>
            <a:lvl1pPr algn="ctr">
              <a:defRPr sz="100">
                <a:solidFill>
                  <a:srgbClr val="FFDC00">
                    <a:alpha val="0"/>
                  </a:srgbClr>
                </a:solidFill>
              </a:defRPr>
            </a:lvl1pPr>
          </a:lstStyle>
          <a:p>
            <a:pPr lvl="0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6769879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lex Colour ">
    <p:bg>
      <p:bgPr>
        <a:solidFill>
          <a:srgbClr val="00508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1417DF1-F875-3053-8A46-A378A33AD56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D9A5370-F19F-35AB-0B59-17D1B69F462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DB84476-BC29-4407-9D57-B2E562B8968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Isosceles Triangle 3">
            <a:extLst>
              <a:ext uri="{FF2B5EF4-FFF2-40B4-BE49-F238E27FC236}">
                <a16:creationId xmlns:a16="http://schemas.microsoft.com/office/drawing/2014/main" id="{96EE3D58-6377-D571-44D9-7DAF1F32C144}"/>
              </a:ext>
            </a:extLst>
          </p:cNvPr>
          <p:cNvSpPr/>
          <p:nvPr userDrawn="1"/>
        </p:nvSpPr>
        <p:spPr>
          <a:xfrm>
            <a:off x="0" y="3284984"/>
            <a:ext cx="3719736" cy="3573016"/>
          </a:xfrm>
          <a:prstGeom prst="triangle">
            <a:avLst>
              <a:gd name="adj" fmla="val 0"/>
            </a:avLst>
          </a:prstGeom>
          <a:solidFill>
            <a:schemeClr val="accent3">
              <a:alpha val="39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" name="Freeform: Shape 7">
            <a:extLst>
              <a:ext uri="{FF2B5EF4-FFF2-40B4-BE49-F238E27FC236}">
                <a16:creationId xmlns:a16="http://schemas.microsoft.com/office/drawing/2014/main" id="{CAC1B317-FFB1-4AF9-B3D7-2FC2CEF09CF1}"/>
              </a:ext>
            </a:extLst>
          </p:cNvPr>
          <p:cNvSpPr/>
          <p:nvPr userDrawn="1"/>
        </p:nvSpPr>
        <p:spPr>
          <a:xfrm>
            <a:off x="7035756" y="0"/>
            <a:ext cx="4634708" cy="4221744"/>
          </a:xfrm>
          <a:custGeom>
            <a:avLst/>
            <a:gdLst>
              <a:gd name="connsiteX0" fmla="*/ 1185027 w 4634708"/>
              <a:gd name="connsiteY0" fmla="*/ 0 h 4221744"/>
              <a:gd name="connsiteX1" fmla="*/ 4634708 w 4634708"/>
              <a:gd name="connsiteY1" fmla="*/ 0 h 4221744"/>
              <a:gd name="connsiteX2" fmla="*/ 351638 w 4634708"/>
              <a:gd name="connsiteY2" fmla="*/ 4115461 h 4221744"/>
              <a:gd name="connsiteX3" fmla="*/ 5 w 4634708"/>
              <a:gd name="connsiteY3" fmla="*/ 3964804 h 4221744"/>
              <a:gd name="connsiteX4" fmla="*/ 9340 w 4634708"/>
              <a:gd name="connsiteY4" fmla="*/ 1621000 h 4221744"/>
              <a:gd name="connsiteX5" fmla="*/ 364638 w 4634708"/>
              <a:gd name="connsiteY5" fmla="*/ 790411 h 42217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634708" h="4221744">
                <a:moveTo>
                  <a:pt x="1185027" y="0"/>
                </a:moveTo>
                <a:lnTo>
                  <a:pt x="4634708" y="0"/>
                </a:lnTo>
                <a:lnTo>
                  <a:pt x="351638" y="4115461"/>
                </a:lnTo>
                <a:cubicBezTo>
                  <a:pt x="156326" y="4303107"/>
                  <a:pt x="-996" y="4235779"/>
                  <a:pt x="5" y="3964804"/>
                </a:cubicBezTo>
                <a:lnTo>
                  <a:pt x="9340" y="1621000"/>
                </a:lnTo>
                <a:cubicBezTo>
                  <a:pt x="9340" y="1350025"/>
                  <a:pt x="169657" y="978388"/>
                  <a:pt x="364638" y="790411"/>
                </a:cubicBezTo>
                <a:close/>
              </a:path>
            </a:pathLst>
          </a:custGeom>
          <a:solidFill>
            <a:schemeClr val="accent6">
              <a:alpha val="39000"/>
            </a:schemeClr>
          </a:solidFill>
          <a:ln w="4630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GB"/>
          </a:p>
        </p:txBody>
      </p:sp>
      <p:sp>
        <p:nvSpPr>
          <p:cNvPr id="17" name="Freeform: Shape 16">
            <a:extLst>
              <a:ext uri="{FF2B5EF4-FFF2-40B4-BE49-F238E27FC236}">
                <a16:creationId xmlns:a16="http://schemas.microsoft.com/office/drawing/2014/main" id="{09CCE8B8-D6FD-916E-7AE1-0514DC85C383}"/>
              </a:ext>
            </a:extLst>
          </p:cNvPr>
          <p:cNvSpPr/>
          <p:nvPr userDrawn="1"/>
        </p:nvSpPr>
        <p:spPr>
          <a:xfrm>
            <a:off x="1574997" y="1354583"/>
            <a:ext cx="4809036" cy="5517250"/>
          </a:xfrm>
          <a:custGeom>
            <a:avLst/>
            <a:gdLst>
              <a:gd name="connsiteX0" fmla="*/ 5103820 w 5262813"/>
              <a:gd name="connsiteY0" fmla="*/ 47 h 6037853"/>
              <a:gd name="connsiteX1" fmla="*/ 5262813 w 5262813"/>
              <a:gd name="connsiteY1" fmla="*/ 262175 h 6037853"/>
              <a:gd name="connsiteX2" fmla="*/ 5262813 w 5262813"/>
              <a:gd name="connsiteY2" fmla="*/ 2655765 h 6037853"/>
              <a:gd name="connsiteX3" fmla="*/ 4901666 w 5262813"/>
              <a:gd name="connsiteY3" fmla="*/ 3503669 h 6037853"/>
              <a:gd name="connsiteX4" fmla="*/ 2264273 w 5262813"/>
              <a:gd name="connsiteY4" fmla="*/ 6037853 h 6037853"/>
              <a:gd name="connsiteX5" fmla="*/ 0 w 5262813"/>
              <a:gd name="connsiteY5" fmla="*/ 6037853 h 6037853"/>
              <a:gd name="connsiteX6" fmla="*/ 2829 w 5262813"/>
              <a:gd name="connsiteY6" fmla="*/ 5327454 h 6037853"/>
              <a:gd name="connsiteX7" fmla="*/ 365675 w 5262813"/>
              <a:gd name="connsiteY7" fmla="*/ 4479218 h 6037853"/>
              <a:gd name="connsiteX8" fmla="*/ 4902004 w 5262813"/>
              <a:gd name="connsiteY8" fmla="*/ 108655 h 6037853"/>
              <a:gd name="connsiteX9" fmla="*/ 5103820 w 5262813"/>
              <a:gd name="connsiteY9" fmla="*/ 47 h 60378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5262813" h="6037853">
                <a:moveTo>
                  <a:pt x="5103820" y="47"/>
                </a:moveTo>
                <a:cubicBezTo>
                  <a:pt x="5199787" y="-2372"/>
                  <a:pt x="5262813" y="89212"/>
                  <a:pt x="5262813" y="262175"/>
                </a:cubicBezTo>
                <a:lnTo>
                  <a:pt x="5262813" y="2655765"/>
                </a:lnTo>
                <a:cubicBezTo>
                  <a:pt x="5262813" y="2932504"/>
                  <a:pt x="5101127" y="3312029"/>
                  <a:pt x="4901666" y="3503669"/>
                </a:cubicBezTo>
                <a:lnTo>
                  <a:pt x="2264273" y="6037853"/>
                </a:lnTo>
                <a:lnTo>
                  <a:pt x="0" y="6037853"/>
                </a:lnTo>
                <a:lnTo>
                  <a:pt x="2829" y="5327454"/>
                </a:lnTo>
                <a:cubicBezTo>
                  <a:pt x="2829" y="5050722"/>
                  <a:pt x="166552" y="4671190"/>
                  <a:pt x="365675" y="4479218"/>
                </a:cubicBezTo>
                <a:lnTo>
                  <a:pt x="4902004" y="108655"/>
                </a:lnTo>
                <a:cubicBezTo>
                  <a:pt x="4976802" y="36793"/>
                  <a:pt x="5046240" y="1499"/>
                  <a:pt x="5103820" y="47"/>
                </a:cubicBezTo>
                <a:close/>
              </a:path>
            </a:pathLst>
          </a:custGeom>
          <a:solidFill>
            <a:schemeClr val="tx2">
              <a:alpha val="39000"/>
            </a:schemeClr>
          </a:solidFill>
          <a:ln w="4630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GB"/>
          </a:p>
        </p:txBody>
      </p:sp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A64CD0EB-91EF-7CDA-A593-6A48E2E128AA}"/>
              </a:ext>
            </a:extLst>
          </p:cNvPr>
          <p:cNvSpPr/>
          <p:nvPr userDrawn="1"/>
        </p:nvSpPr>
        <p:spPr>
          <a:xfrm>
            <a:off x="2924512" y="117600"/>
            <a:ext cx="7307022" cy="6740401"/>
          </a:xfrm>
          <a:custGeom>
            <a:avLst/>
            <a:gdLst>
              <a:gd name="connsiteX0" fmla="*/ 7075761 w 7307022"/>
              <a:gd name="connsiteY0" fmla="*/ 69 h 6740401"/>
              <a:gd name="connsiteX1" fmla="*/ 7307022 w 7307022"/>
              <a:gd name="connsiteY1" fmla="*/ 381343 h 6740401"/>
              <a:gd name="connsiteX2" fmla="*/ 7307022 w 7307022"/>
              <a:gd name="connsiteY2" fmla="*/ 3862913 h 6740401"/>
              <a:gd name="connsiteX3" fmla="*/ 6781719 w 7307022"/>
              <a:gd name="connsiteY3" fmla="*/ 5096222 h 6740401"/>
              <a:gd name="connsiteX4" fmla="*/ 5070578 w 7307022"/>
              <a:gd name="connsiteY4" fmla="*/ 6740401 h 6740401"/>
              <a:gd name="connsiteX5" fmla="*/ 0 w 7307022"/>
              <a:gd name="connsiteY5" fmla="*/ 6740401 h 6740401"/>
              <a:gd name="connsiteX6" fmla="*/ 78111 w 7307022"/>
              <a:gd name="connsiteY6" fmla="*/ 6631871 h 6740401"/>
              <a:gd name="connsiteX7" fmla="*/ 183945 w 7307022"/>
              <a:gd name="connsiteY7" fmla="*/ 6515197 h 6740401"/>
              <a:gd name="connsiteX8" fmla="*/ 6782211 w 7307022"/>
              <a:gd name="connsiteY8" fmla="*/ 158043 h 6740401"/>
              <a:gd name="connsiteX9" fmla="*/ 7075761 w 7307022"/>
              <a:gd name="connsiteY9" fmla="*/ 69 h 67404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7307022" h="6740401">
                <a:moveTo>
                  <a:pt x="7075761" y="69"/>
                </a:moveTo>
                <a:cubicBezTo>
                  <a:pt x="7215348" y="-3451"/>
                  <a:pt x="7307022" y="129763"/>
                  <a:pt x="7307022" y="381343"/>
                </a:cubicBezTo>
                <a:lnTo>
                  <a:pt x="7307022" y="3862913"/>
                </a:lnTo>
                <a:cubicBezTo>
                  <a:pt x="7307022" y="4265441"/>
                  <a:pt x="7071844" y="4817474"/>
                  <a:pt x="6781719" y="5096222"/>
                </a:cubicBezTo>
                <a:lnTo>
                  <a:pt x="5070578" y="6740401"/>
                </a:lnTo>
                <a:lnTo>
                  <a:pt x="0" y="6740401"/>
                </a:lnTo>
                <a:lnTo>
                  <a:pt x="78111" y="6631871"/>
                </a:lnTo>
                <a:cubicBezTo>
                  <a:pt x="112342" y="6589267"/>
                  <a:pt x="147741" y="6550100"/>
                  <a:pt x="183945" y="6515197"/>
                </a:cubicBezTo>
                <a:lnTo>
                  <a:pt x="6782211" y="158043"/>
                </a:lnTo>
                <a:cubicBezTo>
                  <a:pt x="6891008" y="53516"/>
                  <a:pt x="6992009" y="2181"/>
                  <a:pt x="7075761" y="69"/>
                </a:cubicBezTo>
                <a:close/>
              </a:path>
            </a:pathLst>
          </a:custGeom>
          <a:solidFill>
            <a:schemeClr val="accent4">
              <a:alpha val="39000"/>
            </a:schemeClr>
          </a:solidFill>
          <a:ln w="4630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0195971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ic Colour 5">
    <p:bg>
      <p:bgPr>
        <a:solidFill>
          <a:srgbClr val="005191">
            <a:alpha val="62000"/>
          </a:srgb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: Shape 6">
            <a:extLst>
              <a:ext uri="{FF2B5EF4-FFF2-40B4-BE49-F238E27FC236}">
                <a16:creationId xmlns:a16="http://schemas.microsoft.com/office/drawing/2014/main" id="{7133A99E-B18C-C194-FBD8-725541014CB0}"/>
              </a:ext>
            </a:extLst>
          </p:cNvPr>
          <p:cNvSpPr/>
          <p:nvPr userDrawn="1"/>
        </p:nvSpPr>
        <p:spPr>
          <a:xfrm>
            <a:off x="1559496" y="0"/>
            <a:ext cx="10632504" cy="6858000"/>
          </a:xfrm>
          <a:custGeom>
            <a:avLst/>
            <a:gdLst>
              <a:gd name="connsiteX0" fmla="*/ 7056784 w 10632504"/>
              <a:gd name="connsiteY0" fmla="*/ 0 h 6858000"/>
              <a:gd name="connsiteX1" fmla="*/ 10632504 w 10632504"/>
              <a:gd name="connsiteY1" fmla="*/ 0 h 6858000"/>
              <a:gd name="connsiteX2" fmla="*/ 10632504 w 10632504"/>
              <a:gd name="connsiteY2" fmla="*/ 6857999 h 6858000"/>
              <a:gd name="connsiteX3" fmla="*/ 7110269 w 10632504"/>
              <a:gd name="connsiteY3" fmla="*/ 6857999 h 6858000"/>
              <a:gd name="connsiteX4" fmla="*/ 7110269 w 10632504"/>
              <a:gd name="connsiteY4" fmla="*/ 6858000 h 6858000"/>
              <a:gd name="connsiteX5" fmla="*/ 0 w 10632504"/>
              <a:gd name="connsiteY5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632504" h="6858000">
                <a:moveTo>
                  <a:pt x="7056784" y="0"/>
                </a:moveTo>
                <a:lnTo>
                  <a:pt x="10632504" y="0"/>
                </a:lnTo>
                <a:lnTo>
                  <a:pt x="10632504" y="6857999"/>
                </a:lnTo>
                <a:lnTo>
                  <a:pt x="7110269" y="6857999"/>
                </a:lnTo>
                <a:lnTo>
                  <a:pt x="7110269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27257A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D9A5370-F19F-35AB-0B59-17D1B69F462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3DB84476-BC29-4407-9D57-B2E562B8968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42FA33CC-AA75-4355-0A4E-69961250982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495870" y="251460"/>
            <a:ext cx="1283569" cy="1038859"/>
          </a:xfrm>
          <a:prstGeom prst="rect">
            <a:avLst/>
          </a:prstGeom>
        </p:spPr>
      </p:pic>
      <p:pic>
        <p:nvPicPr>
          <p:cNvPr id="11" name="Graphic 10">
            <a:extLst>
              <a:ext uri="{FF2B5EF4-FFF2-40B4-BE49-F238E27FC236}">
                <a16:creationId xmlns:a16="http://schemas.microsoft.com/office/drawing/2014/main" id="{137CAE3D-CA63-D669-E471-86E0A20FA7AC}"/>
              </a:ext>
            </a:extLst>
          </p:cNvPr>
          <p:cNvPicPr>
            <a:picLocks noChangeAspect="1"/>
          </p:cNvPicPr>
          <p:nvPr userDrawn="1"/>
        </p:nvPicPr>
        <p:blipFill>
          <a:blip cstate="hqprint">
            <a:lum bright="100000"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27202" y="334561"/>
            <a:ext cx="1667613" cy="10078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4228761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asic Title Onl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9">
            <a:extLst>
              <a:ext uri="{FF2B5EF4-FFF2-40B4-BE49-F238E27FC236}">
                <a16:creationId xmlns:a16="http://schemas.microsoft.com/office/drawing/2014/main" id="{FEAA0D65-B41D-04C4-56F7-20C1EF0ADF4C}"/>
              </a:ext>
            </a:extLst>
          </p:cNvPr>
          <p:cNvSpPr/>
          <p:nvPr userDrawn="1"/>
        </p:nvSpPr>
        <p:spPr>
          <a:xfrm>
            <a:off x="0" y="-8812"/>
            <a:ext cx="1535656" cy="2213675"/>
          </a:xfrm>
          <a:custGeom>
            <a:avLst/>
            <a:gdLst>
              <a:gd name="connsiteX0" fmla="*/ 607467 w 1472820"/>
              <a:gd name="connsiteY0" fmla="*/ 0 h 2123096"/>
              <a:gd name="connsiteX1" fmla="*/ 674998 w 1472820"/>
              <a:gd name="connsiteY1" fmla="*/ 606672 h 2123096"/>
              <a:gd name="connsiteX2" fmla="*/ 1010564 w 1472820"/>
              <a:gd name="connsiteY2" fmla="*/ 969533 h 2123096"/>
              <a:gd name="connsiteX3" fmla="*/ 1472820 w 1472820"/>
              <a:gd name="connsiteY3" fmla="*/ 1061548 h 2123096"/>
              <a:gd name="connsiteX4" fmla="*/ 1010564 w 1472820"/>
              <a:gd name="connsiteY4" fmla="*/ 1153563 h 2123096"/>
              <a:gd name="connsiteX5" fmla="*/ 674998 w 1472820"/>
              <a:gd name="connsiteY5" fmla="*/ 1516423 h 2123096"/>
              <a:gd name="connsiteX6" fmla="*/ 607467 w 1472820"/>
              <a:gd name="connsiteY6" fmla="*/ 2123096 h 2123096"/>
              <a:gd name="connsiteX7" fmla="*/ 539936 w 1472820"/>
              <a:gd name="connsiteY7" fmla="*/ 1516423 h 2123096"/>
              <a:gd name="connsiteX8" fmla="*/ 204370 w 1472820"/>
              <a:gd name="connsiteY8" fmla="*/ 1153563 h 2123096"/>
              <a:gd name="connsiteX9" fmla="*/ 0 w 1472820"/>
              <a:gd name="connsiteY9" fmla="*/ 1112882 h 2123096"/>
              <a:gd name="connsiteX10" fmla="*/ 0 w 1472820"/>
              <a:gd name="connsiteY10" fmla="*/ 1010214 h 2123096"/>
              <a:gd name="connsiteX11" fmla="*/ 204370 w 1472820"/>
              <a:gd name="connsiteY11" fmla="*/ 969533 h 2123096"/>
              <a:gd name="connsiteX12" fmla="*/ 539936 w 1472820"/>
              <a:gd name="connsiteY12" fmla="*/ 606672 h 21230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472820" h="2123096">
                <a:moveTo>
                  <a:pt x="607467" y="0"/>
                </a:moveTo>
                <a:lnTo>
                  <a:pt x="674998" y="606672"/>
                </a:lnTo>
                <a:cubicBezTo>
                  <a:pt x="695413" y="787064"/>
                  <a:pt x="831004" y="934184"/>
                  <a:pt x="1010564" y="969533"/>
                </a:cubicBezTo>
                <a:lnTo>
                  <a:pt x="1472820" y="1061548"/>
                </a:lnTo>
                <a:lnTo>
                  <a:pt x="1010564" y="1153563"/>
                </a:lnTo>
                <a:cubicBezTo>
                  <a:pt x="831004" y="1188912"/>
                  <a:pt x="695413" y="1336032"/>
                  <a:pt x="674998" y="1516423"/>
                </a:cubicBezTo>
                <a:lnTo>
                  <a:pt x="607467" y="2123096"/>
                </a:lnTo>
                <a:lnTo>
                  <a:pt x="539936" y="1516423"/>
                </a:lnTo>
                <a:cubicBezTo>
                  <a:pt x="519516" y="1336032"/>
                  <a:pt x="383930" y="1188912"/>
                  <a:pt x="204370" y="1153563"/>
                </a:cubicBezTo>
                <a:lnTo>
                  <a:pt x="0" y="1112882"/>
                </a:lnTo>
                <a:lnTo>
                  <a:pt x="0" y="1010214"/>
                </a:lnTo>
                <a:lnTo>
                  <a:pt x="204370" y="969533"/>
                </a:lnTo>
                <a:cubicBezTo>
                  <a:pt x="383930" y="934184"/>
                  <a:pt x="519516" y="787064"/>
                  <a:pt x="539936" y="606672"/>
                </a:cubicBezTo>
                <a:close/>
              </a:path>
            </a:pathLst>
          </a:custGeom>
          <a:solidFill>
            <a:srgbClr val="FFDD00">
              <a:alpha val="70152"/>
            </a:srgbClr>
          </a:solidFill>
          <a:ln w="11029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65A8F828-EA8C-44F9-8CE3-BF6A6E5A9C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2457" y="1052736"/>
            <a:ext cx="10944225" cy="1080120"/>
          </a:xfrm>
        </p:spPr>
        <p:txBody>
          <a:bodyPr anchor="t"/>
          <a:lstStyle>
            <a:lvl1pPr>
              <a:lnSpc>
                <a:spcPct val="90000"/>
              </a:lnSpc>
              <a:defRPr sz="3000" cap="all" baseline="0">
                <a:solidFill>
                  <a:srgbClr val="00519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6203260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2" orient="horz" pos="890">
          <p15:clr>
            <a:srgbClr val="FBAE40"/>
          </p15:clr>
        </p15:guide>
        <p15:guide id="3" orient="horz" pos="3612">
          <p15:clr>
            <a:srgbClr val="FBAE40"/>
          </p15:clr>
        </p15:guide>
        <p15:guide id="4" orient="horz" pos="1026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title" preserve="1" userDrawn="1">
  <p:cSld name="Diapositive de titre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pic>
        <p:nvPicPr>
          <p:cNvPr id="1526751053" name="Image 7" descr="An image containing Graphic, Screenshot, Colored Character, Design&#10;&#10;Auto-generated description"/>
          <p:cNvPicPr>
            <a:picLocks noChangeAspect="1"/>
          </p:cNvPicPr>
          <p:nvPr userDrawn="1"/>
        </p:nvPicPr>
        <p:blipFill>
          <a:blip r:embed="rId2"/>
          <a:stretch/>
        </p:blipFill>
        <p:spPr bwMode="auto">
          <a:xfrm>
            <a:off x="-4820294" y="-2478732"/>
            <a:ext cx="13202294" cy="13202294"/>
          </a:xfrm>
          <a:prstGeom prst="rect">
            <a:avLst/>
          </a:prstGeom>
        </p:spPr>
      </p:pic>
      <p:sp>
        <p:nvSpPr>
          <p:cNvPr id="1870509271" name="Titre 1"/>
          <p:cNvSpPr>
            <a:spLocks noGrp="1"/>
          </p:cNvSpPr>
          <p:nvPr>
            <p:ph type="ctrTitle"/>
          </p:nvPr>
        </p:nvSpPr>
        <p:spPr bwMode="auto">
          <a:xfrm>
            <a:off x="5740400" y="1122363"/>
            <a:ext cx="4927600" cy="2387600"/>
          </a:xfrm>
        </p:spPr>
        <p:txBody>
          <a:bodyPr anchor="b">
            <a:normAutofit/>
          </a:bodyPr>
          <a:lstStyle>
            <a:lvl1pPr algn="ctr">
              <a:defRPr sz="4400"/>
            </a:lvl1pPr>
          </a:lstStyle>
          <a:p>
            <a:pPr>
              <a:defRPr/>
            </a:pPr>
            <a:r>
              <a:rPr lang="en"/>
              <a:t>Change the style of the title</a:t>
            </a:r>
            <a:endParaRPr/>
          </a:p>
        </p:txBody>
      </p:sp>
      <p:sp>
        <p:nvSpPr>
          <p:cNvPr id="547128254" name="Sous-titre 2"/>
          <p:cNvSpPr>
            <a:spLocks noGrp="1"/>
          </p:cNvSpPr>
          <p:nvPr>
            <p:ph type="subTitle" idx="1"/>
          </p:nvPr>
        </p:nvSpPr>
        <p:spPr bwMode="auto">
          <a:xfrm>
            <a:off x="5740398" y="3602038"/>
            <a:ext cx="4927601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>
              <a:defRPr/>
            </a:pPr>
            <a:r>
              <a:rPr lang="en"/>
              <a:t>Change the style of the mask's captions</a:t>
            </a:r>
            <a:endParaRPr/>
          </a:p>
        </p:txBody>
      </p:sp>
      <p:sp>
        <p:nvSpPr>
          <p:cNvPr id="474537293" name="Espace réservé de la date 3"/>
          <p:cNvSpPr>
            <a:spLocks noGrp="1"/>
          </p:cNvSpPr>
          <p:nvPr>
            <p:ph type="dt" sz="half" idx="10"/>
          </p:nvPr>
        </p:nvSpPr>
        <p:spPr bwMode="auto"/>
        <p:txBody>
          <a:bodyPr/>
          <a:lstStyle/>
          <a:p>
            <a:pPr>
              <a:defRPr/>
            </a:pPr>
            <a:fld id="{6A65543E-75B9-484F-BE71-23411CEBAC7E}" type="datetimeFigureOut">
              <a:rPr lang="fr-FR"/>
              <a:t>26/05/2026</a:t>
            </a:fld>
            <a:endParaRPr lang="fr-FR"/>
          </a:p>
        </p:txBody>
      </p:sp>
      <p:sp>
        <p:nvSpPr>
          <p:cNvPr id="209925357" name="Espace réservé du numéro de diapositive 5"/>
          <p:cNvSpPr>
            <a:spLocks noGrp="1"/>
          </p:cNvSpPr>
          <p:nvPr>
            <p:ph type="sldNum" sz="quarter" idx="12"/>
          </p:nvPr>
        </p:nvSpPr>
        <p:spPr bwMode="auto"/>
        <p:txBody>
          <a:bodyPr/>
          <a:lstStyle/>
          <a:p>
            <a:pPr>
              <a:defRPr/>
            </a:pPr>
            <a:fld id="{54E9A060-BB2C-9D41-B263-FE666F464037}" type="slidenum">
              <a:rPr lang="fr-FR"/>
              <a:t>‹#›</a:t>
            </a:fld>
            <a:endParaRPr lang="fr-FR"/>
          </a:p>
        </p:txBody>
      </p:sp>
      <p:pic>
        <p:nvPicPr>
          <p:cNvPr id="1895259860" name="Image 9" descr="An image containing Font, Graphic, Logo, Graphic Design&#10;&#10;Auto-generated description"/>
          <p:cNvPicPr>
            <a:picLocks noChangeAspect="1"/>
          </p:cNvPicPr>
          <p:nvPr userDrawn="1"/>
        </p:nvPicPr>
        <p:blipFill>
          <a:blip r:embed="rId3"/>
          <a:stretch/>
        </p:blipFill>
        <p:spPr bwMode="auto">
          <a:xfrm>
            <a:off x="7207883" y="6243758"/>
            <a:ext cx="1992630" cy="5018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22542405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obj" preserve="1" userDrawn="1">
  <p:cSld name="Titre et contenu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pSp>
        <p:nvGrpSpPr>
          <p:cNvPr id="1596323447" name="Groupe 11"/>
          <p:cNvGrpSpPr/>
          <p:nvPr userDrawn="1"/>
        </p:nvGrpSpPr>
        <p:grpSpPr bwMode="auto">
          <a:xfrm>
            <a:off x="-95255" y="-1136968"/>
            <a:ext cx="2937510" cy="8985064"/>
            <a:chOff x="-95255" y="-1136968"/>
            <a:chExt cx="2937510" cy="8985064"/>
          </a:xfrm>
        </p:grpSpPr>
        <p:pic>
          <p:nvPicPr>
            <p:cNvPr id="13" name="Image 12" descr="An image containing Rectangle, Screenshot, Line, Colored Character&#10;&#10;Auto-generated description"/>
            <p:cNvPicPr>
              <a:picLocks noChangeAspect="1"/>
            </p:cNvPicPr>
            <p:nvPr userDrawn="1"/>
          </p:nvPicPr>
          <p:blipFill>
            <a:blip r:embed="rId2"/>
            <a:stretch/>
          </p:blipFill>
          <p:spPr bwMode="auto">
            <a:xfrm rot="5400000">
              <a:off x="-1018800" y="6112641"/>
              <a:ext cx="2750820" cy="720090"/>
            </a:xfrm>
            <a:prstGeom prst="rect">
              <a:avLst/>
            </a:prstGeom>
          </p:spPr>
        </p:pic>
        <p:pic>
          <p:nvPicPr>
            <p:cNvPr id="14" name="Image 13" descr="An image containing Rectangle, Screenshot, Line, Colored Character&#10;&#10;Auto-generated description"/>
            <p:cNvPicPr>
              <a:picLocks noChangeAspect="1"/>
            </p:cNvPicPr>
            <p:nvPr userDrawn="1"/>
          </p:nvPicPr>
          <p:blipFill>
            <a:blip r:embed="rId2"/>
            <a:stretch/>
          </p:blipFill>
          <p:spPr bwMode="auto">
            <a:xfrm rot="5400000">
              <a:off x="-1018800" y="3504882"/>
              <a:ext cx="2750820" cy="720090"/>
            </a:xfrm>
            <a:prstGeom prst="rect">
              <a:avLst/>
            </a:prstGeom>
          </p:spPr>
        </p:pic>
        <p:pic>
          <p:nvPicPr>
            <p:cNvPr id="15" name="Image 14" descr="An image containing screenshot, graphic, graphics, design&#10;&#10;Auto-generated description"/>
            <p:cNvPicPr>
              <a:picLocks noChangeAspect="1"/>
            </p:cNvPicPr>
            <p:nvPr userDrawn="1"/>
          </p:nvPicPr>
          <p:blipFill>
            <a:blip r:embed="rId3"/>
            <a:stretch/>
          </p:blipFill>
          <p:spPr bwMode="auto">
            <a:xfrm rot="5400000">
              <a:off x="-444505" y="-787718"/>
              <a:ext cx="3636010" cy="2937510"/>
            </a:xfrm>
            <a:prstGeom prst="rect">
              <a:avLst/>
            </a:prstGeom>
          </p:spPr>
        </p:pic>
      </p:grpSp>
      <p:sp>
        <p:nvSpPr>
          <p:cNvPr id="26770652" name="Titre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 lang="en"/>
              <a:t>Change the style of the title</a:t>
            </a:r>
            <a:endParaRPr/>
          </a:p>
        </p:txBody>
      </p:sp>
      <p:sp>
        <p:nvSpPr>
          <p:cNvPr id="803061548" name="Espace réservé du contenu 2"/>
          <p:cNvSpPr>
            <a:spLocks noGrp="1"/>
          </p:cNvSpPr>
          <p:nvPr>
            <p:ph idx="1"/>
          </p:nvPr>
        </p:nvSpPr>
        <p:spPr bwMode="auto"/>
        <p:txBody>
          <a:bodyPr/>
          <a:lstStyle/>
          <a:p>
            <a:pPr lvl="0">
              <a:defRPr/>
            </a:pPr>
            <a:r>
              <a:rPr lang="en"/>
              <a:t>Click to change the styles of the mask text</a:t>
            </a:r>
            <a:endParaRPr/>
          </a:p>
          <a:p>
            <a:pPr lvl="1">
              <a:defRPr/>
            </a:pPr>
            <a:r>
              <a:rPr lang="en"/>
              <a:t>Second level</a:t>
            </a:r>
            <a:endParaRPr/>
          </a:p>
          <a:p>
            <a:pPr lvl="2">
              <a:defRPr/>
            </a:pPr>
            <a:r>
              <a:rPr lang="en"/>
              <a:t>Third level</a:t>
            </a:r>
            <a:endParaRPr/>
          </a:p>
          <a:p>
            <a:pPr lvl="3">
              <a:defRPr/>
            </a:pPr>
            <a:r>
              <a:rPr lang="en"/>
              <a:t>Fourth level</a:t>
            </a:r>
            <a:endParaRPr/>
          </a:p>
          <a:p>
            <a:pPr lvl="4">
              <a:defRPr/>
            </a:pPr>
            <a:r>
              <a:rPr lang="en"/>
              <a:t>Fifth Level</a:t>
            </a:r>
            <a:endParaRPr/>
          </a:p>
        </p:txBody>
      </p:sp>
      <p:sp>
        <p:nvSpPr>
          <p:cNvPr id="1519444250" name="Espace réservé de la date 3"/>
          <p:cNvSpPr>
            <a:spLocks noGrp="1"/>
          </p:cNvSpPr>
          <p:nvPr>
            <p:ph type="dt" sz="half" idx="10"/>
          </p:nvPr>
        </p:nvSpPr>
        <p:spPr bwMode="auto"/>
        <p:txBody>
          <a:bodyPr/>
          <a:lstStyle/>
          <a:p>
            <a:pPr>
              <a:defRPr/>
            </a:pPr>
            <a:fld id="{6A65543E-75B9-484F-BE71-23411CEBAC7E}" type="datetimeFigureOut">
              <a:rPr lang="fr-FR"/>
              <a:t>26/05/2026</a:t>
            </a:fld>
            <a:endParaRPr lang="fr-FR"/>
          </a:p>
        </p:txBody>
      </p:sp>
      <p:sp>
        <p:nvSpPr>
          <p:cNvPr id="1017177325" name="Espace réservé du numéro de diapositive 5"/>
          <p:cNvSpPr>
            <a:spLocks noGrp="1"/>
          </p:cNvSpPr>
          <p:nvPr>
            <p:ph type="sldNum" sz="quarter" idx="12"/>
          </p:nvPr>
        </p:nvSpPr>
        <p:spPr bwMode="auto"/>
        <p:txBody>
          <a:bodyPr/>
          <a:lstStyle/>
          <a:p>
            <a:pPr>
              <a:defRPr/>
            </a:pPr>
            <a:fld id="{54E9A060-BB2C-9D41-B263-FE666F464037}" type="slidenum">
              <a:rPr lang="fr-FR"/>
              <a:t>‹#›</a:t>
            </a:fld>
            <a:endParaRPr lang="fr-FR"/>
          </a:p>
        </p:txBody>
      </p:sp>
      <p:pic>
        <p:nvPicPr>
          <p:cNvPr id="1806668082" name="Image 6" descr="An image containing Font, Graphic, Logo, Graphic Design&#10;&#10;Auto-generated description"/>
          <p:cNvPicPr>
            <a:picLocks noChangeAspect="1"/>
          </p:cNvPicPr>
          <p:nvPr userDrawn="1"/>
        </p:nvPicPr>
        <p:blipFill>
          <a:blip r:embed="rId4"/>
          <a:stretch/>
        </p:blipFill>
        <p:spPr bwMode="auto">
          <a:xfrm>
            <a:off x="5099685" y="6243758"/>
            <a:ext cx="1992630" cy="5018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898645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1" name="Picture Placeholder 170">
            <a:extLst>
              <a:ext uri="{FF2B5EF4-FFF2-40B4-BE49-F238E27FC236}">
                <a16:creationId xmlns:a16="http://schemas.microsoft.com/office/drawing/2014/main" id="{E39566F6-E67C-A855-340C-601E04B8FC50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-2" y="0"/>
            <a:ext cx="2468992" cy="4189512"/>
          </a:xfrm>
          <a:custGeom>
            <a:avLst/>
            <a:gdLst>
              <a:gd name="connsiteX0" fmla="*/ 2023284 w 2468992"/>
              <a:gd name="connsiteY0" fmla="*/ 0 h 4189512"/>
              <a:gd name="connsiteX1" fmla="*/ 2468992 w 2468992"/>
              <a:gd name="connsiteY1" fmla="*/ 0 h 4189512"/>
              <a:gd name="connsiteX2" fmla="*/ 2468992 w 2468992"/>
              <a:gd name="connsiteY2" fmla="*/ 1485749 h 4189512"/>
              <a:gd name="connsiteX3" fmla="*/ 2230055 w 2468992"/>
              <a:gd name="connsiteY3" fmla="*/ 2046726 h 4189512"/>
              <a:gd name="connsiteX4" fmla="*/ 0 w 2468992"/>
              <a:gd name="connsiteY4" fmla="*/ 4189512 h 4189512"/>
              <a:gd name="connsiteX5" fmla="*/ 0 w 2468992"/>
              <a:gd name="connsiteY5" fmla="*/ 1949350 h 41895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468992" h="4189512">
                <a:moveTo>
                  <a:pt x="2023284" y="0"/>
                </a:moveTo>
                <a:lnTo>
                  <a:pt x="2468992" y="0"/>
                </a:lnTo>
                <a:lnTo>
                  <a:pt x="2468992" y="1485749"/>
                </a:lnTo>
                <a:cubicBezTo>
                  <a:pt x="2468992" y="1668841"/>
                  <a:pt x="2362019" y="1919936"/>
                  <a:pt x="2230055" y="2046726"/>
                </a:cubicBezTo>
                <a:lnTo>
                  <a:pt x="0" y="4189512"/>
                </a:lnTo>
                <a:lnTo>
                  <a:pt x="0" y="1949350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algn="ctr">
              <a:defRPr sz="1400" b="0">
                <a:solidFill>
                  <a:schemeClr val="tx1"/>
                </a:solidFill>
              </a:defRPr>
            </a:lvl1pPr>
          </a:lstStyle>
          <a:p>
            <a:endParaRPr lang="en-GB"/>
          </a:p>
        </p:txBody>
      </p:sp>
      <p:sp>
        <p:nvSpPr>
          <p:cNvPr id="173" name="Picture Placeholder 172">
            <a:extLst>
              <a:ext uri="{FF2B5EF4-FFF2-40B4-BE49-F238E27FC236}">
                <a16:creationId xmlns:a16="http://schemas.microsoft.com/office/drawing/2014/main" id="{0992B498-A50C-0779-1448-C4C3A12D2DD7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1714666" y="3771987"/>
            <a:ext cx="3336776" cy="3086012"/>
          </a:xfrm>
          <a:custGeom>
            <a:avLst/>
            <a:gdLst>
              <a:gd name="connsiteX0" fmla="*/ 105190 w 3336776"/>
              <a:gd name="connsiteY0" fmla="*/ 31 h 3086012"/>
              <a:gd name="connsiteX1" fmla="*/ 238713 w 3336776"/>
              <a:gd name="connsiteY1" fmla="*/ 71887 h 3086012"/>
              <a:gd name="connsiteX2" fmla="*/ 3239968 w 3336776"/>
              <a:gd name="connsiteY2" fmla="*/ 2963471 h 3086012"/>
              <a:gd name="connsiteX3" fmla="*/ 3333056 w 3336776"/>
              <a:gd name="connsiteY3" fmla="*/ 3078994 h 3086012"/>
              <a:gd name="connsiteX4" fmla="*/ 3336776 w 3336776"/>
              <a:gd name="connsiteY4" fmla="*/ 3086012 h 3086012"/>
              <a:gd name="connsiteX5" fmla="*/ 1038182 w 3336776"/>
              <a:gd name="connsiteY5" fmla="*/ 3086012 h 3086012"/>
              <a:gd name="connsiteX6" fmla="*/ 238937 w 3336776"/>
              <a:gd name="connsiteY6" fmla="*/ 2318043 h 3086012"/>
              <a:gd name="connsiteX7" fmla="*/ 0 w 3336776"/>
              <a:gd name="connsiteY7" fmla="*/ 1757066 h 3086012"/>
              <a:gd name="connsiteX8" fmla="*/ 0 w 3336776"/>
              <a:gd name="connsiteY8" fmla="*/ 173456 h 3086012"/>
              <a:gd name="connsiteX9" fmla="*/ 105190 w 3336776"/>
              <a:gd name="connsiteY9" fmla="*/ 31 h 30860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336776" h="3086012">
                <a:moveTo>
                  <a:pt x="105190" y="31"/>
                </a:moveTo>
                <a:cubicBezTo>
                  <a:pt x="143285" y="992"/>
                  <a:pt x="189226" y="24342"/>
                  <a:pt x="238713" y="71887"/>
                </a:cubicBezTo>
                <a:lnTo>
                  <a:pt x="3239968" y="2963471"/>
                </a:lnTo>
                <a:cubicBezTo>
                  <a:pt x="3272903" y="2995224"/>
                  <a:pt x="3304375" y="3034732"/>
                  <a:pt x="3333056" y="3078994"/>
                </a:cubicBezTo>
                <a:lnTo>
                  <a:pt x="3336776" y="3086012"/>
                </a:lnTo>
                <a:lnTo>
                  <a:pt x="1038182" y="3086012"/>
                </a:lnTo>
                <a:lnTo>
                  <a:pt x="238937" y="2318043"/>
                </a:lnTo>
                <a:cubicBezTo>
                  <a:pt x="106972" y="2191253"/>
                  <a:pt x="0" y="1940158"/>
                  <a:pt x="0" y="1757066"/>
                </a:cubicBezTo>
                <a:lnTo>
                  <a:pt x="0" y="173456"/>
                </a:lnTo>
                <a:cubicBezTo>
                  <a:pt x="0" y="59023"/>
                  <a:pt x="41698" y="-1570"/>
                  <a:pt x="105190" y="31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algn="ctr">
              <a:defRPr sz="1400" b="0">
                <a:solidFill>
                  <a:schemeClr val="tx1"/>
                </a:solidFill>
              </a:defRPr>
            </a:lvl1pPr>
          </a:lstStyle>
          <a:p>
            <a:endParaRPr lang="en-GB"/>
          </a:p>
        </p:txBody>
      </p:sp>
      <p:sp>
        <p:nvSpPr>
          <p:cNvPr id="174" name="Picture Placeholder 173">
            <a:extLst>
              <a:ext uri="{FF2B5EF4-FFF2-40B4-BE49-F238E27FC236}">
                <a16:creationId xmlns:a16="http://schemas.microsoft.com/office/drawing/2014/main" id="{38986D5E-6A4C-ABBA-AA85-354C99FF445C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04898" y="4763759"/>
            <a:ext cx="2337771" cy="2094241"/>
          </a:xfrm>
          <a:custGeom>
            <a:avLst/>
            <a:gdLst>
              <a:gd name="connsiteX0" fmla="*/ 105190 w 2337771"/>
              <a:gd name="connsiteY0" fmla="*/ 31 h 2094241"/>
              <a:gd name="connsiteX1" fmla="*/ 238713 w 2337771"/>
              <a:gd name="connsiteY1" fmla="*/ 71887 h 2094241"/>
              <a:gd name="connsiteX2" fmla="*/ 2337771 w 2337771"/>
              <a:gd name="connsiteY2" fmla="*/ 2094241 h 2094241"/>
              <a:gd name="connsiteX3" fmla="*/ 88746 w 2337771"/>
              <a:gd name="connsiteY3" fmla="*/ 2094241 h 2094241"/>
              <a:gd name="connsiteX4" fmla="*/ 69981 w 2337771"/>
              <a:gd name="connsiteY4" fmla="*/ 2058668 h 2094241"/>
              <a:gd name="connsiteX5" fmla="*/ 0 w 2337771"/>
              <a:gd name="connsiteY5" fmla="*/ 1757066 h 2094241"/>
              <a:gd name="connsiteX6" fmla="*/ 0 w 2337771"/>
              <a:gd name="connsiteY6" fmla="*/ 173456 h 2094241"/>
              <a:gd name="connsiteX7" fmla="*/ 105190 w 2337771"/>
              <a:gd name="connsiteY7" fmla="*/ 31 h 20942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337771" h="2094241">
                <a:moveTo>
                  <a:pt x="105190" y="31"/>
                </a:moveTo>
                <a:cubicBezTo>
                  <a:pt x="143285" y="992"/>
                  <a:pt x="189226" y="24342"/>
                  <a:pt x="238713" y="71887"/>
                </a:cubicBezTo>
                <a:lnTo>
                  <a:pt x="2337771" y="2094241"/>
                </a:lnTo>
                <a:lnTo>
                  <a:pt x="88746" y="2094241"/>
                </a:lnTo>
                <a:lnTo>
                  <a:pt x="69981" y="2058668"/>
                </a:lnTo>
                <a:cubicBezTo>
                  <a:pt x="26743" y="1957159"/>
                  <a:pt x="0" y="1848612"/>
                  <a:pt x="0" y="1757066"/>
                </a:cubicBezTo>
                <a:lnTo>
                  <a:pt x="0" y="173456"/>
                </a:lnTo>
                <a:cubicBezTo>
                  <a:pt x="0" y="59023"/>
                  <a:pt x="41698" y="-1570"/>
                  <a:pt x="105190" y="31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algn="ctr">
              <a:defRPr sz="1400" b="0">
                <a:solidFill>
                  <a:schemeClr val="tx1"/>
                </a:solidFill>
              </a:defRPr>
            </a:lvl1pPr>
          </a:lstStyle>
          <a:p>
            <a:endParaRPr lang="en-GB"/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CE30D08F-F788-58FD-84C1-092AC28946B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663952" y="1223149"/>
            <a:ext cx="5904162" cy="501414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76" name="Slide Number Placeholder 5">
            <a:extLst>
              <a:ext uri="{FF2B5EF4-FFF2-40B4-BE49-F238E27FC236}">
                <a16:creationId xmlns:a16="http://schemas.microsoft.com/office/drawing/2014/main" id="{6522F757-6621-1CFE-338A-EC6FC4EEA0E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80576" y="6365040"/>
            <a:ext cx="287536" cy="293663"/>
          </a:xfrm>
          <a:prstGeom prst="rect">
            <a:avLst/>
          </a:prstGeom>
        </p:spPr>
        <p:txBody>
          <a:bodyPr vert="horz" lIns="91440" tIns="45720" rIns="0" bIns="45720" rtlCol="0" anchor="ctr"/>
          <a:lstStyle>
            <a:lvl1pPr algn="r">
              <a:defRPr sz="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DB84476-BC29-4407-9D57-B2E562B8968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73" name="Text Placeholder 272">
            <a:extLst>
              <a:ext uri="{FF2B5EF4-FFF2-40B4-BE49-F238E27FC236}">
                <a16:creationId xmlns:a16="http://schemas.microsoft.com/office/drawing/2014/main" id="{0A68684A-4D1B-CD2C-3510-FB09CCC7C17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0" y="971889"/>
            <a:ext cx="3008278" cy="4979012"/>
          </a:xfrm>
          <a:custGeom>
            <a:avLst/>
            <a:gdLst>
              <a:gd name="connsiteX0" fmla="*/ 2903087 w 3008278"/>
              <a:gd name="connsiteY0" fmla="*/ 31 h 4979012"/>
              <a:gd name="connsiteX1" fmla="*/ 3008278 w 3008278"/>
              <a:gd name="connsiteY1" fmla="*/ 173456 h 4979012"/>
              <a:gd name="connsiteX2" fmla="*/ 3008278 w 3008278"/>
              <a:gd name="connsiteY2" fmla="*/ 1757066 h 4979012"/>
              <a:gd name="connsiteX3" fmla="*/ 2769341 w 3008278"/>
              <a:gd name="connsiteY3" fmla="*/ 2318044 h 4979012"/>
              <a:gd name="connsiteX4" fmla="*/ 0 w 3008278"/>
              <a:gd name="connsiteY4" fmla="*/ 4979012 h 4979012"/>
              <a:gd name="connsiteX5" fmla="*/ 0 w 3008278"/>
              <a:gd name="connsiteY5" fmla="*/ 2740246 h 4979012"/>
              <a:gd name="connsiteX6" fmla="*/ 2769564 w 3008278"/>
              <a:gd name="connsiteY6" fmla="*/ 71887 h 4979012"/>
              <a:gd name="connsiteX7" fmla="*/ 2903087 w 3008278"/>
              <a:gd name="connsiteY7" fmla="*/ 31 h 49790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008278" h="4979012">
                <a:moveTo>
                  <a:pt x="2903087" y="31"/>
                </a:moveTo>
                <a:cubicBezTo>
                  <a:pt x="2966579" y="-1570"/>
                  <a:pt x="3008278" y="59023"/>
                  <a:pt x="3008278" y="173456"/>
                </a:cubicBezTo>
                <a:lnTo>
                  <a:pt x="3008278" y="1757066"/>
                </a:lnTo>
                <a:cubicBezTo>
                  <a:pt x="3008278" y="1940158"/>
                  <a:pt x="2901305" y="2191253"/>
                  <a:pt x="2769341" y="2318044"/>
                </a:cubicBezTo>
                <a:lnTo>
                  <a:pt x="0" y="4979012"/>
                </a:lnTo>
                <a:lnTo>
                  <a:pt x="0" y="2740246"/>
                </a:lnTo>
                <a:lnTo>
                  <a:pt x="2769564" y="71887"/>
                </a:lnTo>
                <a:cubicBezTo>
                  <a:pt x="2819051" y="24342"/>
                  <a:pt x="2864992" y="992"/>
                  <a:pt x="2903087" y="31"/>
                </a:cubicBezTo>
                <a:close/>
              </a:path>
            </a:pathLst>
          </a:custGeom>
          <a:solidFill>
            <a:schemeClr val="accent2">
              <a:alpha val="30000"/>
            </a:schemeClr>
          </a:solidFill>
        </p:spPr>
        <p:txBody>
          <a:bodyPr wrap="square" anchor="ctr">
            <a:noAutofit/>
          </a:bodyPr>
          <a:lstStyle>
            <a:lvl1pPr>
              <a:defRPr sz="100">
                <a:solidFill>
                  <a:schemeClr val="accent2"/>
                </a:solidFill>
              </a:defRPr>
            </a:lvl1pPr>
            <a:lvl2pPr>
              <a:defRPr sz="100">
                <a:solidFill>
                  <a:schemeClr val="accent2"/>
                </a:solidFill>
              </a:defRPr>
            </a:lvl2pPr>
            <a:lvl3pPr>
              <a:defRPr sz="100">
                <a:solidFill>
                  <a:schemeClr val="accent2"/>
                </a:solidFill>
              </a:defRPr>
            </a:lvl3pPr>
            <a:lvl4pPr>
              <a:defRPr sz="100">
                <a:solidFill>
                  <a:schemeClr val="accent2"/>
                </a:solidFill>
              </a:defRPr>
            </a:lvl4pPr>
            <a:lvl5pPr algn="ctr">
              <a:defRPr sz="100">
                <a:solidFill>
                  <a:schemeClr val="accent2">
                    <a:alpha val="0"/>
                  </a:schemeClr>
                </a:solidFill>
              </a:defRPr>
            </a:lvl5pPr>
          </a:lstStyle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74" name="Text Placeholder 273">
            <a:extLst>
              <a:ext uri="{FF2B5EF4-FFF2-40B4-BE49-F238E27FC236}">
                <a16:creationId xmlns:a16="http://schemas.microsoft.com/office/drawing/2014/main" id="{9180577A-0F2A-DFC9-F5B4-E28B4EB68E4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0" y="4293095"/>
            <a:ext cx="1581031" cy="2395295"/>
          </a:xfrm>
          <a:custGeom>
            <a:avLst/>
            <a:gdLst>
              <a:gd name="connsiteX0" fmla="*/ 1994280 w 2056324"/>
              <a:gd name="connsiteY0" fmla="*/ 19 h 3115375"/>
              <a:gd name="connsiteX1" fmla="*/ 2056324 w 2056324"/>
              <a:gd name="connsiteY1" fmla="*/ 102309 h 3115375"/>
              <a:gd name="connsiteX2" fmla="*/ 2056324 w 2056324"/>
              <a:gd name="connsiteY2" fmla="*/ 1036357 h 3115375"/>
              <a:gd name="connsiteX3" fmla="*/ 1915394 w 2056324"/>
              <a:gd name="connsiteY3" fmla="*/ 1367234 h 3115375"/>
              <a:gd name="connsiteX4" fmla="*/ 140135 w 2056324"/>
              <a:gd name="connsiteY4" fmla="*/ 3073019 h 3115375"/>
              <a:gd name="connsiteX5" fmla="*/ 2 w 2056324"/>
              <a:gd name="connsiteY5" fmla="*/ 3012980 h 3115375"/>
              <a:gd name="connsiteX6" fmla="*/ 3723 w 2056324"/>
              <a:gd name="connsiteY6" fmla="*/ 2078928 h 3115375"/>
              <a:gd name="connsiteX7" fmla="*/ 145316 w 2056324"/>
              <a:gd name="connsiteY7" fmla="*/ 1747922 h 3115375"/>
              <a:gd name="connsiteX8" fmla="*/ 1915526 w 2056324"/>
              <a:gd name="connsiteY8" fmla="*/ 42401 h 3115375"/>
              <a:gd name="connsiteX9" fmla="*/ 1994280 w 2056324"/>
              <a:gd name="connsiteY9" fmla="*/ 19 h 31153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056324" h="3115375">
                <a:moveTo>
                  <a:pt x="1994280" y="19"/>
                </a:moveTo>
                <a:cubicBezTo>
                  <a:pt x="2031729" y="-925"/>
                  <a:pt x="2056324" y="34814"/>
                  <a:pt x="2056324" y="102309"/>
                </a:cubicBezTo>
                <a:lnTo>
                  <a:pt x="2056324" y="1036357"/>
                </a:lnTo>
                <a:cubicBezTo>
                  <a:pt x="2056324" y="1144349"/>
                  <a:pt x="1993229" y="1292451"/>
                  <a:pt x="1915394" y="1367234"/>
                </a:cubicBezTo>
                <a:lnTo>
                  <a:pt x="140135" y="3073019"/>
                </a:lnTo>
                <a:cubicBezTo>
                  <a:pt x="62300" y="3147800"/>
                  <a:pt x="-397" y="3120969"/>
                  <a:pt x="2" y="3012980"/>
                </a:cubicBezTo>
                <a:lnTo>
                  <a:pt x="3723" y="2078928"/>
                </a:lnTo>
                <a:cubicBezTo>
                  <a:pt x="3723" y="1970939"/>
                  <a:pt x="67612" y="1822835"/>
                  <a:pt x="145316" y="1747922"/>
                </a:cubicBezTo>
                <a:lnTo>
                  <a:pt x="1915526" y="42401"/>
                </a:lnTo>
                <a:cubicBezTo>
                  <a:pt x="1944714" y="14358"/>
                  <a:pt x="1971811" y="586"/>
                  <a:pt x="1994280" y="19"/>
                </a:cubicBezTo>
                <a:close/>
              </a:path>
            </a:pathLst>
          </a:custGeom>
          <a:solidFill>
            <a:schemeClr val="accent4">
              <a:alpha val="40000"/>
            </a:schemeClr>
          </a:solidFill>
        </p:spPr>
        <p:txBody>
          <a:bodyPr wrap="square">
            <a:noAutofit/>
          </a:bodyPr>
          <a:lstStyle>
            <a:lvl1pPr>
              <a:defRPr sz="100">
                <a:solidFill>
                  <a:schemeClr val="accent4">
                    <a:alpha val="0"/>
                  </a:schemeClr>
                </a:solidFill>
              </a:defRPr>
            </a:lvl1pPr>
            <a:lvl2pPr>
              <a:defRPr sz="100">
                <a:solidFill>
                  <a:schemeClr val="accent4">
                    <a:alpha val="0"/>
                  </a:schemeClr>
                </a:solidFill>
              </a:defRPr>
            </a:lvl2pPr>
            <a:lvl3pPr>
              <a:defRPr sz="100">
                <a:solidFill>
                  <a:schemeClr val="accent4">
                    <a:alpha val="0"/>
                  </a:schemeClr>
                </a:solidFill>
              </a:defRPr>
            </a:lvl3pPr>
            <a:lvl4pPr>
              <a:defRPr sz="100">
                <a:solidFill>
                  <a:schemeClr val="accent4">
                    <a:alpha val="0"/>
                  </a:schemeClr>
                </a:solidFill>
              </a:defRPr>
            </a:lvl4pPr>
            <a:lvl5pPr>
              <a:defRPr sz="100">
                <a:solidFill>
                  <a:schemeClr val="accent4">
                    <a:alpha val="0"/>
                  </a:schemeClr>
                </a:solidFill>
              </a:defRPr>
            </a:lvl5pPr>
          </a:lstStyle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DCE16DFF-A34B-DDDB-C64E-BC480791895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64386" y="332657"/>
            <a:ext cx="5892296" cy="75669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9524950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hf hdr="0" dt="0"/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blank" preserve="1" userDrawn="1">
  <p:cSld name="Vide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pSp>
        <p:nvGrpSpPr>
          <p:cNvPr id="188806930" name="Groupe 5"/>
          <p:cNvGrpSpPr/>
          <p:nvPr userDrawn="1"/>
        </p:nvGrpSpPr>
        <p:grpSpPr bwMode="auto">
          <a:xfrm>
            <a:off x="-95255" y="-1136968"/>
            <a:ext cx="2937510" cy="8985064"/>
            <a:chOff x="-95255" y="-1136968"/>
            <a:chExt cx="2937510" cy="8985064"/>
          </a:xfrm>
        </p:grpSpPr>
        <p:pic>
          <p:nvPicPr>
            <p:cNvPr id="7" name="Image 6" descr="An image containing Rectangle, Screenshot, Line, Colored Character&#10;&#10;Auto-generated description"/>
            <p:cNvPicPr>
              <a:picLocks noChangeAspect="1"/>
            </p:cNvPicPr>
            <p:nvPr userDrawn="1"/>
          </p:nvPicPr>
          <p:blipFill>
            <a:blip r:embed="rId2"/>
            <a:stretch/>
          </p:blipFill>
          <p:spPr bwMode="auto">
            <a:xfrm rot="5400000">
              <a:off x="-1018800" y="6112641"/>
              <a:ext cx="2750820" cy="720090"/>
            </a:xfrm>
            <a:prstGeom prst="rect">
              <a:avLst/>
            </a:prstGeom>
          </p:spPr>
        </p:pic>
        <p:pic>
          <p:nvPicPr>
            <p:cNvPr id="8" name="Image 7" descr="An image containing Rectangle, Screenshot, Line, Colored Character&#10;&#10;Auto-generated description"/>
            <p:cNvPicPr>
              <a:picLocks noChangeAspect="1"/>
            </p:cNvPicPr>
            <p:nvPr userDrawn="1"/>
          </p:nvPicPr>
          <p:blipFill>
            <a:blip r:embed="rId2"/>
            <a:stretch/>
          </p:blipFill>
          <p:spPr bwMode="auto">
            <a:xfrm rot="5400000">
              <a:off x="-1018800" y="3504882"/>
              <a:ext cx="2750820" cy="720090"/>
            </a:xfrm>
            <a:prstGeom prst="rect">
              <a:avLst/>
            </a:prstGeom>
          </p:spPr>
        </p:pic>
        <p:pic>
          <p:nvPicPr>
            <p:cNvPr id="9" name="Image 8" descr="An image containing screenshot, graphic, graphics, design&#10;&#10;Auto-generated description"/>
            <p:cNvPicPr>
              <a:picLocks noChangeAspect="1"/>
            </p:cNvPicPr>
            <p:nvPr userDrawn="1"/>
          </p:nvPicPr>
          <p:blipFill>
            <a:blip r:embed="rId3"/>
            <a:stretch/>
          </p:blipFill>
          <p:spPr bwMode="auto">
            <a:xfrm rot="5400000">
              <a:off x="-444505" y="-787718"/>
              <a:ext cx="3636010" cy="2937510"/>
            </a:xfrm>
            <a:prstGeom prst="rect">
              <a:avLst/>
            </a:prstGeom>
          </p:spPr>
        </p:pic>
      </p:grpSp>
      <p:sp>
        <p:nvSpPr>
          <p:cNvPr id="1864211292" name="Espace réservé de la date 1"/>
          <p:cNvSpPr>
            <a:spLocks noGrp="1"/>
          </p:cNvSpPr>
          <p:nvPr>
            <p:ph type="dt" sz="half" idx="10"/>
          </p:nvPr>
        </p:nvSpPr>
        <p:spPr bwMode="auto"/>
        <p:txBody>
          <a:bodyPr/>
          <a:lstStyle/>
          <a:p>
            <a:pPr>
              <a:defRPr/>
            </a:pPr>
            <a:fld id="{6A65543E-75B9-484F-BE71-23411CEBAC7E}" type="datetimeFigureOut">
              <a:rPr lang="fr-FR"/>
              <a:t>26/05/2026</a:t>
            </a:fld>
            <a:endParaRPr lang="fr-FR"/>
          </a:p>
        </p:txBody>
      </p:sp>
      <p:sp>
        <p:nvSpPr>
          <p:cNvPr id="745227754" name="Espace réservé du numéro de diapositive 3"/>
          <p:cNvSpPr>
            <a:spLocks noGrp="1"/>
          </p:cNvSpPr>
          <p:nvPr>
            <p:ph type="sldNum" sz="quarter" idx="12"/>
          </p:nvPr>
        </p:nvSpPr>
        <p:spPr bwMode="auto"/>
        <p:txBody>
          <a:bodyPr/>
          <a:lstStyle/>
          <a:p>
            <a:pPr>
              <a:defRPr/>
            </a:pPr>
            <a:fld id="{54E9A060-BB2C-9D41-B263-FE666F464037}" type="slidenum">
              <a:rPr lang="fr-FR"/>
              <a:t>‹#›</a:t>
            </a:fld>
            <a:endParaRPr lang="fr-FR"/>
          </a:p>
        </p:txBody>
      </p:sp>
      <p:pic>
        <p:nvPicPr>
          <p:cNvPr id="1675733526" name="Image 4" descr="An image containing Font, Graphic, Logo, Graphic Design&#10;&#10;Auto-generated description"/>
          <p:cNvPicPr>
            <a:picLocks noChangeAspect="1"/>
          </p:cNvPicPr>
          <p:nvPr userDrawn="1"/>
        </p:nvPicPr>
        <p:blipFill>
          <a:blip r:embed="rId4"/>
          <a:stretch/>
        </p:blipFill>
        <p:spPr bwMode="auto">
          <a:xfrm>
            <a:off x="5099685" y="6243758"/>
            <a:ext cx="1992630" cy="5018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43826058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tail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>
            <a:extLst>
              <a:ext uri="{FF2B5EF4-FFF2-40B4-BE49-F238E27FC236}">
                <a16:creationId xmlns:a16="http://schemas.microsoft.com/office/drawing/2014/main" id="{C38C52AE-0BF8-B0C2-907F-E5CC567D02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fi-FI"/>
              <a:t>Muokkaa ots. perustyyl. napsautt.</a:t>
            </a:r>
            <a:endParaRPr lang="en-GB"/>
          </a:p>
        </p:txBody>
      </p:sp>
      <p:sp>
        <p:nvSpPr>
          <p:cNvPr id="3" name="Tekstin paikkamerkki 2">
            <a:extLst>
              <a:ext uri="{FF2B5EF4-FFF2-40B4-BE49-F238E27FC236}">
                <a16:creationId xmlns:a16="http://schemas.microsoft.com/office/drawing/2014/main" id="{6E771ACC-C760-7CBD-087F-9F467289362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i-FI"/>
              <a:t>Muokkaa tekstin perustyylejä napsauttamalla</a:t>
            </a:r>
          </a:p>
        </p:txBody>
      </p:sp>
      <p:sp>
        <p:nvSpPr>
          <p:cNvPr id="4" name="Sisällön paikkamerkki 3">
            <a:extLst>
              <a:ext uri="{FF2B5EF4-FFF2-40B4-BE49-F238E27FC236}">
                <a16:creationId xmlns:a16="http://schemas.microsoft.com/office/drawing/2014/main" id="{58F099D7-9999-FF0E-BE92-29CF4E9463E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en-GB"/>
          </a:p>
        </p:txBody>
      </p:sp>
      <p:sp>
        <p:nvSpPr>
          <p:cNvPr id="5" name="Tekstin paikkamerkki 4">
            <a:extLst>
              <a:ext uri="{FF2B5EF4-FFF2-40B4-BE49-F238E27FC236}">
                <a16:creationId xmlns:a16="http://schemas.microsoft.com/office/drawing/2014/main" id="{AB5A2491-4867-5F34-8564-CD0F008AB30E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i-FI"/>
              <a:t>Muokkaa tekstin perustyylejä napsauttamalla</a:t>
            </a:r>
          </a:p>
        </p:txBody>
      </p:sp>
      <p:sp>
        <p:nvSpPr>
          <p:cNvPr id="6" name="Sisällön paikkamerkki 5">
            <a:extLst>
              <a:ext uri="{FF2B5EF4-FFF2-40B4-BE49-F238E27FC236}">
                <a16:creationId xmlns:a16="http://schemas.microsoft.com/office/drawing/2014/main" id="{02E90EB2-DB97-91ED-F390-0DEE7EFD757A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en-GB"/>
          </a:p>
        </p:txBody>
      </p:sp>
      <p:sp>
        <p:nvSpPr>
          <p:cNvPr id="7" name="Päivämäärän paikkamerkki 6">
            <a:extLst>
              <a:ext uri="{FF2B5EF4-FFF2-40B4-BE49-F238E27FC236}">
                <a16:creationId xmlns:a16="http://schemas.microsoft.com/office/drawing/2014/main" id="{E3340B0C-CDA9-25F4-B5B8-9043EE4898C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908D4E-2D51-4E6B-AA58-6D746F5ACE7F}" type="datetimeFigureOut">
              <a:rPr lang="en-GB" smtClean="0"/>
              <a:t>26/05/2026</a:t>
            </a:fld>
            <a:endParaRPr lang="en-GB"/>
          </a:p>
        </p:txBody>
      </p:sp>
      <p:sp>
        <p:nvSpPr>
          <p:cNvPr id="8" name="Alatunnisteen paikkamerkki 7">
            <a:extLst>
              <a:ext uri="{FF2B5EF4-FFF2-40B4-BE49-F238E27FC236}">
                <a16:creationId xmlns:a16="http://schemas.microsoft.com/office/drawing/2014/main" id="{4AD3D310-6BC5-0C18-8867-D09EFB62D43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Dian numeron paikkamerkki 8">
            <a:extLst>
              <a:ext uri="{FF2B5EF4-FFF2-40B4-BE49-F238E27FC236}">
                <a16:creationId xmlns:a16="http://schemas.microsoft.com/office/drawing/2014/main" id="{ACA55723-C3D0-E69C-2EAC-4BCA471A065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28A85C-7A52-498C-A386-E3E4F2B3F778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09947417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Vain otsikk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>
            <a:extLst>
              <a:ext uri="{FF2B5EF4-FFF2-40B4-BE49-F238E27FC236}">
                <a16:creationId xmlns:a16="http://schemas.microsoft.com/office/drawing/2014/main" id="{7D535F60-A60D-45B5-834F-4D5BC26461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/>
              <a:t>Muokkaa perustyyl. napsautt.</a:t>
            </a:r>
          </a:p>
        </p:txBody>
      </p:sp>
      <p:sp>
        <p:nvSpPr>
          <p:cNvPr id="3" name="Päivämäärän paikkamerkki 2">
            <a:extLst>
              <a:ext uri="{FF2B5EF4-FFF2-40B4-BE49-F238E27FC236}">
                <a16:creationId xmlns:a16="http://schemas.microsoft.com/office/drawing/2014/main" id="{443688EB-A59D-419E-A300-D78E2B30C12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369D868-51E5-4D80-8AF5-8E1293550929}" type="datetimeFigureOut">
              <a:rPr lang="fi-FI" smtClean="0"/>
              <a:t>26.5.2026</a:t>
            </a:fld>
            <a:endParaRPr lang="fi-FI"/>
          </a:p>
        </p:txBody>
      </p:sp>
      <p:sp>
        <p:nvSpPr>
          <p:cNvPr id="4" name="Alatunnisteen paikkamerkki 3">
            <a:extLst>
              <a:ext uri="{FF2B5EF4-FFF2-40B4-BE49-F238E27FC236}">
                <a16:creationId xmlns:a16="http://schemas.microsoft.com/office/drawing/2014/main" id="{96F79AF3-53BE-4530-8210-330C6661DF2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5" name="Dian numeron paikkamerkki 4">
            <a:extLst>
              <a:ext uri="{FF2B5EF4-FFF2-40B4-BE49-F238E27FC236}">
                <a16:creationId xmlns:a16="http://schemas.microsoft.com/office/drawing/2014/main" id="{35DA3B8A-9F35-447E-A073-7C99AA53E08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574CFEE-760F-4E89-BFF7-054FCC306F78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857765639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bg object 16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1" y="6311898"/>
            <a:ext cx="12191999" cy="542998"/>
          </a:xfrm>
          <a:prstGeom prst="rect">
            <a:avLst/>
          </a:prstGeom>
        </p:spPr>
      </p:pic>
      <p:sp>
        <p:nvSpPr>
          <p:cNvPr id="17" name="bg object 17"/>
          <p:cNvSpPr/>
          <p:nvPr/>
        </p:nvSpPr>
        <p:spPr>
          <a:xfrm>
            <a:off x="0" y="6311899"/>
            <a:ext cx="12192000" cy="546100"/>
          </a:xfrm>
          <a:custGeom>
            <a:avLst/>
            <a:gdLst/>
            <a:ahLst/>
            <a:cxnLst/>
            <a:rect l="l" t="t" r="r" b="b"/>
            <a:pathLst>
              <a:path w="14630400" h="655320">
                <a:moveTo>
                  <a:pt x="0" y="655319"/>
                </a:moveTo>
                <a:lnTo>
                  <a:pt x="14630400" y="655319"/>
                </a:lnTo>
                <a:lnTo>
                  <a:pt x="14630400" y="0"/>
                </a:lnTo>
                <a:lnTo>
                  <a:pt x="0" y="0"/>
                </a:lnTo>
                <a:lnTo>
                  <a:pt x="0" y="655319"/>
                </a:lnTo>
                <a:close/>
              </a:path>
            </a:pathLst>
          </a:custGeom>
          <a:ln w="12700">
            <a:solidFill>
              <a:srgbClr val="00245C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18" name="bg object 18"/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144918" y="6438085"/>
            <a:ext cx="693293" cy="293370"/>
          </a:xfrm>
          <a:prstGeom prst="rect">
            <a:avLst/>
          </a:prstGeom>
        </p:spPr>
      </p:pic>
      <p:pic>
        <p:nvPicPr>
          <p:cNvPr id="19" name="bg object 19"/>
          <p:cNvPicPr/>
          <p:nvPr/>
        </p:nvPicPr>
        <p:blipFill>
          <a:blip r:embed="rId4" cstate="print"/>
          <a:stretch>
            <a:fillRect/>
          </a:stretch>
        </p:blipFill>
        <p:spPr>
          <a:xfrm>
            <a:off x="0" y="42"/>
            <a:ext cx="4177558" cy="6266286"/>
          </a:xfrm>
          <a:prstGeom prst="rect">
            <a:avLst/>
          </a:prstGeom>
        </p:spPr>
      </p:pic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5223298" y="2329008"/>
            <a:ext cx="5872692" cy="120755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3667" b="0" i="0">
                <a:solidFill>
                  <a:srgbClr val="003580"/>
                </a:solidFill>
                <a:latin typeface="Arial Black"/>
                <a:cs typeface="Arial Black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828800" y="3840480"/>
            <a:ext cx="8534400" cy="17145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2000" b="0" i="0">
                <a:solidFill>
                  <a:schemeClr val="tx1"/>
                </a:solidFill>
                <a:latin typeface="Arial MT"/>
                <a:cs typeface="Arial MT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5/26/2026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1208" b="0" i="0">
                <a:solidFill>
                  <a:schemeClr val="bg1"/>
                </a:solidFill>
                <a:latin typeface="Arial MT"/>
                <a:cs typeface="Arial MT"/>
              </a:defRPr>
            </a:lvl1pPr>
          </a:lstStyle>
          <a:p>
            <a:pPr marL="10583">
              <a:lnSpc>
                <a:spcPct val="100000"/>
              </a:lnSpc>
              <a:spcBef>
                <a:spcPts val="158"/>
              </a:spcBef>
            </a:pPr>
            <a:fld id="{81D60167-4931-47E6-BA6A-407CBD079E47}" type="slidenum">
              <a:rPr spc="-21" dirty="0"/>
              <a:pPr marL="10583">
                <a:lnSpc>
                  <a:spcPct val="100000"/>
                </a:lnSpc>
                <a:spcBef>
                  <a:spcPts val="158"/>
                </a:spcBef>
              </a:pPr>
              <a:t>‹#›</a:t>
            </a:fld>
            <a:endParaRPr spc="-21"/>
          </a:p>
        </p:txBody>
      </p:sp>
    </p:spTree>
    <p:extLst>
      <p:ext uri="{BB962C8B-B14F-4D97-AF65-F5344CB8AC3E}">
        <p14:creationId xmlns:p14="http://schemas.microsoft.com/office/powerpoint/2010/main" val="24778954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3667" b="0" i="0">
                <a:solidFill>
                  <a:srgbClr val="003580"/>
                </a:solidFill>
                <a:latin typeface="Arial Black"/>
                <a:cs typeface="Arial Black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609600" y="1577340"/>
            <a:ext cx="530352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6278880" y="1577340"/>
            <a:ext cx="530352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5/26/2026</a:t>
            </a:fld>
            <a:endParaRPr lang="en-US"/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1208" b="0" i="0">
                <a:solidFill>
                  <a:schemeClr val="bg1"/>
                </a:solidFill>
                <a:latin typeface="Arial MT"/>
                <a:cs typeface="Arial MT"/>
              </a:defRPr>
            </a:lvl1pPr>
          </a:lstStyle>
          <a:p>
            <a:pPr marL="10583">
              <a:lnSpc>
                <a:spcPct val="100000"/>
              </a:lnSpc>
              <a:spcBef>
                <a:spcPts val="158"/>
              </a:spcBef>
            </a:pPr>
            <a:fld id="{81D60167-4931-47E6-BA6A-407CBD079E47}" type="slidenum">
              <a:rPr spc="-21" dirty="0"/>
              <a:pPr marL="10583">
                <a:lnSpc>
                  <a:spcPct val="100000"/>
                </a:lnSpc>
                <a:spcBef>
                  <a:spcPts val="158"/>
                </a:spcBef>
              </a:pPr>
              <a:t>‹#›</a:t>
            </a:fld>
            <a:endParaRPr spc="-21"/>
          </a:p>
        </p:txBody>
      </p:sp>
    </p:spTree>
    <p:extLst>
      <p:ext uri="{BB962C8B-B14F-4D97-AF65-F5344CB8AC3E}">
        <p14:creationId xmlns:p14="http://schemas.microsoft.com/office/powerpoint/2010/main" val="958537080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DEFAUL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71095787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Picture Placeholder 39">
            <a:extLst>
              <a:ext uri="{FF2B5EF4-FFF2-40B4-BE49-F238E27FC236}">
                <a16:creationId xmlns:a16="http://schemas.microsoft.com/office/drawing/2014/main" id="{007926FA-F693-3EDC-38EE-91D43A83D4BE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0"/>
            <a:ext cx="7370656" cy="6858000"/>
          </a:xfrm>
          <a:custGeom>
            <a:avLst/>
            <a:gdLst>
              <a:gd name="connsiteX0" fmla="*/ 5928929 w 7370656"/>
              <a:gd name="connsiteY0" fmla="*/ 0 h 6858000"/>
              <a:gd name="connsiteX1" fmla="*/ 7370656 w 7370656"/>
              <a:gd name="connsiteY1" fmla="*/ 0 h 6858000"/>
              <a:gd name="connsiteX2" fmla="*/ 7370656 w 7370656"/>
              <a:gd name="connsiteY2" fmla="*/ 2905561 h 6858000"/>
              <a:gd name="connsiteX3" fmla="*/ 6834860 w 7370656"/>
              <a:gd name="connsiteY3" fmla="*/ 4163505 h 6858000"/>
              <a:gd name="connsiteX4" fmla="*/ 4030627 w 7370656"/>
              <a:gd name="connsiteY4" fmla="*/ 6858000 h 6858000"/>
              <a:gd name="connsiteX5" fmla="*/ 0 w 7370656"/>
              <a:gd name="connsiteY5" fmla="*/ 6858000 h 6858000"/>
              <a:gd name="connsiteX6" fmla="*/ 0 w 7370656"/>
              <a:gd name="connsiteY6" fmla="*/ 5726910 h 6858000"/>
              <a:gd name="connsiteX7" fmla="*/ 105302 w 7370656"/>
              <a:gd name="connsiteY7" fmla="*/ 5610822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370656" h="6858000">
                <a:moveTo>
                  <a:pt x="5928929" y="0"/>
                </a:moveTo>
                <a:lnTo>
                  <a:pt x="7370656" y="0"/>
                </a:lnTo>
                <a:lnTo>
                  <a:pt x="7370656" y="2905561"/>
                </a:lnTo>
                <a:cubicBezTo>
                  <a:pt x="7370656" y="3316129"/>
                  <a:pt x="7130780" y="3879189"/>
                  <a:pt x="6834860" y="4163505"/>
                </a:cubicBezTo>
                <a:lnTo>
                  <a:pt x="4030627" y="6858000"/>
                </a:lnTo>
                <a:lnTo>
                  <a:pt x="0" y="6858000"/>
                </a:lnTo>
                <a:lnTo>
                  <a:pt x="0" y="5726910"/>
                </a:lnTo>
                <a:lnTo>
                  <a:pt x="105302" y="5610822"/>
                </a:lnTo>
                <a:close/>
              </a:path>
            </a:pathLst>
          </a:custGeom>
          <a:solidFill>
            <a:schemeClr val="bg2">
              <a:lumMod val="75000"/>
            </a:schemeClr>
          </a:solidFill>
        </p:spPr>
        <p:txBody>
          <a:bodyPr wrap="square" anchor="ctr">
            <a:noAutofit/>
          </a:bodyPr>
          <a:lstStyle>
            <a:lvl1pPr algn="ctr">
              <a:defRPr sz="1100" b="0">
                <a:solidFill>
                  <a:schemeClr val="tx1"/>
                </a:solidFill>
              </a:defRPr>
            </a:lvl1pPr>
          </a:lstStyle>
          <a:p>
            <a:endParaRPr lang="en-GB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9BAE3441-4B8F-388F-1334-FA8345D509B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248128" y="2708920"/>
            <a:ext cx="4319985" cy="2441159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C4FD3E1C-850C-C02D-1DB8-89F0D37B108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495870" y="251460"/>
            <a:ext cx="1283569" cy="1038860"/>
          </a:xfrm>
          <a:prstGeom prst="rect">
            <a:avLst/>
          </a:prstGeom>
        </p:spPr>
      </p:pic>
      <p:pic>
        <p:nvPicPr>
          <p:cNvPr id="8" name="Graphic 7">
            <a:extLst>
              <a:ext uri="{FF2B5EF4-FFF2-40B4-BE49-F238E27FC236}">
                <a16:creationId xmlns:a16="http://schemas.microsoft.com/office/drawing/2014/main" id="{D83698D8-7C67-8F6E-EA48-ECE24E092CC2}"/>
              </a:ext>
            </a:extLst>
          </p:cNvPr>
          <p:cNvPicPr>
            <a:picLocks noChangeAspect="1"/>
          </p:cNvPicPr>
          <p:nvPr userDrawn="1"/>
        </p:nvPicPr>
        <p:blipFill>
          <a:blip cstate="hq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627202" y="334561"/>
            <a:ext cx="1667613" cy="1007898"/>
          </a:xfrm>
          <a:prstGeom prst="rect">
            <a:avLst/>
          </a:prstGeom>
        </p:spPr>
      </p:pic>
      <p:sp>
        <p:nvSpPr>
          <p:cNvPr id="42" name="Picture Placeholder 41">
            <a:extLst>
              <a:ext uri="{FF2B5EF4-FFF2-40B4-BE49-F238E27FC236}">
                <a16:creationId xmlns:a16="http://schemas.microsoft.com/office/drawing/2014/main" id="{9EADD5B2-CDC8-B9EB-21CC-54B8A6A4677D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38050" y="1645943"/>
            <a:ext cx="2055374" cy="3678282"/>
          </a:xfrm>
          <a:custGeom>
            <a:avLst/>
            <a:gdLst>
              <a:gd name="connsiteX0" fmla="*/ 1969581 w 2055374"/>
              <a:gd name="connsiteY0" fmla="*/ 26 h 3678282"/>
              <a:gd name="connsiteX1" fmla="*/ 2055374 w 2055374"/>
              <a:gd name="connsiteY1" fmla="*/ 141471 h 3678282"/>
              <a:gd name="connsiteX2" fmla="*/ 2055374 w 2055374"/>
              <a:gd name="connsiteY2" fmla="*/ 1433058 h 3678282"/>
              <a:gd name="connsiteX3" fmla="*/ 1860498 w 2055374"/>
              <a:gd name="connsiteY3" fmla="*/ 1890589 h 3678282"/>
              <a:gd name="connsiteX4" fmla="*/ 0 w 2055374"/>
              <a:gd name="connsiteY4" fmla="*/ 3678282 h 3678282"/>
              <a:gd name="connsiteX5" fmla="*/ 2142 w 2055374"/>
              <a:gd name="connsiteY5" fmla="*/ 3675624 h 3678282"/>
              <a:gd name="connsiteX6" fmla="*/ 151352 w 2055374"/>
              <a:gd name="connsiteY6" fmla="*/ 3220026 h 3678282"/>
              <a:gd name="connsiteX7" fmla="*/ 151352 w 2055374"/>
              <a:gd name="connsiteY7" fmla="*/ 1705498 h 3678282"/>
              <a:gd name="connsiteX8" fmla="*/ 1860680 w 2055374"/>
              <a:gd name="connsiteY8" fmla="*/ 58631 h 3678282"/>
              <a:gd name="connsiteX9" fmla="*/ 1969581 w 2055374"/>
              <a:gd name="connsiteY9" fmla="*/ 26 h 36782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055374" h="3678282">
                <a:moveTo>
                  <a:pt x="1969581" y="26"/>
                </a:moveTo>
                <a:cubicBezTo>
                  <a:pt x="2021365" y="-1279"/>
                  <a:pt x="2055374" y="48140"/>
                  <a:pt x="2055374" y="141471"/>
                </a:cubicBezTo>
                <a:lnTo>
                  <a:pt x="2055374" y="1433058"/>
                </a:lnTo>
                <a:cubicBezTo>
                  <a:pt x="2055374" y="1582387"/>
                  <a:pt x="1968128" y="1787180"/>
                  <a:pt x="1860498" y="1890589"/>
                </a:cubicBezTo>
                <a:lnTo>
                  <a:pt x="0" y="3678282"/>
                </a:lnTo>
                <a:lnTo>
                  <a:pt x="2142" y="3675624"/>
                </a:lnTo>
                <a:cubicBezTo>
                  <a:pt x="89828" y="3539948"/>
                  <a:pt x="151352" y="3360432"/>
                  <a:pt x="151352" y="3220026"/>
                </a:cubicBezTo>
                <a:lnTo>
                  <a:pt x="151352" y="1705498"/>
                </a:lnTo>
                <a:lnTo>
                  <a:pt x="1860680" y="58631"/>
                </a:lnTo>
                <a:cubicBezTo>
                  <a:pt x="1901042" y="19854"/>
                  <a:pt x="1938511" y="810"/>
                  <a:pt x="1969581" y="26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algn="ctr">
              <a:defRPr sz="1100" b="0">
                <a:solidFill>
                  <a:schemeClr val="tx1"/>
                </a:solidFill>
              </a:defRPr>
            </a:lvl1pPr>
          </a:lstStyle>
          <a:p>
            <a:endParaRPr lang="en-GB"/>
          </a:p>
        </p:txBody>
      </p:sp>
      <p:sp>
        <p:nvSpPr>
          <p:cNvPr id="31" name="Picture Placeholder 30">
            <a:extLst>
              <a:ext uri="{FF2B5EF4-FFF2-40B4-BE49-F238E27FC236}">
                <a16:creationId xmlns:a16="http://schemas.microsoft.com/office/drawing/2014/main" id="{FD3E7CB8-8A21-265D-41A2-D3D9ED5483F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037796" y="222434"/>
            <a:ext cx="2368832" cy="3588836"/>
          </a:xfrm>
          <a:custGeom>
            <a:avLst/>
            <a:gdLst>
              <a:gd name="connsiteX0" fmla="*/ 2297359 w 2368832"/>
              <a:gd name="connsiteY0" fmla="*/ 22 h 3588836"/>
              <a:gd name="connsiteX1" fmla="*/ 2368832 w 2368832"/>
              <a:gd name="connsiteY1" fmla="*/ 117857 h 3588836"/>
              <a:gd name="connsiteX2" fmla="*/ 2368832 w 2368832"/>
              <a:gd name="connsiteY2" fmla="*/ 1193858 h 3588836"/>
              <a:gd name="connsiteX3" fmla="*/ 2206483 w 2368832"/>
              <a:gd name="connsiteY3" fmla="*/ 1575021 h 3588836"/>
              <a:gd name="connsiteX4" fmla="*/ 161433 w 2368832"/>
              <a:gd name="connsiteY4" fmla="*/ 3540043 h 3588836"/>
              <a:gd name="connsiteX5" fmla="*/ 3 w 2368832"/>
              <a:gd name="connsiteY5" fmla="*/ 3470879 h 3588836"/>
              <a:gd name="connsiteX6" fmla="*/ 4289 w 2368832"/>
              <a:gd name="connsiteY6" fmla="*/ 2394875 h 3588836"/>
              <a:gd name="connsiteX7" fmla="*/ 167400 w 2368832"/>
              <a:gd name="connsiteY7" fmla="*/ 2013564 h 3588836"/>
              <a:gd name="connsiteX8" fmla="*/ 2206635 w 2368832"/>
              <a:gd name="connsiteY8" fmla="*/ 48845 h 3588836"/>
              <a:gd name="connsiteX9" fmla="*/ 2297359 w 2368832"/>
              <a:gd name="connsiteY9" fmla="*/ 22 h 35888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368832" h="3588836">
                <a:moveTo>
                  <a:pt x="2297359" y="22"/>
                </a:moveTo>
                <a:cubicBezTo>
                  <a:pt x="2340499" y="-1066"/>
                  <a:pt x="2368832" y="40105"/>
                  <a:pt x="2368832" y="117857"/>
                </a:cubicBezTo>
                <a:lnTo>
                  <a:pt x="2368832" y="1193858"/>
                </a:lnTo>
                <a:cubicBezTo>
                  <a:pt x="2368832" y="1318262"/>
                  <a:pt x="2296148" y="1488872"/>
                  <a:pt x="2206483" y="1575021"/>
                </a:cubicBezTo>
                <a:lnTo>
                  <a:pt x="161433" y="3540043"/>
                </a:lnTo>
                <a:cubicBezTo>
                  <a:pt x="71768" y="3626189"/>
                  <a:pt x="-456" y="3595279"/>
                  <a:pt x="3" y="3470879"/>
                </a:cubicBezTo>
                <a:lnTo>
                  <a:pt x="4289" y="2394875"/>
                </a:lnTo>
                <a:cubicBezTo>
                  <a:pt x="4289" y="2270474"/>
                  <a:pt x="77887" y="2099861"/>
                  <a:pt x="167400" y="2013564"/>
                </a:cubicBezTo>
                <a:lnTo>
                  <a:pt x="2206635" y="48845"/>
                </a:lnTo>
                <a:cubicBezTo>
                  <a:pt x="2240260" y="16540"/>
                  <a:pt x="2271475" y="675"/>
                  <a:pt x="2297359" y="22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algn="ctr">
              <a:defRPr sz="1100" b="0">
                <a:solidFill>
                  <a:schemeClr val="tx1"/>
                </a:solidFill>
              </a:defRPr>
            </a:lvl1pPr>
          </a:lstStyle>
          <a:p>
            <a:endParaRPr lang="en-GB"/>
          </a:p>
        </p:txBody>
      </p:sp>
      <p:sp>
        <p:nvSpPr>
          <p:cNvPr id="34" name="Picture Placeholder 33">
            <a:extLst>
              <a:ext uri="{FF2B5EF4-FFF2-40B4-BE49-F238E27FC236}">
                <a16:creationId xmlns:a16="http://schemas.microsoft.com/office/drawing/2014/main" id="{96FBAB1F-A836-3B29-E4DD-7F89297F3B8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958216" y="1160138"/>
            <a:ext cx="3429951" cy="5196454"/>
          </a:xfrm>
          <a:custGeom>
            <a:avLst/>
            <a:gdLst>
              <a:gd name="connsiteX0" fmla="*/ 3326462 w 3429951"/>
              <a:gd name="connsiteY0" fmla="*/ 31 h 5196454"/>
              <a:gd name="connsiteX1" fmla="*/ 3429951 w 3429951"/>
              <a:gd name="connsiteY1" fmla="*/ 170650 h 5196454"/>
              <a:gd name="connsiteX2" fmla="*/ 3429951 w 3429951"/>
              <a:gd name="connsiteY2" fmla="*/ 1728646 h 5196454"/>
              <a:gd name="connsiteX3" fmla="*/ 3194878 w 3429951"/>
              <a:gd name="connsiteY3" fmla="*/ 2280550 h 5196454"/>
              <a:gd name="connsiteX4" fmla="*/ 233746 w 3429951"/>
              <a:gd name="connsiteY4" fmla="*/ 5125804 h 5196454"/>
              <a:gd name="connsiteX5" fmla="*/ 4 w 3429951"/>
              <a:gd name="connsiteY5" fmla="*/ 5025658 h 5196454"/>
              <a:gd name="connsiteX6" fmla="*/ 6209 w 3429951"/>
              <a:gd name="connsiteY6" fmla="*/ 3467657 h 5196454"/>
              <a:gd name="connsiteX7" fmla="*/ 242387 w 3429951"/>
              <a:gd name="connsiteY7" fmla="*/ 2915538 h 5196454"/>
              <a:gd name="connsiteX8" fmla="*/ 3195099 w 3429951"/>
              <a:gd name="connsiteY8" fmla="*/ 70724 h 5196454"/>
              <a:gd name="connsiteX9" fmla="*/ 3326462 w 3429951"/>
              <a:gd name="connsiteY9" fmla="*/ 31 h 51964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429951" h="5196454">
                <a:moveTo>
                  <a:pt x="3326462" y="31"/>
                </a:moveTo>
                <a:cubicBezTo>
                  <a:pt x="3388927" y="-1544"/>
                  <a:pt x="3429951" y="58068"/>
                  <a:pt x="3429951" y="170650"/>
                </a:cubicBezTo>
                <a:lnTo>
                  <a:pt x="3429951" y="1728646"/>
                </a:lnTo>
                <a:cubicBezTo>
                  <a:pt x="3429951" y="1908777"/>
                  <a:pt x="3324709" y="2155810"/>
                  <a:pt x="3194878" y="2280550"/>
                </a:cubicBezTo>
                <a:lnTo>
                  <a:pt x="233746" y="5125804"/>
                </a:lnTo>
                <a:cubicBezTo>
                  <a:pt x="103916" y="5250539"/>
                  <a:pt x="-661" y="5205784"/>
                  <a:pt x="4" y="5025658"/>
                </a:cubicBezTo>
                <a:lnTo>
                  <a:pt x="6209" y="3467657"/>
                </a:lnTo>
                <a:cubicBezTo>
                  <a:pt x="6209" y="3287531"/>
                  <a:pt x="112777" y="3040493"/>
                  <a:pt x="242387" y="2915538"/>
                </a:cubicBezTo>
                <a:lnTo>
                  <a:pt x="3195099" y="70724"/>
                </a:lnTo>
                <a:cubicBezTo>
                  <a:pt x="3243785" y="23948"/>
                  <a:pt x="3288983" y="976"/>
                  <a:pt x="3326462" y="31"/>
                </a:cubicBezTo>
                <a:close/>
              </a:path>
            </a:pathLst>
          </a:custGeom>
          <a:solidFill>
            <a:schemeClr val="bg2">
              <a:lumMod val="90000"/>
            </a:schemeClr>
          </a:solidFill>
        </p:spPr>
        <p:txBody>
          <a:bodyPr wrap="square" anchor="ctr">
            <a:noAutofit/>
          </a:bodyPr>
          <a:lstStyle>
            <a:lvl1pPr algn="ctr">
              <a:defRPr sz="1100" b="0">
                <a:solidFill>
                  <a:schemeClr val="tx1"/>
                </a:solidFill>
              </a:defRPr>
            </a:lvl1pPr>
          </a:lstStyle>
          <a:p>
            <a:endParaRPr lang="en-GB"/>
          </a:p>
        </p:txBody>
      </p:sp>
      <p:sp>
        <p:nvSpPr>
          <p:cNvPr id="18" name="Freeform: Shape 17">
            <a:extLst>
              <a:ext uri="{FF2B5EF4-FFF2-40B4-BE49-F238E27FC236}">
                <a16:creationId xmlns:a16="http://schemas.microsoft.com/office/drawing/2014/main" id="{03835834-19A1-FEEB-9B2F-2793DE60A23C}"/>
              </a:ext>
            </a:extLst>
          </p:cNvPr>
          <p:cNvSpPr/>
          <p:nvPr userDrawn="1"/>
        </p:nvSpPr>
        <p:spPr>
          <a:xfrm>
            <a:off x="0" y="3069411"/>
            <a:ext cx="589402" cy="2701735"/>
          </a:xfrm>
          <a:custGeom>
            <a:avLst/>
            <a:gdLst>
              <a:gd name="connsiteX0" fmla="*/ 481847 w 589402"/>
              <a:gd name="connsiteY0" fmla="*/ 32 h 2701735"/>
              <a:gd name="connsiteX1" fmla="*/ 589402 w 589402"/>
              <a:gd name="connsiteY1" fmla="*/ 177354 h 2701735"/>
              <a:gd name="connsiteX2" fmla="*/ 589402 w 589402"/>
              <a:gd name="connsiteY2" fmla="*/ 1796558 h 2701735"/>
              <a:gd name="connsiteX3" fmla="*/ 345095 w 589402"/>
              <a:gd name="connsiteY3" fmla="*/ 2370144 h 2701735"/>
              <a:gd name="connsiteX4" fmla="*/ 0 w 589402"/>
              <a:gd name="connsiteY4" fmla="*/ 2701735 h 2701735"/>
              <a:gd name="connsiteX5" fmla="*/ 0 w 589402"/>
              <a:gd name="connsiteY5" fmla="*/ 406207 h 2701735"/>
              <a:gd name="connsiteX6" fmla="*/ 345324 w 589402"/>
              <a:gd name="connsiteY6" fmla="*/ 73502 h 2701735"/>
              <a:gd name="connsiteX7" fmla="*/ 481847 w 589402"/>
              <a:gd name="connsiteY7" fmla="*/ 32 h 27017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89402" h="2701735">
                <a:moveTo>
                  <a:pt x="481847" y="32"/>
                </a:moveTo>
                <a:cubicBezTo>
                  <a:pt x="546766" y="-1605"/>
                  <a:pt x="589402" y="60350"/>
                  <a:pt x="589402" y="177354"/>
                </a:cubicBezTo>
                <a:lnTo>
                  <a:pt x="589402" y="1796558"/>
                </a:lnTo>
                <a:cubicBezTo>
                  <a:pt x="589402" y="1983765"/>
                  <a:pt x="480026" y="2240504"/>
                  <a:pt x="345095" y="2370144"/>
                </a:cubicBezTo>
                <a:lnTo>
                  <a:pt x="0" y="2701735"/>
                </a:lnTo>
                <a:lnTo>
                  <a:pt x="0" y="406207"/>
                </a:lnTo>
                <a:lnTo>
                  <a:pt x="345324" y="73502"/>
                </a:lnTo>
                <a:cubicBezTo>
                  <a:pt x="395923" y="24889"/>
                  <a:pt x="442896" y="1014"/>
                  <a:pt x="481847" y="32"/>
                </a:cubicBezTo>
                <a:close/>
              </a:path>
            </a:pathLst>
          </a:custGeom>
          <a:solidFill>
            <a:srgbClr val="750D68"/>
          </a:solidFill>
          <a:ln w="4630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GB"/>
          </a:p>
        </p:txBody>
      </p:sp>
      <p:sp>
        <p:nvSpPr>
          <p:cNvPr id="127" name="Title 1">
            <a:extLst>
              <a:ext uri="{FF2B5EF4-FFF2-40B4-BE49-F238E27FC236}">
                <a16:creationId xmlns:a16="http://schemas.microsoft.com/office/drawing/2014/main" id="{4B5A252A-022F-6475-E63C-40D636079D6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248128" y="5350924"/>
            <a:ext cx="4319985" cy="395035"/>
          </a:xfrm>
        </p:spPr>
        <p:txBody>
          <a:bodyPr tIns="0" rIns="0" bIns="0">
            <a:normAutofit/>
          </a:bodyPr>
          <a:lstStyle>
            <a:lvl1pPr>
              <a:defRPr sz="1600" b="0"/>
            </a:lvl1pPr>
          </a:lstStyle>
          <a:p>
            <a:r>
              <a:rPr lang="en-GB"/>
              <a:t>This project is financed by the European Union</a:t>
            </a:r>
          </a:p>
        </p:txBody>
      </p:sp>
      <p:sp>
        <p:nvSpPr>
          <p:cNvPr id="130" name="Text Placeholder 129">
            <a:extLst>
              <a:ext uri="{FF2B5EF4-FFF2-40B4-BE49-F238E27FC236}">
                <a16:creationId xmlns:a16="http://schemas.microsoft.com/office/drawing/2014/main" id="{4CA45CA3-A343-CBEE-CC63-3B6DBA7621E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071665" y="3929918"/>
            <a:ext cx="3168183" cy="2928082"/>
          </a:xfrm>
          <a:custGeom>
            <a:avLst/>
            <a:gdLst>
              <a:gd name="connsiteX0" fmla="*/ 99941 w 3168183"/>
              <a:gd name="connsiteY0" fmla="*/ 30 h 2928082"/>
              <a:gd name="connsiteX1" fmla="*/ 226801 w 3168183"/>
              <a:gd name="connsiteY1" fmla="*/ 68299 h 2928082"/>
              <a:gd name="connsiteX2" fmla="*/ 3078293 w 3168183"/>
              <a:gd name="connsiteY2" fmla="*/ 2815594 h 2928082"/>
              <a:gd name="connsiteX3" fmla="*/ 3166736 w 3168183"/>
              <a:gd name="connsiteY3" fmla="*/ 2925352 h 2928082"/>
              <a:gd name="connsiteX4" fmla="*/ 3168183 w 3168183"/>
              <a:gd name="connsiteY4" fmla="*/ 2928082 h 2928082"/>
              <a:gd name="connsiteX5" fmla="*/ 982279 w 3168183"/>
              <a:gd name="connsiteY5" fmla="*/ 2928082 h 2928082"/>
              <a:gd name="connsiteX6" fmla="*/ 227014 w 3168183"/>
              <a:gd name="connsiteY6" fmla="*/ 2202373 h 2928082"/>
              <a:gd name="connsiteX7" fmla="*/ 0 w 3168183"/>
              <a:gd name="connsiteY7" fmla="*/ 1669388 h 2928082"/>
              <a:gd name="connsiteX8" fmla="*/ 0 w 3168183"/>
              <a:gd name="connsiteY8" fmla="*/ 164800 h 2928082"/>
              <a:gd name="connsiteX9" fmla="*/ 99941 w 3168183"/>
              <a:gd name="connsiteY9" fmla="*/ 30 h 29280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168183" h="2928082">
                <a:moveTo>
                  <a:pt x="99941" y="30"/>
                </a:moveTo>
                <a:cubicBezTo>
                  <a:pt x="136135" y="942"/>
                  <a:pt x="179784" y="23128"/>
                  <a:pt x="226801" y="68299"/>
                </a:cubicBezTo>
                <a:lnTo>
                  <a:pt x="3078293" y="2815594"/>
                </a:lnTo>
                <a:cubicBezTo>
                  <a:pt x="3109585" y="2845762"/>
                  <a:pt x="3139486" y="2883298"/>
                  <a:pt x="3166736" y="2925352"/>
                </a:cubicBezTo>
                <a:lnTo>
                  <a:pt x="3168183" y="2928082"/>
                </a:lnTo>
                <a:lnTo>
                  <a:pt x="982279" y="2928082"/>
                </a:lnTo>
                <a:lnTo>
                  <a:pt x="227014" y="2202373"/>
                </a:lnTo>
                <a:cubicBezTo>
                  <a:pt x="101634" y="2081909"/>
                  <a:pt x="0" y="1843344"/>
                  <a:pt x="0" y="1669388"/>
                </a:cubicBezTo>
                <a:lnTo>
                  <a:pt x="0" y="164800"/>
                </a:lnTo>
                <a:cubicBezTo>
                  <a:pt x="0" y="56078"/>
                  <a:pt x="39618" y="-1491"/>
                  <a:pt x="99941" y="30"/>
                </a:cubicBezTo>
                <a:close/>
              </a:path>
            </a:pathLst>
          </a:custGeom>
          <a:solidFill>
            <a:srgbClr val="38B6AB">
              <a:alpha val="50000"/>
            </a:srgbClr>
          </a:solidFill>
        </p:spPr>
        <p:txBody>
          <a:bodyPr wrap="square" anchor="ctr">
            <a:noAutofit/>
          </a:bodyPr>
          <a:lstStyle>
            <a:lvl1pPr algn="ctr">
              <a:defRPr sz="100">
                <a:solidFill>
                  <a:schemeClr val="accent2">
                    <a:alpha val="0"/>
                  </a:schemeClr>
                </a:solidFill>
              </a:defRPr>
            </a:lvl1pPr>
          </a:lstStyle>
          <a:p>
            <a:pPr lvl="0"/>
            <a:endParaRPr lang="en-GB"/>
          </a:p>
        </p:txBody>
      </p:sp>
      <p:sp>
        <p:nvSpPr>
          <p:cNvPr id="131" name="Text Placeholder 130">
            <a:extLst>
              <a:ext uri="{FF2B5EF4-FFF2-40B4-BE49-F238E27FC236}">
                <a16:creationId xmlns:a16="http://schemas.microsoft.com/office/drawing/2014/main" id="{7E5838E8-6D08-6B46-D841-497CB89494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664036" y="3929918"/>
            <a:ext cx="3168183" cy="2928082"/>
          </a:xfrm>
          <a:custGeom>
            <a:avLst/>
            <a:gdLst>
              <a:gd name="connsiteX0" fmla="*/ 99941 w 3168183"/>
              <a:gd name="connsiteY0" fmla="*/ 30 h 2928082"/>
              <a:gd name="connsiteX1" fmla="*/ 226801 w 3168183"/>
              <a:gd name="connsiteY1" fmla="*/ 68299 h 2928082"/>
              <a:gd name="connsiteX2" fmla="*/ 3078293 w 3168183"/>
              <a:gd name="connsiteY2" fmla="*/ 2815594 h 2928082"/>
              <a:gd name="connsiteX3" fmla="*/ 3166736 w 3168183"/>
              <a:gd name="connsiteY3" fmla="*/ 2925352 h 2928082"/>
              <a:gd name="connsiteX4" fmla="*/ 3168183 w 3168183"/>
              <a:gd name="connsiteY4" fmla="*/ 2928082 h 2928082"/>
              <a:gd name="connsiteX5" fmla="*/ 982279 w 3168183"/>
              <a:gd name="connsiteY5" fmla="*/ 2928082 h 2928082"/>
              <a:gd name="connsiteX6" fmla="*/ 227014 w 3168183"/>
              <a:gd name="connsiteY6" fmla="*/ 2202373 h 2928082"/>
              <a:gd name="connsiteX7" fmla="*/ 0 w 3168183"/>
              <a:gd name="connsiteY7" fmla="*/ 1669388 h 2928082"/>
              <a:gd name="connsiteX8" fmla="*/ 0 w 3168183"/>
              <a:gd name="connsiteY8" fmla="*/ 164800 h 2928082"/>
              <a:gd name="connsiteX9" fmla="*/ 99941 w 3168183"/>
              <a:gd name="connsiteY9" fmla="*/ 30 h 29280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168183" h="2928082">
                <a:moveTo>
                  <a:pt x="99941" y="30"/>
                </a:moveTo>
                <a:cubicBezTo>
                  <a:pt x="136135" y="942"/>
                  <a:pt x="179784" y="23128"/>
                  <a:pt x="226801" y="68299"/>
                </a:cubicBezTo>
                <a:lnTo>
                  <a:pt x="3078293" y="2815594"/>
                </a:lnTo>
                <a:cubicBezTo>
                  <a:pt x="3109585" y="2845762"/>
                  <a:pt x="3139486" y="2883298"/>
                  <a:pt x="3166736" y="2925352"/>
                </a:cubicBezTo>
                <a:lnTo>
                  <a:pt x="3168183" y="2928082"/>
                </a:lnTo>
                <a:lnTo>
                  <a:pt x="982279" y="2928082"/>
                </a:lnTo>
                <a:lnTo>
                  <a:pt x="227014" y="2202373"/>
                </a:lnTo>
                <a:cubicBezTo>
                  <a:pt x="101634" y="2081909"/>
                  <a:pt x="0" y="1843344"/>
                  <a:pt x="0" y="1669388"/>
                </a:cubicBezTo>
                <a:lnTo>
                  <a:pt x="0" y="164800"/>
                </a:lnTo>
                <a:cubicBezTo>
                  <a:pt x="0" y="56078"/>
                  <a:pt x="39618" y="-1491"/>
                  <a:pt x="99941" y="30"/>
                </a:cubicBezTo>
                <a:close/>
              </a:path>
            </a:pathLst>
          </a:custGeom>
          <a:solidFill>
            <a:schemeClr val="accent3">
              <a:alpha val="30000"/>
            </a:schemeClr>
          </a:solidFill>
        </p:spPr>
        <p:txBody>
          <a:bodyPr wrap="square" anchor="ctr">
            <a:noAutofit/>
          </a:bodyPr>
          <a:lstStyle>
            <a:lvl1pPr algn="ctr">
              <a:defRPr sz="100">
                <a:solidFill>
                  <a:schemeClr val="accent2">
                    <a:alpha val="0"/>
                  </a:schemeClr>
                </a:solidFill>
              </a:defRPr>
            </a:lvl1pPr>
          </a:lstStyle>
          <a:p>
            <a:pPr lvl="0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1350684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decel="10000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3" decel="10000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8" decel="10000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2" presetClass="entr" presetSubtype="4" decel="100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0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130">
                                            <p:bg/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130">
                                            <p:bg/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2" presetClass="entr" presetSubtype="4" decel="100000" fill="hold" grpId="0" nodeType="withEffect" nodePh="1">
                                  <p:stCondLst>
                                    <p:cond delay="1000"/>
                                  </p:stCondLst>
                                  <p:endCondLst>
                                    <p:cond evt="begin" delay="0">
                                      <p:tn val="25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1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1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9" presetID="2" presetClass="entr" presetSubtype="2" decel="100000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1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131">
                                            <p:bg/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131">
                                            <p:bg/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3" presetID="2" presetClass="entr" presetSubtype="2" decel="100000" fill="hold" grpId="0" nodeType="withEffect" nodePh="1">
                                  <p:stCondLst>
                                    <p:cond delay="1250"/>
                                  </p:stCondLst>
                                  <p:endCondLst>
                                    <p:cond evt="begin" delay="0">
                                      <p:tn val="33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5" dur="500" fill="hold"/>
                                        <p:tgtEl>
                                          <p:spTgt spid="13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6" dur="500" fill="hold"/>
                                        <p:tgtEl>
                                          <p:spTgt spid="13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7" presetID="2" presetClass="entr" presetSubtype="1" decel="100000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9" dur="5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0" dur="5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1" fill="hold">
                            <p:stCondLst>
                              <p:cond delay="2000"/>
                            </p:stCondLst>
                            <p:childTnLst>
                              <p:par>
                                <p:cTn id="42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5" fill="hold">
                            <p:stCondLst>
                              <p:cond delay="2500"/>
                            </p:stCondLst>
                            <p:childTnLst>
                              <p:par>
                                <p:cTn id="46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iterate type="lt">
                                    <p:tmPct val="5000"/>
                                  </p:iterate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8" dur="500"/>
                                        <p:tgtEl>
                                          <p:spTgt spid="1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0" grpId="0" animBg="1"/>
      <p:bldP spid="42" grpId="0" animBg="1"/>
      <p:bldP spid="31" grpId="0" animBg="1"/>
      <p:bldP spid="34" grpId="0" animBg="1"/>
      <p:bldP spid="18" grpId="0" animBg="1"/>
      <p:bldP spid="127" grpId="0"/>
      <p:bldP spid="130" grpId="0" uiExpand="1" build="p" animBg="1">
        <p:tmplLst>
          <p:tmpl>
            <p:tnLst>
              <p:par>
                <p:cTn presetID="2" presetClass="entr" presetSubtype="4" decel="10000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3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130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130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  <p:tmpl lvl="1">
            <p:tnLst>
              <p:par>
                <p:cTn presetID="2" presetClass="entr" presetSubtype="4" decel="100000" fill="hold" nodeType="withEffect" nodePh="1">
                  <p:stCondLst>
                    <p:cond delay="1000"/>
                  </p:stCondLst>
                  <p:endCondLst>
                    <p:cond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3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130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130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31" grpId="0" uiExpand="1" build="p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1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3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131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131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  <p:tmpl lvl="1">
            <p:tnLst>
              <p:par>
                <p:cTn presetID="2" presetClass="entr" presetSubtype="2" decel="100000" fill="hold" nodeType="withEffect" nodePh="1">
                  <p:stCondLst>
                    <p:cond delay="1250"/>
                  </p:stCondLst>
                  <p:endCondLst>
                    <p:cond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3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131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131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</p:bldLst>
  </p:timing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Freeform: Shape 44">
            <a:extLst>
              <a:ext uri="{FF2B5EF4-FFF2-40B4-BE49-F238E27FC236}">
                <a16:creationId xmlns:a16="http://schemas.microsoft.com/office/drawing/2014/main" id="{16A59692-18AC-0E4A-B387-27824A2ADDF1}"/>
              </a:ext>
            </a:extLst>
          </p:cNvPr>
          <p:cNvSpPr/>
          <p:nvPr userDrawn="1"/>
        </p:nvSpPr>
        <p:spPr>
          <a:xfrm flipV="1">
            <a:off x="2553515" y="1903682"/>
            <a:ext cx="3400879" cy="4954318"/>
          </a:xfrm>
          <a:custGeom>
            <a:avLst/>
            <a:gdLst>
              <a:gd name="connsiteX0" fmla="*/ 101690 w 3400879"/>
              <a:gd name="connsiteY0" fmla="*/ 4954291 h 4954318"/>
              <a:gd name="connsiteX1" fmla="*/ 231765 w 3400879"/>
              <a:gd name="connsiteY1" fmla="*/ 4884267 h 4954318"/>
              <a:gd name="connsiteX2" fmla="*/ 3167799 w 3400879"/>
              <a:gd name="connsiteY2" fmla="*/ 2063128 h 4954318"/>
              <a:gd name="connsiteX3" fmla="*/ 3400879 w 3400879"/>
              <a:gd name="connsiteY3" fmla="*/ 1515903 h 4954318"/>
              <a:gd name="connsiteX4" fmla="*/ 3400879 w 3400879"/>
              <a:gd name="connsiteY4" fmla="*/ 0 h 4954318"/>
              <a:gd name="connsiteX5" fmla="*/ 3035197 w 3400879"/>
              <a:gd name="connsiteY5" fmla="*/ 0 h 4954318"/>
              <a:gd name="connsiteX6" fmla="*/ 240333 w 3400879"/>
              <a:gd name="connsiteY6" fmla="*/ 2692735 h 4954318"/>
              <a:gd name="connsiteX7" fmla="*/ 6157 w 3400879"/>
              <a:gd name="connsiteY7" fmla="*/ 3240174 h 4954318"/>
              <a:gd name="connsiteX8" fmla="*/ 4 w 3400879"/>
              <a:gd name="connsiteY8" fmla="*/ 4784970 h 4954318"/>
              <a:gd name="connsiteX9" fmla="*/ 101690 w 3400879"/>
              <a:gd name="connsiteY9" fmla="*/ 4954291 h 49543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400879" h="4954318">
                <a:moveTo>
                  <a:pt x="101690" y="4954291"/>
                </a:moveTo>
                <a:cubicBezTo>
                  <a:pt x="138739" y="4953393"/>
                  <a:pt x="183492" y="4930646"/>
                  <a:pt x="231765" y="4884267"/>
                </a:cubicBezTo>
                <a:lnTo>
                  <a:pt x="3167799" y="2063128"/>
                </a:lnTo>
                <a:cubicBezTo>
                  <a:pt x="3296529" y="1939446"/>
                  <a:pt x="3400879" y="1694506"/>
                  <a:pt x="3400879" y="1515903"/>
                </a:cubicBezTo>
                <a:lnTo>
                  <a:pt x="3400879" y="0"/>
                </a:lnTo>
                <a:lnTo>
                  <a:pt x="3035197" y="0"/>
                </a:lnTo>
                <a:lnTo>
                  <a:pt x="240333" y="2692735"/>
                </a:lnTo>
                <a:cubicBezTo>
                  <a:pt x="111821" y="2816630"/>
                  <a:pt x="6157" y="3061575"/>
                  <a:pt x="6157" y="3240174"/>
                </a:cubicBezTo>
                <a:lnTo>
                  <a:pt x="4" y="4784970"/>
                </a:lnTo>
                <a:cubicBezTo>
                  <a:pt x="-408" y="4896594"/>
                  <a:pt x="39942" y="4955787"/>
                  <a:pt x="101690" y="4954291"/>
                </a:cubicBezTo>
                <a:close/>
              </a:path>
            </a:pathLst>
          </a:custGeom>
          <a:solidFill>
            <a:srgbClr val="27257A">
              <a:alpha val="40000"/>
            </a:srgbClr>
          </a:solidFill>
          <a:ln w="4630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GB"/>
          </a:p>
        </p:txBody>
      </p:sp>
      <p:sp>
        <p:nvSpPr>
          <p:cNvPr id="46" name="Freeform: Shape 45">
            <a:extLst>
              <a:ext uri="{FF2B5EF4-FFF2-40B4-BE49-F238E27FC236}">
                <a16:creationId xmlns:a16="http://schemas.microsoft.com/office/drawing/2014/main" id="{9D84DB3B-EE16-75C2-709B-5045D24BD3D2}"/>
              </a:ext>
            </a:extLst>
          </p:cNvPr>
          <p:cNvSpPr/>
          <p:nvPr userDrawn="1"/>
        </p:nvSpPr>
        <p:spPr>
          <a:xfrm>
            <a:off x="469027" y="0"/>
            <a:ext cx="7499182" cy="6858000"/>
          </a:xfrm>
          <a:custGeom>
            <a:avLst/>
            <a:gdLst>
              <a:gd name="connsiteX0" fmla="*/ 6872385 w 7503995"/>
              <a:gd name="connsiteY0" fmla="*/ 0 h 6845197"/>
              <a:gd name="connsiteX1" fmla="*/ 7494744 w 7503995"/>
              <a:gd name="connsiteY1" fmla="*/ 0 h 6845197"/>
              <a:gd name="connsiteX2" fmla="*/ 7499783 w 7503995"/>
              <a:gd name="connsiteY2" fmla="*/ 31741 h 6845197"/>
              <a:gd name="connsiteX3" fmla="*/ 7503995 w 7503995"/>
              <a:gd name="connsiteY3" fmla="*/ 120512 h 6845197"/>
              <a:gd name="connsiteX4" fmla="*/ 7503995 w 7503995"/>
              <a:gd name="connsiteY4" fmla="*/ 3602593 h 6845197"/>
              <a:gd name="connsiteX5" fmla="*/ 6978614 w 7503995"/>
              <a:gd name="connsiteY5" fmla="*/ 4836084 h 6845197"/>
              <a:gd name="connsiteX6" fmla="*/ 4887676 w 7503995"/>
              <a:gd name="connsiteY6" fmla="*/ 6845197 h 6845197"/>
              <a:gd name="connsiteX7" fmla="*/ 0 w 7503995"/>
              <a:gd name="connsiteY7" fmla="*/ 6845197 h 6845197"/>
              <a:gd name="connsiteX8" fmla="*/ 7318 w 7503995"/>
              <a:gd name="connsiteY8" fmla="*/ 6826013 h 6845197"/>
              <a:gd name="connsiteX9" fmla="*/ 379872 w 7503995"/>
              <a:gd name="connsiteY9" fmla="*/ 6255267 h 68451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7503995" h="6845197">
                <a:moveTo>
                  <a:pt x="6872385" y="0"/>
                </a:moveTo>
                <a:lnTo>
                  <a:pt x="7494744" y="0"/>
                </a:lnTo>
                <a:lnTo>
                  <a:pt x="7499783" y="31741"/>
                </a:lnTo>
                <a:cubicBezTo>
                  <a:pt x="7502563" y="59458"/>
                  <a:pt x="7503995" y="89060"/>
                  <a:pt x="7503995" y="120512"/>
                </a:cubicBezTo>
                <a:lnTo>
                  <a:pt x="7503995" y="3602593"/>
                </a:lnTo>
                <a:cubicBezTo>
                  <a:pt x="7503995" y="4005180"/>
                  <a:pt x="7268781" y="4557294"/>
                  <a:pt x="6978614" y="4836084"/>
                </a:cubicBezTo>
                <a:lnTo>
                  <a:pt x="4887676" y="6845197"/>
                </a:lnTo>
                <a:lnTo>
                  <a:pt x="0" y="6845197"/>
                </a:lnTo>
                <a:lnTo>
                  <a:pt x="7318" y="6826013"/>
                </a:lnTo>
                <a:cubicBezTo>
                  <a:pt x="103071" y="6602751"/>
                  <a:pt x="235034" y="6394902"/>
                  <a:pt x="379872" y="6255267"/>
                </a:cubicBezTo>
                <a:close/>
              </a:path>
            </a:pathLst>
          </a:custGeom>
          <a:solidFill>
            <a:srgbClr val="00A070">
              <a:alpha val="20000"/>
            </a:srgbClr>
          </a:solidFill>
          <a:ln w="4630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GB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C4FD3E1C-850C-C02D-1DB8-89F0D37B108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495870" y="251460"/>
            <a:ext cx="1283569" cy="1038860"/>
          </a:xfrm>
          <a:prstGeom prst="rect">
            <a:avLst/>
          </a:prstGeom>
        </p:spPr>
      </p:pic>
      <p:pic>
        <p:nvPicPr>
          <p:cNvPr id="8" name="Graphic 7">
            <a:extLst>
              <a:ext uri="{FF2B5EF4-FFF2-40B4-BE49-F238E27FC236}">
                <a16:creationId xmlns:a16="http://schemas.microsoft.com/office/drawing/2014/main" id="{D83698D8-7C67-8F6E-EA48-ECE24E092CC2}"/>
              </a:ext>
            </a:extLst>
          </p:cNvPr>
          <p:cNvPicPr>
            <a:picLocks noChangeAspect="1"/>
          </p:cNvPicPr>
          <p:nvPr userDrawn="1"/>
        </p:nvPicPr>
        <p:blipFill>
          <a:blip cstate="hq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27202" y="334561"/>
            <a:ext cx="1667613" cy="1007898"/>
          </a:xfrm>
          <a:prstGeom prst="rect">
            <a:avLst/>
          </a:prstGeom>
        </p:spPr>
      </p:pic>
      <p:sp>
        <p:nvSpPr>
          <p:cNvPr id="41" name="Freeform: Shape 40">
            <a:extLst>
              <a:ext uri="{FF2B5EF4-FFF2-40B4-BE49-F238E27FC236}">
                <a16:creationId xmlns:a16="http://schemas.microsoft.com/office/drawing/2014/main" id="{F76C648E-DF52-0BE6-F84E-068DC417EE92}"/>
              </a:ext>
            </a:extLst>
          </p:cNvPr>
          <p:cNvSpPr/>
          <p:nvPr userDrawn="1"/>
        </p:nvSpPr>
        <p:spPr>
          <a:xfrm>
            <a:off x="0" y="2853346"/>
            <a:ext cx="3001952" cy="4004655"/>
          </a:xfrm>
          <a:custGeom>
            <a:avLst/>
            <a:gdLst>
              <a:gd name="connsiteX0" fmla="*/ 2904183 w 3001952"/>
              <a:gd name="connsiteY0" fmla="*/ 29 h 4004655"/>
              <a:gd name="connsiteX1" fmla="*/ 3001952 w 3001952"/>
              <a:gd name="connsiteY1" fmla="*/ 161218 h 4004655"/>
              <a:gd name="connsiteX2" fmla="*/ 3001952 w 3001952"/>
              <a:gd name="connsiteY2" fmla="*/ 1633097 h 4004655"/>
              <a:gd name="connsiteX3" fmla="*/ 2779873 w 3001952"/>
              <a:gd name="connsiteY3" fmla="*/ 2154495 h 4004655"/>
              <a:gd name="connsiteX4" fmla="*/ 854363 w 3001952"/>
              <a:gd name="connsiteY4" fmla="*/ 4004655 h 4004655"/>
              <a:gd name="connsiteX5" fmla="*/ 0 w 3001952"/>
              <a:gd name="connsiteY5" fmla="*/ 4004655 h 4004655"/>
              <a:gd name="connsiteX6" fmla="*/ 0 w 3001952"/>
              <a:gd name="connsiteY6" fmla="*/ 2745307 h 4004655"/>
              <a:gd name="connsiteX7" fmla="*/ 2780081 w 3001952"/>
              <a:gd name="connsiteY7" fmla="*/ 66815 h 4004655"/>
              <a:gd name="connsiteX8" fmla="*/ 2904183 w 3001952"/>
              <a:gd name="connsiteY8" fmla="*/ 29 h 40046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001952" h="4004655">
                <a:moveTo>
                  <a:pt x="2904183" y="29"/>
                </a:moveTo>
                <a:cubicBezTo>
                  <a:pt x="2963196" y="-1459"/>
                  <a:pt x="3001952" y="54859"/>
                  <a:pt x="3001952" y="161218"/>
                </a:cubicBezTo>
                <a:lnTo>
                  <a:pt x="3001952" y="1633097"/>
                </a:lnTo>
                <a:cubicBezTo>
                  <a:pt x="3001952" y="1803271"/>
                  <a:pt x="2902527" y="2036650"/>
                  <a:pt x="2779873" y="2154495"/>
                </a:cubicBezTo>
                <a:lnTo>
                  <a:pt x="854363" y="4004655"/>
                </a:lnTo>
                <a:lnTo>
                  <a:pt x="0" y="4004655"/>
                </a:lnTo>
                <a:lnTo>
                  <a:pt x="0" y="2745307"/>
                </a:lnTo>
                <a:lnTo>
                  <a:pt x="2780081" y="66815"/>
                </a:lnTo>
                <a:cubicBezTo>
                  <a:pt x="2826077" y="22625"/>
                  <a:pt x="2868777" y="922"/>
                  <a:pt x="2904183" y="29"/>
                </a:cubicBezTo>
                <a:close/>
              </a:path>
            </a:pathLst>
          </a:custGeom>
          <a:solidFill>
            <a:schemeClr val="accent4"/>
          </a:solidFill>
          <a:ln w="4630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GB"/>
          </a:p>
        </p:txBody>
      </p:sp>
      <p:sp>
        <p:nvSpPr>
          <p:cNvPr id="25" name="Picture Placeholder 24">
            <a:extLst>
              <a:ext uri="{FF2B5EF4-FFF2-40B4-BE49-F238E27FC236}">
                <a16:creationId xmlns:a16="http://schemas.microsoft.com/office/drawing/2014/main" id="{70CAD6CE-C706-1ADE-7266-1D793CECED73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3891962"/>
            <a:ext cx="854789" cy="2883102"/>
          </a:xfrm>
          <a:custGeom>
            <a:avLst/>
            <a:gdLst>
              <a:gd name="connsiteX0" fmla="*/ 750943 w 854789"/>
              <a:gd name="connsiteY0" fmla="*/ 31 h 2883102"/>
              <a:gd name="connsiteX1" fmla="*/ 854789 w 854789"/>
              <a:gd name="connsiteY1" fmla="*/ 171239 h 2883102"/>
              <a:gd name="connsiteX2" fmla="*/ 854789 w 854789"/>
              <a:gd name="connsiteY2" fmla="*/ 1734608 h 2883102"/>
              <a:gd name="connsiteX3" fmla="*/ 618906 w 854789"/>
              <a:gd name="connsiteY3" fmla="*/ 2288415 h 2883102"/>
              <a:gd name="connsiteX4" fmla="*/ 0 w 854789"/>
              <a:gd name="connsiteY4" fmla="*/ 2883102 h 2883102"/>
              <a:gd name="connsiteX5" fmla="*/ 0 w 854789"/>
              <a:gd name="connsiteY5" fmla="*/ 667471 h 2883102"/>
              <a:gd name="connsiteX6" fmla="*/ 619127 w 854789"/>
              <a:gd name="connsiteY6" fmla="*/ 70968 h 2883102"/>
              <a:gd name="connsiteX7" fmla="*/ 750943 w 854789"/>
              <a:gd name="connsiteY7" fmla="*/ 31 h 28831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54789" h="2883102">
                <a:moveTo>
                  <a:pt x="750943" y="31"/>
                </a:moveTo>
                <a:cubicBezTo>
                  <a:pt x="813623" y="-1549"/>
                  <a:pt x="854789" y="58269"/>
                  <a:pt x="854789" y="171239"/>
                </a:cubicBezTo>
                <a:lnTo>
                  <a:pt x="854789" y="1734608"/>
                </a:lnTo>
                <a:cubicBezTo>
                  <a:pt x="854789" y="1915360"/>
                  <a:pt x="749184" y="2163245"/>
                  <a:pt x="618906" y="2288415"/>
                </a:cubicBezTo>
                <a:lnTo>
                  <a:pt x="0" y="2883102"/>
                </a:lnTo>
                <a:lnTo>
                  <a:pt x="0" y="667471"/>
                </a:lnTo>
                <a:lnTo>
                  <a:pt x="619127" y="70968"/>
                </a:lnTo>
                <a:cubicBezTo>
                  <a:pt x="667981" y="24031"/>
                  <a:pt x="713335" y="980"/>
                  <a:pt x="750943" y="31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algn="ctr">
              <a:defRPr sz="1200" b="0">
                <a:solidFill>
                  <a:schemeClr val="tx1"/>
                </a:solidFill>
              </a:defRPr>
            </a:lvl1pPr>
          </a:lstStyle>
          <a:p>
            <a:endParaRPr lang="en-GB"/>
          </a:p>
        </p:txBody>
      </p:sp>
      <p:sp>
        <p:nvSpPr>
          <p:cNvPr id="26" name="Picture Placeholder 25">
            <a:extLst>
              <a:ext uri="{FF2B5EF4-FFF2-40B4-BE49-F238E27FC236}">
                <a16:creationId xmlns:a16="http://schemas.microsoft.com/office/drawing/2014/main" id="{450AB378-581F-F9A8-4147-4DFDEF29656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1111588" y="2257874"/>
            <a:ext cx="3440011" cy="4600126"/>
          </a:xfrm>
          <a:custGeom>
            <a:avLst/>
            <a:gdLst>
              <a:gd name="connsiteX0" fmla="*/ 3336165 w 3440011"/>
              <a:gd name="connsiteY0" fmla="*/ 31 h 4600126"/>
              <a:gd name="connsiteX1" fmla="*/ 3440011 w 3440011"/>
              <a:gd name="connsiteY1" fmla="*/ 171239 h 4600126"/>
              <a:gd name="connsiteX2" fmla="*/ 3440011 w 3440011"/>
              <a:gd name="connsiteY2" fmla="*/ 1734608 h 4600126"/>
              <a:gd name="connsiteX3" fmla="*/ 3204128 w 3440011"/>
              <a:gd name="connsiteY3" fmla="*/ 2288415 h 4600126"/>
              <a:gd name="connsiteX4" fmla="*/ 798269 w 3440011"/>
              <a:gd name="connsiteY4" fmla="*/ 4600126 h 4600126"/>
              <a:gd name="connsiteX5" fmla="*/ 0 w 3440011"/>
              <a:gd name="connsiteY5" fmla="*/ 4600126 h 4600126"/>
              <a:gd name="connsiteX6" fmla="*/ 4463 w 3440011"/>
              <a:gd name="connsiteY6" fmla="*/ 3479617 h 4600126"/>
              <a:gd name="connsiteX7" fmla="*/ 241455 w 3440011"/>
              <a:gd name="connsiteY7" fmla="*/ 2925593 h 4600126"/>
              <a:gd name="connsiteX8" fmla="*/ 3204349 w 3440011"/>
              <a:gd name="connsiteY8" fmla="*/ 70968 h 4600126"/>
              <a:gd name="connsiteX9" fmla="*/ 3336165 w 3440011"/>
              <a:gd name="connsiteY9" fmla="*/ 31 h 46001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440011" h="4600126">
                <a:moveTo>
                  <a:pt x="3336165" y="31"/>
                </a:moveTo>
                <a:cubicBezTo>
                  <a:pt x="3398846" y="-1549"/>
                  <a:pt x="3440011" y="58269"/>
                  <a:pt x="3440011" y="171239"/>
                </a:cubicBezTo>
                <a:lnTo>
                  <a:pt x="3440011" y="1734608"/>
                </a:lnTo>
                <a:cubicBezTo>
                  <a:pt x="3440011" y="1915360"/>
                  <a:pt x="3334406" y="2163245"/>
                  <a:pt x="3204128" y="2288415"/>
                </a:cubicBezTo>
                <a:lnTo>
                  <a:pt x="798269" y="4600126"/>
                </a:lnTo>
                <a:lnTo>
                  <a:pt x="0" y="4600126"/>
                </a:lnTo>
                <a:lnTo>
                  <a:pt x="4463" y="3479617"/>
                </a:lnTo>
                <a:cubicBezTo>
                  <a:pt x="4463" y="3298869"/>
                  <a:pt x="111398" y="3050979"/>
                  <a:pt x="241455" y="2925593"/>
                </a:cubicBezTo>
                <a:lnTo>
                  <a:pt x="3204349" y="70968"/>
                </a:lnTo>
                <a:cubicBezTo>
                  <a:pt x="3253204" y="24031"/>
                  <a:pt x="3298557" y="980"/>
                  <a:pt x="3336165" y="31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algn="ctr">
              <a:defRPr sz="1200" b="0"/>
            </a:lvl1pPr>
          </a:lstStyle>
          <a:p>
            <a:endParaRPr lang="en-GB"/>
          </a:p>
        </p:txBody>
      </p:sp>
      <p:sp>
        <p:nvSpPr>
          <p:cNvPr id="44" name="Freeform: Shape 43">
            <a:extLst>
              <a:ext uri="{FF2B5EF4-FFF2-40B4-BE49-F238E27FC236}">
                <a16:creationId xmlns:a16="http://schemas.microsoft.com/office/drawing/2014/main" id="{D3792340-32BE-88F6-ACE3-36C759D08793}"/>
              </a:ext>
            </a:extLst>
          </p:cNvPr>
          <p:cNvSpPr/>
          <p:nvPr userDrawn="1"/>
        </p:nvSpPr>
        <p:spPr>
          <a:xfrm flipH="1" flipV="1">
            <a:off x="5086440" y="2704513"/>
            <a:ext cx="3746773" cy="4153487"/>
          </a:xfrm>
          <a:custGeom>
            <a:avLst/>
            <a:gdLst>
              <a:gd name="connsiteX0" fmla="*/ 101690 w 3400879"/>
              <a:gd name="connsiteY0" fmla="*/ 3770019 h 3770046"/>
              <a:gd name="connsiteX1" fmla="*/ 4 w 3400879"/>
              <a:gd name="connsiteY1" fmla="*/ 3600697 h 3770046"/>
              <a:gd name="connsiteX2" fmla="*/ 6157 w 3400879"/>
              <a:gd name="connsiteY2" fmla="*/ 2055902 h 3770046"/>
              <a:gd name="connsiteX3" fmla="*/ 240333 w 3400879"/>
              <a:gd name="connsiteY3" fmla="*/ 1508463 h 3770046"/>
              <a:gd name="connsiteX4" fmla="*/ 1806008 w 3400879"/>
              <a:gd name="connsiteY4" fmla="*/ 0 h 3770046"/>
              <a:gd name="connsiteX5" fmla="*/ 3400879 w 3400879"/>
              <a:gd name="connsiteY5" fmla="*/ 0 h 3770046"/>
              <a:gd name="connsiteX6" fmla="*/ 3400879 w 3400879"/>
              <a:gd name="connsiteY6" fmla="*/ 331631 h 3770046"/>
              <a:gd name="connsiteX7" fmla="*/ 3167799 w 3400879"/>
              <a:gd name="connsiteY7" fmla="*/ 878856 h 3770046"/>
              <a:gd name="connsiteX8" fmla="*/ 231765 w 3400879"/>
              <a:gd name="connsiteY8" fmla="*/ 3699995 h 3770046"/>
              <a:gd name="connsiteX9" fmla="*/ 101690 w 3400879"/>
              <a:gd name="connsiteY9" fmla="*/ 3770019 h 37700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400879" h="3770046">
                <a:moveTo>
                  <a:pt x="101690" y="3770019"/>
                </a:moveTo>
                <a:cubicBezTo>
                  <a:pt x="39942" y="3771515"/>
                  <a:pt x="-408" y="3712322"/>
                  <a:pt x="4" y="3600697"/>
                </a:cubicBezTo>
                <a:lnTo>
                  <a:pt x="6157" y="2055902"/>
                </a:lnTo>
                <a:cubicBezTo>
                  <a:pt x="6157" y="1877303"/>
                  <a:pt x="111821" y="1632358"/>
                  <a:pt x="240333" y="1508463"/>
                </a:cubicBezTo>
                <a:lnTo>
                  <a:pt x="1806008" y="0"/>
                </a:lnTo>
                <a:lnTo>
                  <a:pt x="3400879" y="0"/>
                </a:lnTo>
                <a:lnTo>
                  <a:pt x="3400879" y="331631"/>
                </a:lnTo>
                <a:cubicBezTo>
                  <a:pt x="3400879" y="510234"/>
                  <a:pt x="3296529" y="755174"/>
                  <a:pt x="3167799" y="878856"/>
                </a:cubicBezTo>
                <a:lnTo>
                  <a:pt x="231765" y="3699995"/>
                </a:lnTo>
                <a:cubicBezTo>
                  <a:pt x="183491" y="3746374"/>
                  <a:pt x="138739" y="3769121"/>
                  <a:pt x="101690" y="3770019"/>
                </a:cubicBezTo>
                <a:close/>
              </a:path>
            </a:pathLst>
          </a:custGeom>
          <a:solidFill>
            <a:schemeClr val="accent4">
              <a:alpha val="37000"/>
            </a:schemeClr>
          </a:solidFill>
          <a:ln w="4630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GB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9BAE3441-4B8F-388F-1334-FA8345D509B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248128" y="2708920"/>
            <a:ext cx="4319985" cy="2441159"/>
          </a:xfrm>
          <a:prstGeom prst="rect">
            <a:avLst/>
          </a:prstGeom>
        </p:spPr>
      </p:pic>
      <p:sp>
        <p:nvSpPr>
          <p:cNvPr id="49" name="Freeform: Shape 48">
            <a:extLst>
              <a:ext uri="{FF2B5EF4-FFF2-40B4-BE49-F238E27FC236}">
                <a16:creationId xmlns:a16="http://schemas.microsoft.com/office/drawing/2014/main" id="{594DF9C5-1ACE-4653-DD2A-168090968222}"/>
              </a:ext>
            </a:extLst>
          </p:cNvPr>
          <p:cNvSpPr/>
          <p:nvPr userDrawn="1"/>
        </p:nvSpPr>
        <p:spPr>
          <a:xfrm flipV="1">
            <a:off x="5998219" y="3857193"/>
            <a:ext cx="3263724" cy="3013611"/>
          </a:xfrm>
          <a:custGeom>
            <a:avLst/>
            <a:gdLst>
              <a:gd name="connsiteX0" fmla="*/ 101690 w 3263724"/>
              <a:gd name="connsiteY0" fmla="*/ 3013584 h 3013611"/>
              <a:gd name="connsiteX1" fmla="*/ 231765 w 3263724"/>
              <a:gd name="connsiteY1" fmla="*/ 2943560 h 3013611"/>
              <a:gd name="connsiteX2" fmla="*/ 3167799 w 3263724"/>
              <a:gd name="connsiteY2" fmla="*/ 122421 h 3013611"/>
              <a:gd name="connsiteX3" fmla="*/ 3258526 w 3263724"/>
              <a:gd name="connsiteY3" fmla="*/ 9855 h 3013611"/>
              <a:gd name="connsiteX4" fmla="*/ 3263724 w 3263724"/>
              <a:gd name="connsiteY4" fmla="*/ 0 h 3013611"/>
              <a:gd name="connsiteX5" fmla="*/ 1020884 w 3263724"/>
              <a:gd name="connsiteY5" fmla="*/ 0 h 3013611"/>
              <a:gd name="connsiteX6" fmla="*/ 240333 w 3263724"/>
              <a:gd name="connsiteY6" fmla="*/ 752028 h 3013611"/>
              <a:gd name="connsiteX7" fmla="*/ 6157 w 3263724"/>
              <a:gd name="connsiteY7" fmla="*/ 1299467 h 3013611"/>
              <a:gd name="connsiteX8" fmla="*/ 4 w 3263724"/>
              <a:gd name="connsiteY8" fmla="*/ 2844263 h 3013611"/>
              <a:gd name="connsiteX9" fmla="*/ 101690 w 3263724"/>
              <a:gd name="connsiteY9" fmla="*/ 3013584 h 301361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263724" h="3013611">
                <a:moveTo>
                  <a:pt x="101690" y="3013584"/>
                </a:moveTo>
                <a:cubicBezTo>
                  <a:pt x="138739" y="3012686"/>
                  <a:pt x="183492" y="2989939"/>
                  <a:pt x="231765" y="2943560"/>
                </a:cubicBezTo>
                <a:lnTo>
                  <a:pt x="3167799" y="122421"/>
                </a:lnTo>
                <a:cubicBezTo>
                  <a:pt x="3199981" y="91501"/>
                  <a:pt x="3230640" y="53002"/>
                  <a:pt x="3258526" y="9855"/>
                </a:cubicBezTo>
                <a:lnTo>
                  <a:pt x="3263724" y="0"/>
                </a:lnTo>
                <a:lnTo>
                  <a:pt x="1020884" y="0"/>
                </a:lnTo>
                <a:lnTo>
                  <a:pt x="240333" y="752028"/>
                </a:lnTo>
                <a:cubicBezTo>
                  <a:pt x="111821" y="875923"/>
                  <a:pt x="6157" y="1120868"/>
                  <a:pt x="6157" y="1299467"/>
                </a:cubicBezTo>
                <a:lnTo>
                  <a:pt x="4" y="2844263"/>
                </a:lnTo>
                <a:cubicBezTo>
                  <a:pt x="-408" y="2955887"/>
                  <a:pt x="39942" y="3015080"/>
                  <a:pt x="101690" y="3013584"/>
                </a:cubicBezTo>
                <a:close/>
              </a:path>
            </a:pathLst>
          </a:custGeom>
          <a:solidFill>
            <a:srgbClr val="00A070">
              <a:alpha val="30000"/>
            </a:srgbClr>
          </a:solidFill>
          <a:ln w="4630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BE6E9FE-8B81-CF95-8FC4-107CC121397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248128" y="5350924"/>
            <a:ext cx="4319985" cy="395035"/>
          </a:xfrm>
        </p:spPr>
        <p:txBody>
          <a:bodyPr tIns="0" rIns="0" bIns="0">
            <a:normAutofit/>
          </a:bodyPr>
          <a:lstStyle>
            <a:lvl1pPr>
              <a:defRPr sz="1600" b="0"/>
            </a:lvl1pPr>
          </a:lstStyle>
          <a:p>
            <a:r>
              <a:rPr lang="en-GB"/>
              <a:t>This project is financed by the European Union</a:t>
            </a:r>
          </a:p>
        </p:txBody>
      </p:sp>
    </p:spTree>
    <p:extLst>
      <p:ext uri="{BB962C8B-B14F-4D97-AF65-F5344CB8AC3E}">
        <p14:creationId xmlns:p14="http://schemas.microsoft.com/office/powerpoint/2010/main" val="424420032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decel="10000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8" decel="10000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8" decel="10000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2" presetClass="entr" presetSubtype="4" decel="100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2" presetClass="entr" presetSubtype="4" decel="100000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9" presetID="2" presetClass="entr" presetSubtype="4" decel="100000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3" fill="hold">
                            <p:stCondLst>
                              <p:cond delay="2000"/>
                            </p:stCondLst>
                            <p:childTnLst>
                              <p:par>
                                <p:cTn id="34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7" fill="hold">
                            <p:stCondLst>
                              <p:cond delay="2500"/>
                            </p:stCondLst>
                            <p:childTnLst>
                              <p:par>
                                <p:cTn id="38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iterate type="lt">
                                    <p:tmPct val="5000"/>
                                  </p:iterate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5" grpId="0" animBg="1"/>
      <p:bldP spid="46" grpId="0" animBg="1"/>
      <p:bldP spid="41" grpId="0" animBg="1"/>
      <p:bldP spid="25" grpId="0" animBg="1"/>
      <p:bldP spid="26" grpId="0" animBg="1"/>
      <p:bldP spid="44" grpId="0" animBg="1"/>
      <p:bldP spid="49" grpId="0" animBg="1"/>
      <p:bldP spid="2" grpId="0"/>
    </p:bldLst>
  </p:timing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1" name="Picture Placeholder 170">
            <a:extLst>
              <a:ext uri="{FF2B5EF4-FFF2-40B4-BE49-F238E27FC236}">
                <a16:creationId xmlns:a16="http://schemas.microsoft.com/office/drawing/2014/main" id="{E39566F6-E67C-A855-340C-601E04B8FC50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-2" y="0"/>
            <a:ext cx="2468992" cy="4189512"/>
          </a:xfrm>
          <a:custGeom>
            <a:avLst/>
            <a:gdLst>
              <a:gd name="connsiteX0" fmla="*/ 2023284 w 2468992"/>
              <a:gd name="connsiteY0" fmla="*/ 0 h 4189512"/>
              <a:gd name="connsiteX1" fmla="*/ 2468992 w 2468992"/>
              <a:gd name="connsiteY1" fmla="*/ 0 h 4189512"/>
              <a:gd name="connsiteX2" fmla="*/ 2468992 w 2468992"/>
              <a:gd name="connsiteY2" fmla="*/ 1485749 h 4189512"/>
              <a:gd name="connsiteX3" fmla="*/ 2230055 w 2468992"/>
              <a:gd name="connsiteY3" fmla="*/ 2046726 h 4189512"/>
              <a:gd name="connsiteX4" fmla="*/ 0 w 2468992"/>
              <a:gd name="connsiteY4" fmla="*/ 4189512 h 4189512"/>
              <a:gd name="connsiteX5" fmla="*/ 0 w 2468992"/>
              <a:gd name="connsiteY5" fmla="*/ 1949350 h 41895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468992" h="4189512">
                <a:moveTo>
                  <a:pt x="2023284" y="0"/>
                </a:moveTo>
                <a:lnTo>
                  <a:pt x="2468992" y="0"/>
                </a:lnTo>
                <a:lnTo>
                  <a:pt x="2468992" y="1485749"/>
                </a:lnTo>
                <a:cubicBezTo>
                  <a:pt x="2468992" y="1668841"/>
                  <a:pt x="2362019" y="1919936"/>
                  <a:pt x="2230055" y="2046726"/>
                </a:cubicBezTo>
                <a:lnTo>
                  <a:pt x="0" y="4189512"/>
                </a:lnTo>
                <a:lnTo>
                  <a:pt x="0" y="1949350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algn="ctr">
              <a:defRPr sz="1400" b="0">
                <a:solidFill>
                  <a:schemeClr val="tx1"/>
                </a:solidFill>
              </a:defRPr>
            </a:lvl1pPr>
          </a:lstStyle>
          <a:p>
            <a:endParaRPr lang="en-GB"/>
          </a:p>
        </p:txBody>
      </p:sp>
      <p:sp>
        <p:nvSpPr>
          <p:cNvPr id="173" name="Picture Placeholder 172">
            <a:extLst>
              <a:ext uri="{FF2B5EF4-FFF2-40B4-BE49-F238E27FC236}">
                <a16:creationId xmlns:a16="http://schemas.microsoft.com/office/drawing/2014/main" id="{0992B498-A50C-0779-1448-C4C3A12D2DD7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1714666" y="3771987"/>
            <a:ext cx="3336776" cy="3086012"/>
          </a:xfrm>
          <a:custGeom>
            <a:avLst/>
            <a:gdLst>
              <a:gd name="connsiteX0" fmla="*/ 105190 w 3336776"/>
              <a:gd name="connsiteY0" fmla="*/ 31 h 3086012"/>
              <a:gd name="connsiteX1" fmla="*/ 238713 w 3336776"/>
              <a:gd name="connsiteY1" fmla="*/ 71887 h 3086012"/>
              <a:gd name="connsiteX2" fmla="*/ 3239968 w 3336776"/>
              <a:gd name="connsiteY2" fmla="*/ 2963471 h 3086012"/>
              <a:gd name="connsiteX3" fmla="*/ 3333056 w 3336776"/>
              <a:gd name="connsiteY3" fmla="*/ 3078994 h 3086012"/>
              <a:gd name="connsiteX4" fmla="*/ 3336776 w 3336776"/>
              <a:gd name="connsiteY4" fmla="*/ 3086012 h 3086012"/>
              <a:gd name="connsiteX5" fmla="*/ 1038182 w 3336776"/>
              <a:gd name="connsiteY5" fmla="*/ 3086012 h 3086012"/>
              <a:gd name="connsiteX6" fmla="*/ 238937 w 3336776"/>
              <a:gd name="connsiteY6" fmla="*/ 2318043 h 3086012"/>
              <a:gd name="connsiteX7" fmla="*/ 0 w 3336776"/>
              <a:gd name="connsiteY7" fmla="*/ 1757066 h 3086012"/>
              <a:gd name="connsiteX8" fmla="*/ 0 w 3336776"/>
              <a:gd name="connsiteY8" fmla="*/ 173456 h 3086012"/>
              <a:gd name="connsiteX9" fmla="*/ 105190 w 3336776"/>
              <a:gd name="connsiteY9" fmla="*/ 31 h 30860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336776" h="3086012">
                <a:moveTo>
                  <a:pt x="105190" y="31"/>
                </a:moveTo>
                <a:cubicBezTo>
                  <a:pt x="143285" y="992"/>
                  <a:pt x="189226" y="24342"/>
                  <a:pt x="238713" y="71887"/>
                </a:cubicBezTo>
                <a:lnTo>
                  <a:pt x="3239968" y="2963471"/>
                </a:lnTo>
                <a:cubicBezTo>
                  <a:pt x="3272903" y="2995224"/>
                  <a:pt x="3304375" y="3034732"/>
                  <a:pt x="3333056" y="3078994"/>
                </a:cubicBezTo>
                <a:lnTo>
                  <a:pt x="3336776" y="3086012"/>
                </a:lnTo>
                <a:lnTo>
                  <a:pt x="1038182" y="3086012"/>
                </a:lnTo>
                <a:lnTo>
                  <a:pt x="238937" y="2318043"/>
                </a:lnTo>
                <a:cubicBezTo>
                  <a:pt x="106972" y="2191253"/>
                  <a:pt x="0" y="1940158"/>
                  <a:pt x="0" y="1757066"/>
                </a:cubicBezTo>
                <a:lnTo>
                  <a:pt x="0" y="173456"/>
                </a:lnTo>
                <a:cubicBezTo>
                  <a:pt x="0" y="59023"/>
                  <a:pt x="41698" y="-1570"/>
                  <a:pt x="105190" y="31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algn="ctr">
              <a:defRPr sz="1400" b="0">
                <a:solidFill>
                  <a:schemeClr val="tx1"/>
                </a:solidFill>
              </a:defRPr>
            </a:lvl1pPr>
          </a:lstStyle>
          <a:p>
            <a:endParaRPr lang="en-GB"/>
          </a:p>
        </p:txBody>
      </p:sp>
      <p:sp>
        <p:nvSpPr>
          <p:cNvPr id="174" name="Picture Placeholder 173">
            <a:extLst>
              <a:ext uri="{FF2B5EF4-FFF2-40B4-BE49-F238E27FC236}">
                <a16:creationId xmlns:a16="http://schemas.microsoft.com/office/drawing/2014/main" id="{38986D5E-6A4C-ABBA-AA85-354C99FF445C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04898" y="4763759"/>
            <a:ext cx="2337771" cy="2094241"/>
          </a:xfrm>
          <a:custGeom>
            <a:avLst/>
            <a:gdLst>
              <a:gd name="connsiteX0" fmla="*/ 105190 w 2337771"/>
              <a:gd name="connsiteY0" fmla="*/ 31 h 2094241"/>
              <a:gd name="connsiteX1" fmla="*/ 238713 w 2337771"/>
              <a:gd name="connsiteY1" fmla="*/ 71887 h 2094241"/>
              <a:gd name="connsiteX2" fmla="*/ 2337771 w 2337771"/>
              <a:gd name="connsiteY2" fmla="*/ 2094241 h 2094241"/>
              <a:gd name="connsiteX3" fmla="*/ 88746 w 2337771"/>
              <a:gd name="connsiteY3" fmla="*/ 2094241 h 2094241"/>
              <a:gd name="connsiteX4" fmla="*/ 69981 w 2337771"/>
              <a:gd name="connsiteY4" fmla="*/ 2058668 h 2094241"/>
              <a:gd name="connsiteX5" fmla="*/ 0 w 2337771"/>
              <a:gd name="connsiteY5" fmla="*/ 1757066 h 2094241"/>
              <a:gd name="connsiteX6" fmla="*/ 0 w 2337771"/>
              <a:gd name="connsiteY6" fmla="*/ 173456 h 2094241"/>
              <a:gd name="connsiteX7" fmla="*/ 105190 w 2337771"/>
              <a:gd name="connsiteY7" fmla="*/ 31 h 20942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337771" h="2094241">
                <a:moveTo>
                  <a:pt x="105190" y="31"/>
                </a:moveTo>
                <a:cubicBezTo>
                  <a:pt x="143285" y="992"/>
                  <a:pt x="189226" y="24342"/>
                  <a:pt x="238713" y="71887"/>
                </a:cubicBezTo>
                <a:lnTo>
                  <a:pt x="2337771" y="2094241"/>
                </a:lnTo>
                <a:lnTo>
                  <a:pt x="88746" y="2094241"/>
                </a:lnTo>
                <a:lnTo>
                  <a:pt x="69981" y="2058668"/>
                </a:lnTo>
                <a:cubicBezTo>
                  <a:pt x="26743" y="1957159"/>
                  <a:pt x="0" y="1848612"/>
                  <a:pt x="0" y="1757066"/>
                </a:cubicBezTo>
                <a:lnTo>
                  <a:pt x="0" y="173456"/>
                </a:lnTo>
                <a:cubicBezTo>
                  <a:pt x="0" y="59023"/>
                  <a:pt x="41698" y="-1570"/>
                  <a:pt x="105190" y="31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algn="ctr">
              <a:defRPr sz="1400" b="0">
                <a:solidFill>
                  <a:schemeClr val="tx1"/>
                </a:solidFill>
              </a:defRPr>
            </a:lvl1pPr>
          </a:lstStyle>
          <a:p>
            <a:endParaRPr lang="en-GB"/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CE30D08F-F788-58FD-84C1-092AC28946B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663952" y="1223149"/>
            <a:ext cx="5904162" cy="501414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76" name="Slide Number Placeholder 5">
            <a:extLst>
              <a:ext uri="{FF2B5EF4-FFF2-40B4-BE49-F238E27FC236}">
                <a16:creationId xmlns:a16="http://schemas.microsoft.com/office/drawing/2014/main" id="{6522F757-6621-1CFE-338A-EC6FC4EEA0E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80576" y="6365040"/>
            <a:ext cx="287536" cy="293663"/>
          </a:xfrm>
          <a:prstGeom prst="rect">
            <a:avLst/>
          </a:prstGeom>
        </p:spPr>
        <p:txBody>
          <a:bodyPr vert="horz" lIns="91440" tIns="45720" rIns="0" bIns="45720" rtlCol="0" anchor="ctr"/>
          <a:lstStyle>
            <a:lvl1pPr algn="r">
              <a:defRPr sz="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DB84476-BC29-4407-9D57-B2E562B8968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73" name="Text Placeholder 272">
            <a:extLst>
              <a:ext uri="{FF2B5EF4-FFF2-40B4-BE49-F238E27FC236}">
                <a16:creationId xmlns:a16="http://schemas.microsoft.com/office/drawing/2014/main" id="{0A68684A-4D1B-CD2C-3510-FB09CCC7C17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0" y="971889"/>
            <a:ext cx="3008278" cy="4979012"/>
          </a:xfrm>
          <a:custGeom>
            <a:avLst/>
            <a:gdLst>
              <a:gd name="connsiteX0" fmla="*/ 2903087 w 3008278"/>
              <a:gd name="connsiteY0" fmla="*/ 31 h 4979012"/>
              <a:gd name="connsiteX1" fmla="*/ 3008278 w 3008278"/>
              <a:gd name="connsiteY1" fmla="*/ 173456 h 4979012"/>
              <a:gd name="connsiteX2" fmla="*/ 3008278 w 3008278"/>
              <a:gd name="connsiteY2" fmla="*/ 1757066 h 4979012"/>
              <a:gd name="connsiteX3" fmla="*/ 2769341 w 3008278"/>
              <a:gd name="connsiteY3" fmla="*/ 2318044 h 4979012"/>
              <a:gd name="connsiteX4" fmla="*/ 0 w 3008278"/>
              <a:gd name="connsiteY4" fmla="*/ 4979012 h 4979012"/>
              <a:gd name="connsiteX5" fmla="*/ 0 w 3008278"/>
              <a:gd name="connsiteY5" fmla="*/ 2740246 h 4979012"/>
              <a:gd name="connsiteX6" fmla="*/ 2769564 w 3008278"/>
              <a:gd name="connsiteY6" fmla="*/ 71887 h 4979012"/>
              <a:gd name="connsiteX7" fmla="*/ 2903087 w 3008278"/>
              <a:gd name="connsiteY7" fmla="*/ 31 h 49790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008278" h="4979012">
                <a:moveTo>
                  <a:pt x="2903087" y="31"/>
                </a:moveTo>
                <a:cubicBezTo>
                  <a:pt x="2966579" y="-1570"/>
                  <a:pt x="3008278" y="59023"/>
                  <a:pt x="3008278" y="173456"/>
                </a:cubicBezTo>
                <a:lnTo>
                  <a:pt x="3008278" y="1757066"/>
                </a:lnTo>
                <a:cubicBezTo>
                  <a:pt x="3008278" y="1940158"/>
                  <a:pt x="2901305" y="2191253"/>
                  <a:pt x="2769341" y="2318044"/>
                </a:cubicBezTo>
                <a:lnTo>
                  <a:pt x="0" y="4979012"/>
                </a:lnTo>
                <a:lnTo>
                  <a:pt x="0" y="2740246"/>
                </a:lnTo>
                <a:lnTo>
                  <a:pt x="2769564" y="71887"/>
                </a:lnTo>
                <a:cubicBezTo>
                  <a:pt x="2819051" y="24342"/>
                  <a:pt x="2864992" y="992"/>
                  <a:pt x="2903087" y="31"/>
                </a:cubicBezTo>
                <a:close/>
              </a:path>
            </a:pathLst>
          </a:custGeom>
          <a:solidFill>
            <a:schemeClr val="accent2">
              <a:alpha val="30000"/>
            </a:schemeClr>
          </a:solidFill>
        </p:spPr>
        <p:txBody>
          <a:bodyPr wrap="square" anchor="ctr">
            <a:noAutofit/>
          </a:bodyPr>
          <a:lstStyle>
            <a:lvl1pPr>
              <a:defRPr sz="100">
                <a:solidFill>
                  <a:schemeClr val="accent2"/>
                </a:solidFill>
              </a:defRPr>
            </a:lvl1pPr>
            <a:lvl2pPr>
              <a:defRPr sz="100">
                <a:solidFill>
                  <a:schemeClr val="accent2"/>
                </a:solidFill>
              </a:defRPr>
            </a:lvl2pPr>
            <a:lvl3pPr>
              <a:defRPr sz="100">
                <a:solidFill>
                  <a:schemeClr val="accent2"/>
                </a:solidFill>
              </a:defRPr>
            </a:lvl3pPr>
            <a:lvl4pPr>
              <a:defRPr sz="100">
                <a:solidFill>
                  <a:schemeClr val="accent2"/>
                </a:solidFill>
              </a:defRPr>
            </a:lvl4pPr>
            <a:lvl5pPr algn="ctr">
              <a:defRPr sz="100">
                <a:solidFill>
                  <a:schemeClr val="accent2">
                    <a:alpha val="0"/>
                  </a:schemeClr>
                </a:solidFill>
              </a:defRPr>
            </a:lvl5pPr>
          </a:lstStyle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74" name="Text Placeholder 273">
            <a:extLst>
              <a:ext uri="{FF2B5EF4-FFF2-40B4-BE49-F238E27FC236}">
                <a16:creationId xmlns:a16="http://schemas.microsoft.com/office/drawing/2014/main" id="{9180577A-0F2A-DFC9-F5B4-E28B4EB68E4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0" y="4293095"/>
            <a:ext cx="1581031" cy="2395295"/>
          </a:xfrm>
          <a:custGeom>
            <a:avLst/>
            <a:gdLst>
              <a:gd name="connsiteX0" fmla="*/ 1994280 w 2056324"/>
              <a:gd name="connsiteY0" fmla="*/ 19 h 3115375"/>
              <a:gd name="connsiteX1" fmla="*/ 2056324 w 2056324"/>
              <a:gd name="connsiteY1" fmla="*/ 102309 h 3115375"/>
              <a:gd name="connsiteX2" fmla="*/ 2056324 w 2056324"/>
              <a:gd name="connsiteY2" fmla="*/ 1036357 h 3115375"/>
              <a:gd name="connsiteX3" fmla="*/ 1915394 w 2056324"/>
              <a:gd name="connsiteY3" fmla="*/ 1367234 h 3115375"/>
              <a:gd name="connsiteX4" fmla="*/ 140135 w 2056324"/>
              <a:gd name="connsiteY4" fmla="*/ 3073019 h 3115375"/>
              <a:gd name="connsiteX5" fmla="*/ 2 w 2056324"/>
              <a:gd name="connsiteY5" fmla="*/ 3012980 h 3115375"/>
              <a:gd name="connsiteX6" fmla="*/ 3723 w 2056324"/>
              <a:gd name="connsiteY6" fmla="*/ 2078928 h 3115375"/>
              <a:gd name="connsiteX7" fmla="*/ 145316 w 2056324"/>
              <a:gd name="connsiteY7" fmla="*/ 1747922 h 3115375"/>
              <a:gd name="connsiteX8" fmla="*/ 1915526 w 2056324"/>
              <a:gd name="connsiteY8" fmla="*/ 42401 h 3115375"/>
              <a:gd name="connsiteX9" fmla="*/ 1994280 w 2056324"/>
              <a:gd name="connsiteY9" fmla="*/ 19 h 31153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056324" h="3115375">
                <a:moveTo>
                  <a:pt x="1994280" y="19"/>
                </a:moveTo>
                <a:cubicBezTo>
                  <a:pt x="2031729" y="-925"/>
                  <a:pt x="2056324" y="34814"/>
                  <a:pt x="2056324" y="102309"/>
                </a:cubicBezTo>
                <a:lnTo>
                  <a:pt x="2056324" y="1036357"/>
                </a:lnTo>
                <a:cubicBezTo>
                  <a:pt x="2056324" y="1144349"/>
                  <a:pt x="1993229" y="1292451"/>
                  <a:pt x="1915394" y="1367234"/>
                </a:cubicBezTo>
                <a:lnTo>
                  <a:pt x="140135" y="3073019"/>
                </a:lnTo>
                <a:cubicBezTo>
                  <a:pt x="62300" y="3147800"/>
                  <a:pt x="-397" y="3120969"/>
                  <a:pt x="2" y="3012980"/>
                </a:cubicBezTo>
                <a:lnTo>
                  <a:pt x="3723" y="2078928"/>
                </a:lnTo>
                <a:cubicBezTo>
                  <a:pt x="3723" y="1970939"/>
                  <a:pt x="67612" y="1822835"/>
                  <a:pt x="145316" y="1747922"/>
                </a:cubicBezTo>
                <a:lnTo>
                  <a:pt x="1915526" y="42401"/>
                </a:lnTo>
                <a:cubicBezTo>
                  <a:pt x="1944714" y="14358"/>
                  <a:pt x="1971811" y="586"/>
                  <a:pt x="1994280" y="19"/>
                </a:cubicBezTo>
                <a:close/>
              </a:path>
            </a:pathLst>
          </a:custGeom>
          <a:solidFill>
            <a:schemeClr val="accent4">
              <a:alpha val="40000"/>
            </a:schemeClr>
          </a:solidFill>
        </p:spPr>
        <p:txBody>
          <a:bodyPr wrap="square">
            <a:noAutofit/>
          </a:bodyPr>
          <a:lstStyle>
            <a:lvl1pPr>
              <a:defRPr sz="100">
                <a:solidFill>
                  <a:schemeClr val="accent4">
                    <a:alpha val="0"/>
                  </a:schemeClr>
                </a:solidFill>
              </a:defRPr>
            </a:lvl1pPr>
            <a:lvl2pPr>
              <a:defRPr sz="100">
                <a:solidFill>
                  <a:schemeClr val="accent4">
                    <a:alpha val="0"/>
                  </a:schemeClr>
                </a:solidFill>
              </a:defRPr>
            </a:lvl2pPr>
            <a:lvl3pPr>
              <a:defRPr sz="100">
                <a:solidFill>
                  <a:schemeClr val="accent4">
                    <a:alpha val="0"/>
                  </a:schemeClr>
                </a:solidFill>
              </a:defRPr>
            </a:lvl3pPr>
            <a:lvl4pPr>
              <a:defRPr sz="100">
                <a:solidFill>
                  <a:schemeClr val="accent4">
                    <a:alpha val="0"/>
                  </a:schemeClr>
                </a:solidFill>
              </a:defRPr>
            </a:lvl4pPr>
            <a:lvl5pPr>
              <a:defRPr sz="100">
                <a:solidFill>
                  <a:schemeClr val="accent4">
                    <a:alpha val="0"/>
                  </a:schemeClr>
                </a:solidFill>
              </a:defRPr>
            </a:lvl5pPr>
          </a:lstStyle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DCE16DFF-A34B-DDDB-C64E-BC480791895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64386" y="332657"/>
            <a:ext cx="5892296" cy="75669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0070014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hf hdr="0" dt="0"/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5" name="Text Placeholder 274">
            <a:extLst>
              <a:ext uri="{FF2B5EF4-FFF2-40B4-BE49-F238E27FC236}">
                <a16:creationId xmlns:a16="http://schemas.microsoft.com/office/drawing/2014/main" id="{5C4F1F97-E65D-A420-9EA6-EEDF7BE680C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239011" y="251884"/>
            <a:ext cx="3952991" cy="6606117"/>
          </a:xfrm>
          <a:custGeom>
            <a:avLst/>
            <a:gdLst>
              <a:gd name="connsiteX0" fmla="*/ 3952991 w 3952991"/>
              <a:gd name="connsiteY0" fmla="*/ 0 h 6606117"/>
              <a:gd name="connsiteX1" fmla="*/ 3952991 w 3952991"/>
              <a:gd name="connsiteY1" fmla="*/ 3536651 h 6606117"/>
              <a:gd name="connsiteX2" fmla="*/ 3952991 w 3952991"/>
              <a:gd name="connsiteY2" fmla="*/ 6606117 h 6606117"/>
              <a:gd name="connsiteX3" fmla="*/ 0 w 3952991"/>
              <a:gd name="connsiteY3" fmla="*/ 6606117 h 6606117"/>
              <a:gd name="connsiteX4" fmla="*/ 9106 w 3952991"/>
              <a:gd name="connsiteY4" fmla="*/ 4319713 h 6606117"/>
              <a:gd name="connsiteX5" fmla="*/ 387448 w 3952991"/>
              <a:gd name="connsiteY5" fmla="*/ 3435252 h 66061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952991" h="6606117">
                <a:moveTo>
                  <a:pt x="3952991" y="0"/>
                </a:moveTo>
                <a:lnTo>
                  <a:pt x="3952991" y="3536651"/>
                </a:lnTo>
                <a:lnTo>
                  <a:pt x="3952991" y="6606117"/>
                </a:lnTo>
                <a:lnTo>
                  <a:pt x="0" y="6606117"/>
                </a:lnTo>
                <a:lnTo>
                  <a:pt x="9106" y="4319713"/>
                </a:lnTo>
                <a:cubicBezTo>
                  <a:pt x="9106" y="4031162"/>
                  <a:pt x="179820" y="3635422"/>
                  <a:pt x="387448" y="3435252"/>
                </a:cubicBezTo>
                <a:close/>
              </a:path>
            </a:pathLst>
          </a:custGeom>
          <a:solidFill>
            <a:srgbClr val="F07E26">
              <a:alpha val="40000"/>
            </a:srgbClr>
          </a:solidFill>
        </p:spPr>
        <p:txBody>
          <a:bodyPr wrap="square" anchor="ctr">
            <a:noAutofit/>
          </a:bodyPr>
          <a:lstStyle>
            <a:lvl1pPr algn="ctr">
              <a:defRPr sz="100">
                <a:solidFill>
                  <a:srgbClr val="F07E26">
                    <a:alpha val="0"/>
                  </a:srgbClr>
                </a:solidFill>
              </a:defRPr>
            </a:lvl1pPr>
          </a:lstStyle>
          <a:p>
            <a:pPr lvl="0"/>
            <a:endParaRPr lang="en-GB"/>
          </a:p>
        </p:txBody>
      </p:sp>
      <p:sp>
        <p:nvSpPr>
          <p:cNvPr id="176" name="Slide Number Placeholder 5">
            <a:extLst>
              <a:ext uri="{FF2B5EF4-FFF2-40B4-BE49-F238E27FC236}">
                <a16:creationId xmlns:a16="http://schemas.microsoft.com/office/drawing/2014/main" id="{6522F757-6621-1CFE-338A-EC6FC4EEA0E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80576" y="6365040"/>
            <a:ext cx="287536" cy="293663"/>
          </a:xfrm>
          <a:prstGeom prst="rect">
            <a:avLst/>
          </a:prstGeom>
        </p:spPr>
        <p:txBody>
          <a:bodyPr vert="horz" lIns="91440" tIns="45720" rIns="0" bIns="45720" rtlCol="0" anchor="ctr"/>
          <a:lstStyle>
            <a:lvl1pPr algn="r">
              <a:defRPr sz="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DB84476-BC29-4407-9D57-B2E562B8968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73" name="Text Placeholder 16">
            <a:extLst>
              <a:ext uri="{FF2B5EF4-FFF2-40B4-BE49-F238E27FC236}">
                <a16:creationId xmlns:a16="http://schemas.microsoft.com/office/drawing/2014/main" id="{FE741B7C-1877-C14A-65A1-B5A7A0F0BA5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38631" y="1223149"/>
            <a:ext cx="7085111" cy="501414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74" name="Title 6">
            <a:extLst>
              <a:ext uri="{FF2B5EF4-FFF2-40B4-BE49-F238E27FC236}">
                <a16:creationId xmlns:a16="http://schemas.microsoft.com/office/drawing/2014/main" id="{F153063D-FAFB-D531-4E8A-CD5CE1D2027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9066" y="332657"/>
            <a:ext cx="7070872" cy="75669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276" name="Text Placeholder 275">
            <a:extLst>
              <a:ext uri="{FF2B5EF4-FFF2-40B4-BE49-F238E27FC236}">
                <a16:creationId xmlns:a16="http://schemas.microsoft.com/office/drawing/2014/main" id="{01A522C6-5F9C-369D-76E7-540BC24E3DC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10434450" y="586169"/>
            <a:ext cx="1757550" cy="3862863"/>
          </a:xfrm>
          <a:custGeom>
            <a:avLst/>
            <a:gdLst>
              <a:gd name="connsiteX0" fmla="*/ 108677 w 1757550"/>
              <a:gd name="connsiteY0" fmla="*/ 30 h 3862863"/>
              <a:gd name="connsiteX1" fmla="*/ 247691 w 1757550"/>
              <a:gd name="connsiteY1" fmla="*/ 74865 h 3862863"/>
              <a:gd name="connsiteX2" fmla="*/ 1757550 w 1757550"/>
              <a:gd name="connsiteY2" fmla="*/ 1525639 h 3862863"/>
              <a:gd name="connsiteX3" fmla="*/ 1757550 w 1757550"/>
              <a:gd name="connsiteY3" fmla="*/ 3862863 h 3862863"/>
              <a:gd name="connsiteX4" fmla="*/ 256848 w 1757550"/>
              <a:gd name="connsiteY4" fmla="*/ 2416999 h 3862863"/>
              <a:gd name="connsiteX5" fmla="*/ 6579 w 1757550"/>
              <a:gd name="connsiteY5" fmla="*/ 1831940 h 3862863"/>
              <a:gd name="connsiteX6" fmla="*/ 4 w 1757550"/>
              <a:gd name="connsiteY6" fmla="*/ 180987 h 3862863"/>
              <a:gd name="connsiteX7" fmla="*/ 71992 w 1757550"/>
              <a:gd name="connsiteY7" fmla="*/ 6783 h 3862863"/>
              <a:gd name="connsiteX8" fmla="*/ 108677 w 1757550"/>
              <a:gd name="connsiteY8" fmla="*/ 30 h 38628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757550" h="3862863">
                <a:moveTo>
                  <a:pt x="108677" y="30"/>
                </a:moveTo>
                <a:cubicBezTo>
                  <a:pt x="148272" y="989"/>
                  <a:pt x="196100" y="25299"/>
                  <a:pt x="247691" y="74865"/>
                </a:cubicBezTo>
                <a:lnTo>
                  <a:pt x="1757550" y="1525639"/>
                </a:lnTo>
                <a:lnTo>
                  <a:pt x="1757550" y="3862863"/>
                </a:lnTo>
                <a:lnTo>
                  <a:pt x="256848" y="2416999"/>
                </a:lnTo>
                <a:cubicBezTo>
                  <a:pt x="119505" y="2284590"/>
                  <a:pt x="6579" y="2022812"/>
                  <a:pt x="6579" y="1831940"/>
                </a:cubicBezTo>
                <a:lnTo>
                  <a:pt x="4" y="180987"/>
                </a:lnTo>
                <a:cubicBezTo>
                  <a:pt x="-348" y="85550"/>
                  <a:pt x="27179" y="25976"/>
                  <a:pt x="71992" y="6783"/>
                </a:cubicBezTo>
                <a:cubicBezTo>
                  <a:pt x="83195" y="1985"/>
                  <a:pt x="95479" y="-290"/>
                  <a:pt x="108677" y="30"/>
                </a:cubicBezTo>
                <a:close/>
              </a:path>
            </a:pathLst>
          </a:custGeom>
          <a:solidFill>
            <a:schemeClr val="accent2">
              <a:alpha val="30000"/>
            </a:schemeClr>
          </a:solidFill>
        </p:spPr>
        <p:txBody>
          <a:bodyPr wrap="square" anchor="ctr">
            <a:noAutofit/>
          </a:bodyPr>
          <a:lstStyle>
            <a:lvl1pPr algn="ctr">
              <a:defRPr sz="100" b="0">
                <a:solidFill>
                  <a:schemeClr val="accent2">
                    <a:alpha val="0"/>
                  </a:schemeClr>
                </a:solidFill>
              </a:defRPr>
            </a:lvl1pPr>
          </a:lstStyle>
          <a:p>
            <a:pPr lvl="0"/>
            <a:endParaRPr lang="en-GB"/>
          </a:p>
        </p:txBody>
      </p:sp>
      <p:sp>
        <p:nvSpPr>
          <p:cNvPr id="175" name="Picture Placeholder 174">
            <a:extLst>
              <a:ext uri="{FF2B5EF4-FFF2-40B4-BE49-F238E27FC236}">
                <a16:creationId xmlns:a16="http://schemas.microsoft.com/office/drawing/2014/main" id="{C8DB182E-FFC4-114D-A745-513657A1987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572858" y="353298"/>
            <a:ext cx="3634587" cy="5506483"/>
          </a:xfrm>
          <a:custGeom>
            <a:avLst/>
            <a:gdLst>
              <a:gd name="connsiteX0" fmla="*/ 108677 w 3634587"/>
              <a:gd name="connsiteY0" fmla="*/ 30 h 5506483"/>
              <a:gd name="connsiteX1" fmla="*/ 247691 w 3634587"/>
              <a:gd name="connsiteY1" fmla="*/ 74865 h 5506483"/>
              <a:gd name="connsiteX2" fmla="*/ 3385489 w 3634587"/>
              <a:gd name="connsiteY2" fmla="*/ 3089872 h 5506483"/>
              <a:gd name="connsiteX3" fmla="*/ 3634587 w 3634587"/>
              <a:gd name="connsiteY3" fmla="*/ 3674704 h 5506483"/>
              <a:gd name="connsiteX4" fmla="*/ 3634587 w 3634587"/>
              <a:gd name="connsiteY4" fmla="*/ 5325652 h 5506483"/>
              <a:gd name="connsiteX5" fmla="*/ 3385723 w 3634587"/>
              <a:gd name="connsiteY5" fmla="*/ 5431540 h 5506483"/>
              <a:gd name="connsiteX6" fmla="*/ 256848 w 3634587"/>
              <a:gd name="connsiteY6" fmla="*/ 2416999 h 5506483"/>
              <a:gd name="connsiteX7" fmla="*/ 6579 w 3634587"/>
              <a:gd name="connsiteY7" fmla="*/ 1831940 h 5506483"/>
              <a:gd name="connsiteX8" fmla="*/ 4 w 3634587"/>
              <a:gd name="connsiteY8" fmla="*/ 180987 h 5506483"/>
              <a:gd name="connsiteX9" fmla="*/ 108677 w 3634587"/>
              <a:gd name="connsiteY9" fmla="*/ 30 h 55064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634587" h="5506483">
                <a:moveTo>
                  <a:pt x="108677" y="30"/>
                </a:moveTo>
                <a:cubicBezTo>
                  <a:pt x="148272" y="989"/>
                  <a:pt x="196100" y="25299"/>
                  <a:pt x="247691" y="74865"/>
                </a:cubicBezTo>
                <a:lnTo>
                  <a:pt x="3385489" y="3089872"/>
                </a:lnTo>
                <a:cubicBezTo>
                  <a:pt x="3523065" y="3222054"/>
                  <a:pt x="3634587" y="3483826"/>
                  <a:pt x="3634587" y="3674704"/>
                </a:cubicBezTo>
                <a:lnTo>
                  <a:pt x="3634587" y="5325652"/>
                </a:lnTo>
                <a:cubicBezTo>
                  <a:pt x="3634587" y="5516530"/>
                  <a:pt x="3523299" y="5563717"/>
                  <a:pt x="3385723" y="5431540"/>
                </a:cubicBezTo>
                <a:lnTo>
                  <a:pt x="256848" y="2416999"/>
                </a:lnTo>
                <a:cubicBezTo>
                  <a:pt x="119505" y="2284590"/>
                  <a:pt x="6579" y="2022812"/>
                  <a:pt x="6579" y="1831940"/>
                </a:cubicBezTo>
                <a:lnTo>
                  <a:pt x="4" y="180987"/>
                </a:lnTo>
                <a:cubicBezTo>
                  <a:pt x="-437" y="61691"/>
                  <a:pt x="42686" y="-1570"/>
                  <a:pt x="108677" y="30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algn="ctr">
              <a:defRPr sz="1200" b="0"/>
            </a:lvl1pPr>
          </a:lstStyle>
          <a:p>
            <a:endParaRPr lang="en-GB"/>
          </a:p>
        </p:txBody>
      </p:sp>
      <p:sp>
        <p:nvSpPr>
          <p:cNvPr id="182" name="Picture Placeholder 181">
            <a:extLst>
              <a:ext uri="{FF2B5EF4-FFF2-40B4-BE49-F238E27FC236}">
                <a16:creationId xmlns:a16="http://schemas.microsoft.com/office/drawing/2014/main" id="{5F0494F4-61BF-0CAE-EF1E-9F19E95E2C09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11540909" y="1787732"/>
            <a:ext cx="666536" cy="1767448"/>
          </a:xfrm>
          <a:custGeom>
            <a:avLst/>
            <a:gdLst>
              <a:gd name="connsiteX0" fmla="*/ 666536 w 666536"/>
              <a:gd name="connsiteY0" fmla="*/ 0 h 1767448"/>
              <a:gd name="connsiteX1" fmla="*/ 666536 w 666536"/>
              <a:gd name="connsiteY1" fmla="*/ 1211608 h 1767448"/>
              <a:gd name="connsiteX2" fmla="*/ 128469 w 666536"/>
              <a:gd name="connsiteY2" fmla="*/ 1728619 h 1767448"/>
              <a:gd name="connsiteX3" fmla="*/ 2 w 666536"/>
              <a:gd name="connsiteY3" fmla="*/ 1673577 h 1767448"/>
              <a:gd name="connsiteX4" fmla="*/ 3413 w 666536"/>
              <a:gd name="connsiteY4" fmla="*/ 817280 h 1767448"/>
              <a:gd name="connsiteX5" fmla="*/ 133219 w 666536"/>
              <a:gd name="connsiteY5" fmla="*/ 513829 h 17674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66536" h="1767448">
                <a:moveTo>
                  <a:pt x="666536" y="0"/>
                </a:moveTo>
                <a:lnTo>
                  <a:pt x="666536" y="1211608"/>
                </a:lnTo>
                <a:lnTo>
                  <a:pt x="128469" y="1728619"/>
                </a:lnTo>
                <a:cubicBezTo>
                  <a:pt x="57113" y="1797174"/>
                  <a:pt x="-364" y="1772576"/>
                  <a:pt x="2" y="1673577"/>
                </a:cubicBezTo>
                <a:lnTo>
                  <a:pt x="3413" y="817280"/>
                </a:lnTo>
                <a:cubicBezTo>
                  <a:pt x="3413" y="718281"/>
                  <a:pt x="61983" y="582505"/>
                  <a:pt x="133219" y="513829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</p:spPr>
        <p:txBody>
          <a:bodyPr wrap="square" anchor="ctr">
            <a:noAutofit/>
          </a:bodyPr>
          <a:lstStyle>
            <a:lvl1pPr algn="l">
              <a:defRPr sz="1200" b="0">
                <a:solidFill>
                  <a:schemeClr val="tx1"/>
                </a:solidFill>
              </a:defRPr>
            </a:lvl1pPr>
          </a:lstStyle>
          <a:p>
            <a:endParaRPr lang="en-GB"/>
          </a:p>
        </p:txBody>
      </p:sp>
      <p:sp>
        <p:nvSpPr>
          <p:cNvPr id="178" name="Picture Placeholder 177">
            <a:extLst>
              <a:ext uri="{FF2B5EF4-FFF2-40B4-BE49-F238E27FC236}">
                <a16:creationId xmlns:a16="http://schemas.microsoft.com/office/drawing/2014/main" id="{C6C9A0FA-8556-275A-2BBA-2E78B696561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 rot="10800000" flipV="1">
            <a:off x="7674397" y="3408318"/>
            <a:ext cx="3743174" cy="3441037"/>
          </a:xfrm>
          <a:custGeom>
            <a:avLst/>
            <a:gdLst>
              <a:gd name="connsiteX0" fmla="*/ 119273 w 3743174"/>
              <a:gd name="connsiteY0" fmla="*/ 36 h 3441037"/>
              <a:gd name="connsiteX1" fmla="*/ 0 w 3743174"/>
              <a:gd name="connsiteY1" fmla="*/ 196679 h 3441037"/>
              <a:gd name="connsiteX2" fmla="*/ 0 w 3743174"/>
              <a:gd name="connsiteY2" fmla="*/ 1992304 h 3441037"/>
              <a:gd name="connsiteX3" fmla="*/ 270926 w 3743174"/>
              <a:gd name="connsiteY3" fmla="*/ 2628386 h 3441037"/>
              <a:gd name="connsiteX4" fmla="*/ 1116674 w 3743174"/>
              <a:gd name="connsiteY4" fmla="*/ 3441037 h 3441037"/>
              <a:gd name="connsiteX5" fmla="*/ 3743174 w 3743174"/>
              <a:gd name="connsiteY5" fmla="*/ 3441037 h 3441037"/>
              <a:gd name="connsiteX6" fmla="*/ 3728321 w 3743174"/>
              <a:gd name="connsiteY6" fmla="*/ 3420399 h 3441037"/>
              <a:gd name="connsiteX7" fmla="*/ 3673737 w 3743174"/>
              <a:gd name="connsiteY7" fmla="*/ 3360224 h 3441037"/>
              <a:gd name="connsiteX8" fmla="*/ 270672 w 3743174"/>
              <a:gd name="connsiteY8" fmla="*/ 81512 h 3441037"/>
              <a:gd name="connsiteX9" fmla="*/ 119273 w 3743174"/>
              <a:gd name="connsiteY9" fmla="*/ 36 h 34410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743174" h="3441037">
                <a:moveTo>
                  <a:pt x="119273" y="36"/>
                </a:moveTo>
                <a:cubicBezTo>
                  <a:pt x="47281" y="-1779"/>
                  <a:pt x="0" y="66926"/>
                  <a:pt x="0" y="196679"/>
                </a:cubicBezTo>
                <a:lnTo>
                  <a:pt x="0" y="1992304"/>
                </a:lnTo>
                <a:cubicBezTo>
                  <a:pt x="0" y="2199909"/>
                  <a:pt x="121294" y="2484621"/>
                  <a:pt x="270926" y="2628386"/>
                </a:cubicBezTo>
                <a:lnTo>
                  <a:pt x="1116674" y="3441037"/>
                </a:lnTo>
                <a:lnTo>
                  <a:pt x="3743174" y="3441037"/>
                </a:lnTo>
                <a:lnTo>
                  <a:pt x="3728321" y="3420399"/>
                </a:lnTo>
                <a:cubicBezTo>
                  <a:pt x="3710666" y="3398426"/>
                  <a:pt x="3692409" y="3378226"/>
                  <a:pt x="3673737" y="3360224"/>
                </a:cubicBezTo>
                <a:lnTo>
                  <a:pt x="270672" y="81512"/>
                </a:lnTo>
                <a:cubicBezTo>
                  <a:pt x="214560" y="27602"/>
                  <a:pt x="162469" y="1126"/>
                  <a:pt x="119273" y="36"/>
                </a:cubicBezTo>
                <a:close/>
              </a:path>
            </a:pathLst>
          </a:custGeom>
          <a:solidFill>
            <a:schemeClr val="bg2">
              <a:lumMod val="90000"/>
            </a:schemeClr>
          </a:solidFill>
        </p:spPr>
        <p:txBody>
          <a:bodyPr wrap="square" anchor="ctr">
            <a:noAutofit/>
          </a:bodyPr>
          <a:lstStyle>
            <a:lvl1pPr algn="ctr">
              <a:defRPr sz="1200" b="0">
                <a:solidFill>
                  <a:schemeClr val="tx1"/>
                </a:solidFill>
              </a:defRPr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8621852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hf hd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5" name="Text Placeholder 274">
            <a:extLst>
              <a:ext uri="{FF2B5EF4-FFF2-40B4-BE49-F238E27FC236}">
                <a16:creationId xmlns:a16="http://schemas.microsoft.com/office/drawing/2014/main" id="{5C4F1F97-E65D-A420-9EA6-EEDF7BE680C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239011" y="251884"/>
            <a:ext cx="3952991" cy="6606117"/>
          </a:xfrm>
          <a:custGeom>
            <a:avLst/>
            <a:gdLst>
              <a:gd name="connsiteX0" fmla="*/ 3952991 w 3952991"/>
              <a:gd name="connsiteY0" fmla="*/ 0 h 6606117"/>
              <a:gd name="connsiteX1" fmla="*/ 3952991 w 3952991"/>
              <a:gd name="connsiteY1" fmla="*/ 3536651 h 6606117"/>
              <a:gd name="connsiteX2" fmla="*/ 3952991 w 3952991"/>
              <a:gd name="connsiteY2" fmla="*/ 6606117 h 6606117"/>
              <a:gd name="connsiteX3" fmla="*/ 0 w 3952991"/>
              <a:gd name="connsiteY3" fmla="*/ 6606117 h 6606117"/>
              <a:gd name="connsiteX4" fmla="*/ 9106 w 3952991"/>
              <a:gd name="connsiteY4" fmla="*/ 4319713 h 6606117"/>
              <a:gd name="connsiteX5" fmla="*/ 387448 w 3952991"/>
              <a:gd name="connsiteY5" fmla="*/ 3435252 h 66061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952991" h="6606117">
                <a:moveTo>
                  <a:pt x="3952991" y="0"/>
                </a:moveTo>
                <a:lnTo>
                  <a:pt x="3952991" y="3536651"/>
                </a:lnTo>
                <a:lnTo>
                  <a:pt x="3952991" y="6606117"/>
                </a:lnTo>
                <a:lnTo>
                  <a:pt x="0" y="6606117"/>
                </a:lnTo>
                <a:lnTo>
                  <a:pt x="9106" y="4319713"/>
                </a:lnTo>
                <a:cubicBezTo>
                  <a:pt x="9106" y="4031162"/>
                  <a:pt x="179820" y="3635422"/>
                  <a:pt x="387448" y="3435252"/>
                </a:cubicBezTo>
                <a:close/>
              </a:path>
            </a:pathLst>
          </a:custGeom>
          <a:solidFill>
            <a:srgbClr val="F07E26">
              <a:alpha val="40000"/>
            </a:srgbClr>
          </a:solidFill>
        </p:spPr>
        <p:txBody>
          <a:bodyPr wrap="square" anchor="ctr">
            <a:noAutofit/>
          </a:bodyPr>
          <a:lstStyle>
            <a:lvl1pPr algn="ctr">
              <a:defRPr sz="100">
                <a:solidFill>
                  <a:srgbClr val="F07E26">
                    <a:alpha val="0"/>
                  </a:srgbClr>
                </a:solidFill>
              </a:defRPr>
            </a:lvl1pPr>
          </a:lstStyle>
          <a:p>
            <a:pPr lvl="0"/>
            <a:endParaRPr lang="en-GB"/>
          </a:p>
        </p:txBody>
      </p:sp>
      <p:sp>
        <p:nvSpPr>
          <p:cNvPr id="176" name="Slide Number Placeholder 5">
            <a:extLst>
              <a:ext uri="{FF2B5EF4-FFF2-40B4-BE49-F238E27FC236}">
                <a16:creationId xmlns:a16="http://schemas.microsoft.com/office/drawing/2014/main" id="{6522F757-6621-1CFE-338A-EC6FC4EEA0E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80576" y="6365040"/>
            <a:ext cx="287536" cy="293663"/>
          </a:xfrm>
          <a:prstGeom prst="rect">
            <a:avLst/>
          </a:prstGeom>
        </p:spPr>
        <p:txBody>
          <a:bodyPr vert="horz" lIns="91440" tIns="45720" rIns="0" bIns="45720" rtlCol="0" anchor="ctr"/>
          <a:lstStyle>
            <a:lvl1pPr algn="r">
              <a:defRPr sz="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DB84476-BC29-4407-9D57-B2E562B8968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73" name="Text Placeholder 16">
            <a:extLst>
              <a:ext uri="{FF2B5EF4-FFF2-40B4-BE49-F238E27FC236}">
                <a16:creationId xmlns:a16="http://schemas.microsoft.com/office/drawing/2014/main" id="{FE741B7C-1877-C14A-65A1-B5A7A0F0BA5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38631" y="1223149"/>
            <a:ext cx="7085111" cy="501414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74" name="Title 6">
            <a:extLst>
              <a:ext uri="{FF2B5EF4-FFF2-40B4-BE49-F238E27FC236}">
                <a16:creationId xmlns:a16="http://schemas.microsoft.com/office/drawing/2014/main" id="{F153063D-FAFB-D531-4E8A-CD5CE1D2027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9066" y="332657"/>
            <a:ext cx="7070872" cy="75669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276" name="Text Placeholder 275">
            <a:extLst>
              <a:ext uri="{FF2B5EF4-FFF2-40B4-BE49-F238E27FC236}">
                <a16:creationId xmlns:a16="http://schemas.microsoft.com/office/drawing/2014/main" id="{01A522C6-5F9C-369D-76E7-540BC24E3DC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10434450" y="586169"/>
            <a:ext cx="1757550" cy="3862863"/>
          </a:xfrm>
          <a:custGeom>
            <a:avLst/>
            <a:gdLst>
              <a:gd name="connsiteX0" fmla="*/ 108677 w 1757550"/>
              <a:gd name="connsiteY0" fmla="*/ 30 h 3862863"/>
              <a:gd name="connsiteX1" fmla="*/ 247691 w 1757550"/>
              <a:gd name="connsiteY1" fmla="*/ 74865 h 3862863"/>
              <a:gd name="connsiteX2" fmla="*/ 1757550 w 1757550"/>
              <a:gd name="connsiteY2" fmla="*/ 1525639 h 3862863"/>
              <a:gd name="connsiteX3" fmla="*/ 1757550 w 1757550"/>
              <a:gd name="connsiteY3" fmla="*/ 3862863 h 3862863"/>
              <a:gd name="connsiteX4" fmla="*/ 256848 w 1757550"/>
              <a:gd name="connsiteY4" fmla="*/ 2416999 h 3862863"/>
              <a:gd name="connsiteX5" fmla="*/ 6579 w 1757550"/>
              <a:gd name="connsiteY5" fmla="*/ 1831940 h 3862863"/>
              <a:gd name="connsiteX6" fmla="*/ 4 w 1757550"/>
              <a:gd name="connsiteY6" fmla="*/ 180987 h 3862863"/>
              <a:gd name="connsiteX7" fmla="*/ 71992 w 1757550"/>
              <a:gd name="connsiteY7" fmla="*/ 6783 h 3862863"/>
              <a:gd name="connsiteX8" fmla="*/ 108677 w 1757550"/>
              <a:gd name="connsiteY8" fmla="*/ 30 h 38628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757550" h="3862863">
                <a:moveTo>
                  <a:pt x="108677" y="30"/>
                </a:moveTo>
                <a:cubicBezTo>
                  <a:pt x="148272" y="989"/>
                  <a:pt x="196100" y="25299"/>
                  <a:pt x="247691" y="74865"/>
                </a:cubicBezTo>
                <a:lnTo>
                  <a:pt x="1757550" y="1525639"/>
                </a:lnTo>
                <a:lnTo>
                  <a:pt x="1757550" y="3862863"/>
                </a:lnTo>
                <a:lnTo>
                  <a:pt x="256848" y="2416999"/>
                </a:lnTo>
                <a:cubicBezTo>
                  <a:pt x="119505" y="2284590"/>
                  <a:pt x="6579" y="2022812"/>
                  <a:pt x="6579" y="1831940"/>
                </a:cubicBezTo>
                <a:lnTo>
                  <a:pt x="4" y="180987"/>
                </a:lnTo>
                <a:cubicBezTo>
                  <a:pt x="-348" y="85550"/>
                  <a:pt x="27179" y="25976"/>
                  <a:pt x="71992" y="6783"/>
                </a:cubicBezTo>
                <a:cubicBezTo>
                  <a:pt x="83195" y="1985"/>
                  <a:pt x="95479" y="-290"/>
                  <a:pt x="108677" y="30"/>
                </a:cubicBezTo>
                <a:close/>
              </a:path>
            </a:pathLst>
          </a:custGeom>
          <a:solidFill>
            <a:schemeClr val="accent2">
              <a:alpha val="30000"/>
            </a:schemeClr>
          </a:solidFill>
        </p:spPr>
        <p:txBody>
          <a:bodyPr wrap="square" anchor="ctr">
            <a:noAutofit/>
          </a:bodyPr>
          <a:lstStyle>
            <a:lvl1pPr algn="ctr">
              <a:defRPr sz="100" b="0">
                <a:solidFill>
                  <a:schemeClr val="accent2">
                    <a:alpha val="0"/>
                  </a:schemeClr>
                </a:solidFill>
              </a:defRPr>
            </a:lvl1pPr>
          </a:lstStyle>
          <a:p>
            <a:pPr lvl="0"/>
            <a:endParaRPr lang="en-GB"/>
          </a:p>
        </p:txBody>
      </p:sp>
      <p:sp>
        <p:nvSpPr>
          <p:cNvPr id="175" name="Picture Placeholder 174">
            <a:extLst>
              <a:ext uri="{FF2B5EF4-FFF2-40B4-BE49-F238E27FC236}">
                <a16:creationId xmlns:a16="http://schemas.microsoft.com/office/drawing/2014/main" id="{C8DB182E-FFC4-114D-A745-513657A1987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572858" y="353298"/>
            <a:ext cx="3634587" cy="5506483"/>
          </a:xfrm>
          <a:custGeom>
            <a:avLst/>
            <a:gdLst>
              <a:gd name="connsiteX0" fmla="*/ 108677 w 3634587"/>
              <a:gd name="connsiteY0" fmla="*/ 30 h 5506483"/>
              <a:gd name="connsiteX1" fmla="*/ 247691 w 3634587"/>
              <a:gd name="connsiteY1" fmla="*/ 74865 h 5506483"/>
              <a:gd name="connsiteX2" fmla="*/ 3385489 w 3634587"/>
              <a:gd name="connsiteY2" fmla="*/ 3089872 h 5506483"/>
              <a:gd name="connsiteX3" fmla="*/ 3634587 w 3634587"/>
              <a:gd name="connsiteY3" fmla="*/ 3674704 h 5506483"/>
              <a:gd name="connsiteX4" fmla="*/ 3634587 w 3634587"/>
              <a:gd name="connsiteY4" fmla="*/ 5325652 h 5506483"/>
              <a:gd name="connsiteX5" fmla="*/ 3385723 w 3634587"/>
              <a:gd name="connsiteY5" fmla="*/ 5431540 h 5506483"/>
              <a:gd name="connsiteX6" fmla="*/ 256848 w 3634587"/>
              <a:gd name="connsiteY6" fmla="*/ 2416999 h 5506483"/>
              <a:gd name="connsiteX7" fmla="*/ 6579 w 3634587"/>
              <a:gd name="connsiteY7" fmla="*/ 1831940 h 5506483"/>
              <a:gd name="connsiteX8" fmla="*/ 4 w 3634587"/>
              <a:gd name="connsiteY8" fmla="*/ 180987 h 5506483"/>
              <a:gd name="connsiteX9" fmla="*/ 108677 w 3634587"/>
              <a:gd name="connsiteY9" fmla="*/ 30 h 55064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634587" h="5506483">
                <a:moveTo>
                  <a:pt x="108677" y="30"/>
                </a:moveTo>
                <a:cubicBezTo>
                  <a:pt x="148272" y="989"/>
                  <a:pt x="196100" y="25299"/>
                  <a:pt x="247691" y="74865"/>
                </a:cubicBezTo>
                <a:lnTo>
                  <a:pt x="3385489" y="3089872"/>
                </a:lnTo>
                <a:cubicBezTo>
                  <a:pt x="3523065" y="3222054"/>
                  <a:pt x="3634587" y="3483826"/>
                  <a:pt x="3634587" y="3674704"/>
                </a:cubicBezTo>
                <a:lnTo>
                  <a:pt x="3634587" y="5325652"/>
                </a:lnTo>
                <a:cubicBezTo>
                  <a:pt x="3634587" y="5516530"/>
                  <a:pt x="3523299" y="5563717"/>
                  <a:pt x="3385723" y="5431540"/>
                </a:cubicBezTo>
                <a:lnTo>
                  <a:pt x="256848" y="2416999"/>
                </a:lnTo>
                <a:cubicBezTo>
                  <a:pt x="119505" y="2284590"/>
                  <a:pt x="6579" y="2022812"/>
                  <a:pt x="6579" y="1831940"/>
                </a:cubicBezTo>
                <a:lnTo>
                  <a:pt x="4" y="180987"/>
                </a:lnTo>
                <a:cubicBezTo>
                  <a:pt x="-437" y="61691"/>
                  <a:pt x="42686" y="-1570"/>
                  <a:pt x="108677" y="30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algn="ctr">
              <a:defRPr sz="1200" b="0"/>
            </a:lvl1pPr>
          </a:lstStyle>
          <a:p>
            <a:endParaRPr lang="en-GB"/>
          </a:p>
        </p:txBody>
      </p:sp>
      <p:sp>
        <p:nvSpPr>
          <p:cNvPr id="182" name="Picture Placeholder 181">
            <a:extLst>
              <a:ext uri="{FF2B5EF4-FFF2-40B4-BE49-F238E27FC236}">
                <a16:creationId xmlns:a16="http://schemas.microsoft.com/office/drawing/2014/main" id="{5F0494F4-61BF-0CAE-EF1E-9F19E95E2C09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11540909" y="1787732"/>
            <a:ext cx="666536" cy="1767448"/>
          </a:xfrm>
          <a:custGeom>
            <a:avLst/>
            <a:gdLst>
              <a:gd name="connsiteX0" fmla="*/ 666536 w 666536"/>
              <a:gd name="connsiteY0" fmla="*/ 0 h 1767448"/>
              <a:gd name="connsiteX1" fmla="*/ 666536 w 666536"/>
              <a:gd name="connsiteY1" fmla="*/ 1211608 h 1767448"/>
              <a:gd name="connsiteX2" fmla="*/ 128469 w 666536"/>
              <a:gd name="connsiteY2" fmla="*/ 1728619 h 1767448"/>
              <a:gd name="connsiteX3" fmla="*/ 2 w 666536"/>
              <a:gd name="connsiteY3" fmla="*/ 1673577 h 1767448"/>
              <a:gd name="connsiteX4" fmla="*/ 3413 w 666536"/>
              <a:gd name="connsiteY4" fmla="*/ 817280 h 1767448"/>
              <a:gd name="connsiteX5" fmla="*/ 133219 w 666536"/>
              <a:gd name="connsiteY5" fmla="*/ 513829 h 17674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66536" h="1767448">
                <a:moveTo>
                  <a:pt x="666536" y="0"/>
                </a:moveTo>
                <a:lnTo>
                  <a:pt x="666536" y="1211608"/>
                </a:lnTo>
                <a:lnTo>
                  <a:pt x="128469" y="1728619"/>
                </a:lnTo>
                <a:cubicBezTo>
                  <a:pt x="57113" y="1797174"/>
                  <a:pt x="-364" y="1772576"/>
                  <a:pt x="2" y="1673577"/>
                </a:cubicBezTo>
                <a:lnTo>
                  <a:pt x="3413" y="817280"/>
                </a:lnTo>
                <a:cubicBezTo>
                  <a:pt x="3413" y="718281"/>
                  <a:pt x="61983" y="582505"/>
                  <a:pt x="133219" y="513829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</p:spPr>
        <p:txBody>
          <a:bodyPr wrap="square" anchor="ctr">
            <a:noAutofit/>
          </a:bodyPr>
          <a:lstStyle>
            <a:lvl1pPr algn="l">
              <a:defRPr sz="1200" b="0">
                <a:solidFill>
                  <a:schemeClr val="tx1"/>
                </a:solidFill>
              </a:defRPr>
            </a:lvl1pPr>
          </a:lstStyle>
          <a:p>
            <a:endParaRPr lang="en-GB"/>
          </a:p>
        </p:txBody>
      </p:sp>
      <p:sp>
        <p:nvSpPr>
          <p:cNvPr id="178" name="Picture Placeholder 177">
            <a:extLst>
              <a:ext uri="{FF2B5EF4-FFF2-40B4-BE49-F238E27FC236}">
                <a16:creationId xmlns:a16="http://schemas.microsoft.com/office/drawing/2014/main" id="{C6C9A0FA-8556-275A-2BBA-2E78B696561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 rot="10800000" flipV="1">
            <a:off x="7674397" y="3408318"/>
            <a:ext cx="3743174" cy="3441037"/>
          </a:xfrm>
          <a:custGeom>
            <a:avLst/>
            <a:gdLst>
              <a:gd name="connsiteX0" fmla="*/ 119273 w 3743174"/>
              <a:gd name="connsiteY0" fmla="*/ 36 h 3441037"/>
              <a:gd name="connsiteX1" fmla="*/ 0 w 3743174"/>
              <a:gd name="connsiteY1" fmla="*/ 196679 h 3441037"/>
              <a:gd name="connsiteX2" fmla="*/ 0 w 3743174"/>
              <a:gd name="connsiteY2" fmla="*/ 1992304 h 3441037"/>
              <a:gd name="connsiteX3" fmla="*/ 270926 w 3743174"/>
              <a:gd name="connsiteY3" fmla="*/ 2628386 h 3441037"/>
              <a:gd name="connsiteX4" fmla="*/ 1116674 w 3743174"/>
              <a:gd name="connsiteY4" fmla="*/ 3441037 h 3441037"/>
              <a:gd name="connsiteX5" fmla="*/ 3743174 w 3743174"/>
              <a:gd name="connsiteY5" fmla="*/ 3441037 h 3441037"/>
              <a:gd name="connsiteX6" fmla="*/ 3728321 w 3743174"/>
              <a:gd name="connsiteY6" fmla="*/ 3420399 h 3441037"/>
              <a:gd name="connsiteX7" fmla="*/ 3673737 w 3743174"/>
              <a:gd name="connsiteY7" fmla="*/ 3360224 h 3441037"/>
              <a:gd name="connsiteX8" fmla="*/ 270672 w 3743174"/>
              <a:gd name="connsiteY8" fmla="*/ 81512 h 3441037"/>
              <a:gd name="connsiteX9" fmla="*/ 119273 w 3743174"/>
              <a:gd name="connsiteY9" fmla="*/ 36 h 34410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743174" h="3441037">
                <a:moveTo>
                  <a:pt x="119273" y="36"/>
                </a:moveTo>
                <a:cubicBezTo>
                  <a:pt x="47281" y="-1779"/>
                  <a:pt x="0" y="66926"/>
                  <a:pt x="0" y="196679"/>
                </a:cubicBezTo>
                <a:lnTo>
                  <a:pt x="0" y="1992304"/>
                </a:lnTo>
                <a:cubicBezTo>
                  <a:pt x="0" y="2199909"/>
                  <a:pt x="121294" y="2484621"/>
                  <a:pt x="270926" y="2628386"/>
                </a:cubicBezTo>
                <a:lnTo>
                  <a:pt x="1116674" y="3441037"/>
                </a:lnTo>
                <a:lnTo>
                  <a:pt x="3743174" y="3441037"/>
                </a:lnTo>
                <a:lnTo>
                  <a:pt x="3728321" y="3420399"/>
                </a:lnTo>
                <a:cubicBezTo>
                  <a:pt x="3710666" y="3398426"/>
                  <a:pt x="3692409" y="3378226"/>
                  <a:pt x="3673737" y="3360224"/>
                </a:cubicBezTo>
                <a:lnTo>
                  <a:pt x="270672" y="81512"/>
                </a:lnTo>
                <a:cubicBezTo>
                  <a:pt x="214560" y="27602"/>
                  <a:pt x="162469" y="1126"/>
                  <a:pt x="119273" y="36"/>
                </a:cubicBezTo>
                <a:close/>
              </a:path>
            </a:pathLst>
          </a:custGeom>
          <a:solidFill>
            <a:schemeClr val="bg2">
              <a:lumMod val="90000"/>
            </a:schemeClr>
          </a:solidFill>
        </p:spPr>
        <p:txBody>
          <a:bodyPr wrap="square" anchor="ctr">
            <a:noAutofit/>
          </a:bodyPr>
          <a:lstStyle>
            <a:lvl1pPr algn="ctr">
              <a:defRPr sz="1200" b="0">
                <a:solidFill>
                  <a:schemeClr val="tx1"/>
                </a:solidFill>
              </a:defRPr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3317671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hf hdr="0" dt="0"/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>
            <a:extLst>
              <a:ext uri="{FF2B5EF4-FFF2-40B4-BE49-F238E27FC236}">
                <a16:creationId xmlns:a16="http://schemas.microsoft.com/office/drawing/2014/main" id="{7B40599C-4C0F-475E-A2C1-B16A0CE599F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717234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4" progId="TCLayout.ActiveDocument.1">
                  <p:embed/>
                </p:oleObj>
              </mc:Choice>
              <mc:Fallback>
                <p:oleObj name="think-cell Slide" r:id="rId4" imgW="425" imgH="424" progId="TCLayout.ActiveDocument.1">
                  <p:embed/>
                  <p:pic>
                    <p:nvPicPr>
                      <p:cNvPr id="21" name="Object 20" hidden="1">
                        <a:extLst>
                          <a:ext uri="{FF2B5EF4-FFF2-40B4-BE49-F238E27FC236}">
                            <a16:creationId xmlns:a16="http://schemas.microsoft.com/office/drawing/2014/main" id="{7B40599C-4C0F-475E-A2C1-B16A0CE599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5" name="Text Placeholder 64">
            <a:extLst>
              <a:ext uri="{FF2B5EF4-FFF2-40B4-BE49-F238E27FC236}">
                <a16:creationId xmlns:a16="http://schemas.microsoft.com/office/drawing/2014/main" id="{0B38E3F0-4CB0-47F9-A7A7-F3703959803F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0" y="2"/>
            <a:ext cx="4888254" cy="6857999"/>
          </a:xfrm>
          <a:custGeom>
            <a:avLst/>
            <a:gdLst>
              <a:gd name="connsiteX0" fmla="*/ 3424860 w 4888254"/>
              <a:gd name="connsiteY0" fmla="*/ 0 h 6857999"/>
              <a:gd name="connsiteX1" fmla="*/ 4888254 w 4888254"/>
              <a:gd name="connsiteY1" fmla="*/ 0 h 6857999"/>
              <a:gd name="connsiteX2" fmla="*/ 4888254 w 4888254"/>
              <a:gd name="connsiteY2" fmla="*/ 5609609 h 6857999"/>
              <a:gd name="connsiteX3" fmla="*/ 4639839 w 4888254"/>
              <a:gd name="connsiteY3" fmla="*/ 6194112 h 6857999"/>
              <a:gd name="connsiteX4" fmla="*/ 3951970 w 4888254"/>
              <a:gd name="connsiteY4" fmla="*/ 6857999 h 6857999"/>
              <a:gd name="connsiteX5" fmla="*/ 0 w 4888254"/>
              <a:gd name="connsiteY5" fmla="*/ 6857999 h 6857999"/>
              <a:gd name="connsiteX6" fmla="*/ 0 w 4888254"/>
              <a:gd name="connsiteY6" fmla="*/ 3314259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888254" h="6857999">
                <a:moveTo>
                  <a:pt x="3424860" y="0"/>
                </a:moveTo>
                <a:lnTo>
                  <a:pt x="4888254" y="0"/>
                </a:lnTo>
                <a:lnTo>
                  <a:pt x="4888254" y="5609609"/>
                </a:lnTo>
                <a:cubicBezTo>
                  <a:pt x="4888254" y="5800303"/>
                  <a:pt x="4776955" y="6062110"/>
                  <a:pt x="4639839" y="6194112"/>
                </a:cubicBezTo>
                <a:lnTo>
                  <a:pt x="3951970" y="6857999"/>
                </a:lnTo>
                <a:lnTo>
                  <a:pt x="0" y="6857999"/>
                </a:lnTo>
                <a:lnTo>
                  <a:pt x="0" y="3314259"/>
                </a:lnTo>
                <a:close/>
              </a:path>
            </a:pathLst>
          </a:custGeom>
          <a:solidFill>
            <a:schemeClr val="tx2">
              <a:alpha val="54902"/>
            </a:schemeClr>
          </a:solidFill>
          <a:ln w="4539" cap="flat">
            <a:noFill/>
            <a:prstDash val="solid"/>
            <a:miter/>
          </a:ln>
        </p:spPr>
        <p:txBody>
          <a:bodyPr vert="horz" wrap="square" lIns="0" tIns="0" rIns="91440" bIns="0" rtlCol="0" anchor="ctr">
            <a:noAutofit/>
          </a:bodyPr>
          <a:lstStyle>
            <a:lvl1pPr>
              <a:defRPr lang="en-US" sz="100" smtClean="0">
                <a:solidFill>
                  <a:srgbClr val="92D7D1">
                    <a:alpha val="0"/>
                  </a:srgbClr>
                </a:solidFill>
                <a:latin typeface="+mn-lt"/>
                <a:cs typeface="+mn-cs"/>
              </a:defRPr>
            </a:lvl1pPr>
            <a:lvl2pPr>
              <a:defRPr lang="en-US" smtClean="0">
                <a:cs typeface="+mn-cs"/>
              </a:defRPr>
            </a:lvl2pPr>
            <a:lvl3pPr>
              <a:defRPr lang="en-US" smtClean="0">
                <a:cs typeface="+mn-cs"/>
              </a:defRPr>
            </a:lvl3pPr>
            <a:lvl4pPr>
              <a:defRPr lang="en-US" sz="1800" smtClean="0">
                <a:cs typeface="+mn-cs"/>
              </a:defRPr>
            </a:lvl4pPr>
            <a:lvl5pPr>
              <a:defRPr lang="en-GB" sz="1800">
                <a:cs typeface="+mn-cs"/>
              </a:defRPr>
            </a:lvl5pPr>
          </a:lstStyle>
          <a:p>
            <a:pPr lvl="0"/>
            <a:r>
              <a:rPr lang="en-US"/>
              <a:t>a</a:t>
            </a:r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CCF89D1-5F6C-4FE0-93BA-66FADB6912F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B84476-BC29-4407-9D57-B2E562B8968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3" name="Text Placeholder 62">
            <a:extLst>
              <a:ext uri="{FF2B5EF4-FFF2-40B4-BE49-F238E27FC236}">
                <a16:creationId xmlns:a16="http://schemas.microsoft.com/office/drawing/2014/main" id="{C02EBC26-BEE1-47AE-8EA9-C652E921646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0" y="0"/>
            <a:ext cx="1593121" cy="2779244"/>
          </a:xfrm>
          <a:custGeom>
            <a:avLst/>
            <a:gdLst>
              <a:gd name="connsiteX0" fmla="*/ 453341 w 1593121"/>
              <a:gd name="connsiteY0" fmla="*/ 0 h 2779244"/>
              <a:gd name="connsiteX1" fmla="*/ 1593121 w 1593121"/>
              <a:gd name="connsiteY1" fmla="*/ 0 h 2779244"/>
              <a:gd name="connsiteX2" fmla="*/ 1593121 w 1593121"/>
              <a:gd name="connsiteY2" fmla="*/ 879158 h 2779244"/>
              <a:gd name="connsiteX3" fmla="*/ 1346047 w 1593121"/>
              <a:gd name="connsiteY3" fmla="*/ 1465365 h 2779244"/>
              <a:gd name="connsiteX4" fmla="*/ 0 w 1593121"/>
              <a:gd name="connsiteY4" fmla="*/ 2779244 h 2779244"/>
              <a:gd name="connsiteX5" fmla="*/ 0 w 1593121"/>
              <a:gd name="connsiteY5" fmla="*/ 443589 h 27792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593121" h="2779244">
                <a:moveTo>
                  <a:pt x="453341" y="0"/>
                </a:moveTo>
                <a:lnTo>
                  <a:pt x="1593121" y="0"/>
                </a:lnTo>
                <a:lnTo>
                  <a:pt x="1593121" y="879158"/>
                </a:lnTo>
                <a:cubicBezTo>
                  <a:pt x="1593121" y="1069731"/>
                  <a:pt x="1482554" y="1332270"/>
                  <a:pt x="1346047" y="1465365"/>
                </a:cubicBezTo>
                <a:lnTo>
                  <a:pt x="0" y="2779244"/>
                </a:lnTo>
                <a:lnTo>
                  <a:pt x="0" y="443589"/>
                </a:lnTo>
                <a:close/>
              </a:path>
            </a:pathLst>
          </a:custGeom>
          <a:solidFill>
            <a:schemeClr val="accent4">
              <a:alpha val="54902"/>
            </a:schemeClr>
          </a:solidFill>
          <a:ln w="4539" cap="flat">
            <a:noFill/>
            <a:prstDash val="solid"/>
            <a:miter/>
          </a:ln>
        </p:spPr>
        <p:txBody>
          <a:bodyPr vert="horz" wrap="square" lIns="0" tIns="0" rIns="91440" bIns="0" rtlCol="0" anchor="ctr">
            <a:noAutofit/>
          </a:bodyPr>
          <a:lstStyle>
            <a:lvl1pPr>
              <a:defRPr lang="en-US" sz="100" smtClean="0">
                <a:solidFill>
                  <a:srgbClr val="92D7D1">
                    <a:alpha val="0"/>
                  </a:srgbClr>
                </a:solidFill>
                <a:latin typeface="+mn-lt"/>
                <a:cs typeface="+mn-cs"/>
              </a:defRPr>
            </a:lvl1pPr>
            <a:lvl2pPr>
              <a:defRPr lang="en-US" smtClean="0">
                <a:cs typeface="+mn-cs"/>
              </a:defRPr>
            </a:lvl2pPr>
            <a:lvl3pPr>
              <a:defRPr lang="en-US" smtClean="0">
                <a:cs typeface="+mn-cs"/>
              </a:defRPr>
            </a:lvl3pPr>
            <a:lvl4pPr>
              <a:defRPr lang="en-US" sz="1800" smtClean="0">
                <a:cs typeface="+mn-cs"/>
              </a:defRPr>
            </a:lvl4pPr>
            <a:lvl5pPr>
              <a:defRPr lang="en-GB" sz="1800">
                <a:cs typeface="+mn-cs"/>
              </a:defRPr>
            </a:lvl5pPr>
          </a:lstStyle>
          <a:p>
            <a:pPr lvl="0"/>
            <a:r>
              <a:rPr lang="en-US"/>
              <a:t>a</a:t>
            </a:r>
            <a:endParaRPr lang="en-GB"/>
          </a:p>
        </p:txBody>
      </p:sp>
      <p:sp>
        <p:nvSpPr>
          <p:cNvPr id="49" name="Picture Placeholder 48">
            <a:extLst>
              <a:ext uri="{FF2B5EF4-FFF2-40B4-BE49-F238E27FC236}">
                <a16:creationId xmlns:a16="http://schemas.microsoft.com/office/drawing/2014/main" id="{01C3D4F7-C5D7-45D6-A953-603325CA008E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1828129" y="3913258"/>
            <a:ext cx="3184894" cy="2944742"/>
          </a:xfrm>
          <a:custGeom>
            <a:avLst/>
            <a:gdLst>
              <a:gd name="connsiteX0" fmla="*/ 107776 w 3184894"/>
              <a:gd name="connsiteY0" fmla="*/ 52 h 2944742"/>
              <a:gd name="connsiteX1" fmla="*/ 245616 w 3184894"/>
              <a:gd name="connsiteY1" fmla="*/ 75939 h 2944742"/>
              <a:gd name="connsiteX2" fmla="*/ 3184894 w 3184894"/>
              <a:gd name="connsiteY2" fmla="*/ 2944742 h 2944742"/>
              <a:gd name="connsiteX3" fmla="*/ 794844 w 3184894"/>
              <a:gd name="connsiteY3" fmla="*/ 2944742 h 2944742"/>
              <a:gd name="connsiteX4" fmla="*/ 254869 w 3184894"/>
              <a:gd name="connsiteY4" fmla="*/ 2416383 h 2944742"/>
              <a:gd name="connsiteX5" fmla="*/ 6701 w 3184894"/>
              <a:gd name="connsiteY5" fmla="*/ 1829689 h 2944742"/>
              <a:gd name="connsiteX6" fmla="*/ 4 w 3184894"/>
              <a:gd name="connsiteY6" fmla="*/ 179932 h 2944742"/>
              <a:gd name="connsiteX7" fmla="*/ 107776 w 3184894"/>
              <a:gd name="connsiteY7" fmla="*/ 52 h 29447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184894" h="2944742">
                <a:moveTo>
                  <a:pt x="107776" y="52"/>
                </a:moveTo>
                <a:cubicBezTo>
                  <a:pt x="147044" y="1318"/>
                  <a:pt x="194472" y="25982"/>
                  <a:pt x="245616" y="75939"/>
                </a:cubicBezTo>
                <a:lnTo>
                  <a:pt x="3184894" y="2944742"/>
                </a:lnTo>
                <a:lnTo>
                  <a:pt x="794844" y="2944742"/>
                </a:lnTo>
                <a:lnTo>
                  <a:pt x="254869" y="2416383"/>
                </a:lnTo>
                <a:cubicBezTo>
                  <a:pt x="118607" y="2283045"/>
                  <a:pt x="7553" y="2020383"/>
                  <a:pt x="6701" y="1829689"/>
                </a:cubicBezTo>
                <a:lnTo>
                  <a:pt x="4" y="179932"/>
                </a:lnTo>
                <a:cubicBezTo>
                  <a:pt x="-453" y="60824"/>
                  <a:pt x="42329" y="-2059"/>
                  <a:pt x="107776" y="52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algn="ctr">
              <a:defRPr sz="1200" b="0"/>
            </a:lvl1pPr>
          </a:lstStyle>
          <a:p>
            <a:endParaRPr lang="en-GB"/>
          </a:p>
        </p:txBody>
      </p:sp>
      <p:sp>
        <p:nvSpPr>
          <p:cNvPr id="131" name="Picture Placeholder 130">
            <a:extLst>
              <a:ext uri="{FF2B5EF4-FFF2-40B4-BE49-F238E27FC236}">
                <a16:creationId xmlns:a16="http://schemas.microsoft.com/office/drawing/2014/main" id="{1FF734AA-F776-AE1C-57B9-EDE4DFEF58C3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1306596" y="1829774"/>
            <a:ext cx="1885144" cy="2856036"/>
          </a:xfrm>
          <a:custGeom>
            <a:avLst/>
            <a:gdLst>
              <a:gd name="connsiteX0" fmla="*/ 1828265 w 1885144"/>
              <a:gd name="connsiteY0" fmla="*/ 17 h 2856036"/>
              <a:gd name="connsiteX1" fmla="*/ 1885144 w 1885144"/>
              <a:gd name="connsiteY1" fmla="*/ 93791 h 2856036"/>
              <a:gd name="connsiteX2" fmla="*/ 1885144 w 1885144"/>
              <a:gd name="connsiteY2" fmla="*/ 950086 h 2856036"/>
              <a:gd name="connsiteX3" fmla="*/ 1755945 w 1885144"/>
              <a:gd name="connsiteY3" fmla="*/ 1253419 h 2856036"/>
              <a:gd name="connsiteX4" fmla="*/ 128470 w 1885144"/>
              <a:gd name="connsiteY4" fmla="*/ 2817207 h 2856036"/>
              <a:gd name="connsiteX5" fmla="*/ 2 w 1885144"/>
              <a:gd name="connsiteY5" fmla="*/ 2762165 h 2856036"/>
              <a:gd name="connsiteX6" fmla="*/ 3413 w 1885144"/>
              <a:gd name="connsiteY6" fmla="*/ 1905868 h 2856036"/>
              <a:gd name="connsiteX7" fmla="*/ 133219 w 1885144"/>
              <a:gd name="connsiteY7" fmla="*/ 1602417 h 2856036"/>
              <a:gd name="connsiteX8" fmla="*/ 1756066 w 1885144"/>
              <a:gd name="connsiteY8" fmla="*/ 38871 h 2856036"/>
              <a:gd name="connsiteX9" fmla="*/ 1828265 w 1885144"/>
              <a:gd name="connsiteY9" fmla="*/ 17 h 28560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885144" h="2856036">
                <a:moveTo>
                  <a:pt x="1828265" y="17"/>
                </a:moveTo>
                <a:cubicBezTo>
                  <a:pt x="1862597" y="-849"/>
                  <a:pt x="1885144" y="31915"/>
                  <a:pt x="1885144" y="93791"/>
                </a:cubicBezTo>
                <a:lnTo>
                  <a:pt x="1885144" y="950086"/>
                </a:lnTo>
                <a:cubicBezTo>
                  <a:pt x="1885144" y="1049088"/>
                  <a:pt x="1827302" y="1184861"/>
                  <a:pt x="1755945" y="1253419"/>
                </a:cubicBezTo>
                <a:lnTo>
                  <a:pt x="128470" y="2817207"/>
                </a:lnTo>
                <a:cubicBezTo>
                  <a:pt x="57113" y="2885762"/>
                  <a:pt x="-363" y="2861164"/>
                  <a:pt x="2" y="2762165"/>
                </a:cubicBezTo>
                <a:lnTo>
                  <a:pt x="3413" y="1905868"/>
                </a:lnTo>
                <a:cubicBezTo>
                  <a:pt x="3413" y="1806869"/>
                  <a:pt x="61983" y="1671093"/>
                  <a:pt x="133219" y="1602417"/>
                </a:cubicBezTo>
                <a:lnTo>
                  <a:pt x="1756066" y="38871"/>
                </a:lnTo>
                <a:cubicBezTo>
                  <a:pt x="1782825" y="13162"/>
                  <a:pt x="1807666" y="536"/>
                  <a:pt x="1828265" y="17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</p:spPr>
        <p:txBody>
          <a:bodyPr wrap="square" anchor="ctr">
            <a:noAutofit/>
          </a:bodyPr>
          <a:lstStyle>
            <a:lvl1pPr algn="ctr">
              <a:defRPr sz="1200" b="0"/>
            </a:lvl1pPr>
          </a:lstStyle>
          <a:p>
            <a:endParaRPr lang="en-GB"/>
          </a:p>
        </p:txBody>
      </p:sp>
      <p:sp>
        <p:nvSpPr>
          <p:cNvPr id="132" name="Text Placeholder 16">
            <a:extLst>
              <a:ext uri="{FF2B5EF4-FFF2-40B4-BE49-F238E27FC236}">
                <a16:creationId xmlns:a16="http://schemas.microsoft.com/office/drawing/2014/main" id="{56776858-6732-0BF4-EA80-58C93223F4C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231904" y="1217099"/>
            <a:ext cx="6336210" cy="502019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33" name="Title 6">
            <a:extLst>
              <a:ext uri="{FF2B5EF4-FFF2-40B4-BE49-F238E27FC236}">
                <a16:creationId xmlns:a16="http://schemas.microsoft.com/office/drawing/2014/main" id="{ADC5C114-920C-48D9-F9B6-D1474B9FCB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33206" y="332657"/>
            <a:ext cx="6323476" cy="74603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69" name="Text Placeholder 68">
            <a:extLst>
              <a:ext uri="{FF2B5EF4-FFF2-40B4-BE49-F238E27FC236}">
                <a16:creationId xmlns:a16="http://schemas.microsoft.com/office/drawing/2014/main" id="{F25529F9-1762-4811-BF8A-E21EE766E2E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" y="3596812"/>
            <a:ext cx="3340898" cy="3261189"/>
          </a:xfrm>
          <a:custGeom>
            <a:avLst/>
            <a:gdLst>
              <a:gd name="connsiteX0" fmla="*/ 0 w 2283321"/>
              <a:gd name="connsiteY0" fmla="*/ 0 h 2228844"/>
              <a:gd name="connsiteX1" fmla="*/ 2283321 w 2283321"/>
              <a:gd name="connsiteY1" fmla="*/ 2228844 h 2228844"/>
              <a:gd name="connsiteX2" fmla="*/ 0 w 2283321"/>
              <a:gd name="connsiteY2" fmla="*/ 2228844 h 22288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283321" h="2228844">
                <a:moveTo>
                  <a:pt x="0" y="0"/>
                </a:moveTo>
                <a:lnTo>
                  <a:pt x="2283321" y="2228844"/>
                </a:lnTo>
                <a:lnTo>
                  <a:pt x="0" y="2228844"/>
                </a:lnTo>
                <a:close/>
              </a:path>
            </a:pathLst>
          </a:custGeom>
          <a:solidFill>
            <a:srgbClr val="005191">
              <a:alpha val="40000"/>
            </a:srgbClr>
          </a:solidFill>
          <a:ln w="4539" cap="flat">
            <a:noFill/>
            <a:prstDash val="solid"/>
            <a:miter/>
          </a:ln>
        </p:spPr>
        <p:txBody>
          <a:bodyPr vert="horz" wrap="square" lIns="0" tIns="0" rIns="91440" bIns="0" rtlCol="0" anchor="ctr">
            <a:noAutofit/>
          </a:bodyPr>
          <a:lstStyle>
            <a:lvl1pPr>
              <a:defRPr lang="en-US" sz="100" smtClean="0">
                <a:solidFill>
                  <a:srgbClr val="92D7D1">
                    <a:alpha val="0"/>
                  </a:srgbClr>
                </a:solidFill>
                <a:latin typeface="+mn-lt"/>
                <a:cs typeface="+mn-cs"/>
              </a:defRPr>
            </a:lvl1pPr>
            <a:lvl2pPr>
              <a:defRPr lang="en-US" smtClean="0">
                <a:cs typeface="+mn-cs"/>
              </a:defRPr>
            </a:lvl2pPr>
            <a:lvl3pPr>
              <a:defRPr lang="en-US" smtClean="0">
                <a:cs typeface="+mn-cs"/>
              </a:defRPr>
            </a:lvl3pPr>
            <a:lvl4pPr>
              <a:defRPr lang="en-US" sz="1800" smtClean="0">
                <a:cs typeface="+mn-cs"/>
              </a:defRPr>
            </a:lvl4pPr>
            <a:lvl5pPr>
              <a:defRPr lang="en-GB" sz="1800">
                <a:cs typeface="+mn-cs"/>
              </a:defRPr>
            </a:lvl5pPr>
          </a:lstStyle>
          <a:p>
            <a:pPr lvl="0"/>
            <a:r>
              <a:rPr lang="en-US"/>
              <a:t>a</a:t>
            </a:r>
            <a:endParaRPr lang="en-GB"/>
          </a:p>
        </p:txBody>
      </p:sp>
      <p:sp>
        <p:nvSpPr>
          <p:cNvPr id="52" name="Picture Placeholder 51">
            <a:extLst>
              <a:ext uri="{FF2B5EF4-FFF2-40B4-BE49-F238E27FC236}">
                <a16:creationId xmlns:a16="http://schemas.microsoft.com/office/drawing/2014/main" id="{FE2BE2B0-A440-49C5-8CD8-55E98E2A3D72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1" y="292099"/>
            <a:ext cx="2248981" cy="4369630"/>
          </a:xfrm>
          <a:custGeom>
            <a:avLst/>
            <a:gdLst>
              <a:gd name="connsiteX0" fmla="*/ 2140214 w 2248981"/>
              <a:gd name="connsiteY0" fmla="*/ 56 h 4369630"/>
              <a:gd name="connsiteX1" fmla="*/ 2248981 w 2248981"/>
              <a:gd name="connsiteY1" fmla="*/ 179856 h 4369630"/>
              <a:gd name="connsiteX2" fmla="*/ 2248981 w 2248981"/>
              <a:gd name="connsiteY2" fmla="*/ 1829126 h 4369630"/>
              <a:gd name="connsiteX3" fmla="*/ 2001907 w 2248981"/>
              <a:gd name="connsiteY3" fmla="*/ 2415334 h 4369630"/>
              <a:gd name="connsiteX4" fmla="*/ 0 w 2248981"/>
              <a:gd name="connsiteY4" fmla="*/ 4369630 h 4369630"/>
              <a:gd name="connsiteX5" fmla="*/ 0 w 2248981"/>
              <a:gd name="connsiteY5" fmla="*/ 2035309 h 4369630"/>
              <a:gd name="connsiteX6" fmla="*/ 2002273 w 2248981"/>
              <a:gd name="connsiteY6" fmla="*/ 76107 h 4369630"/>
              <a:gd name="connsiteX7" fmla="*/ 2140214 w 2248981"/>
              <a:gd name="connsiteY7" fmla="*/ 56 h 43696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248981" h="4369630">
                <a:moveTo>
                  <a:pt x="2140214" y="56"/>
                </a:moveTo>
                <a:cubicBezTo>
                  <a:pt x="2205838" y="-2145"/>
                  <a:pt x="2248981" y="60672"/>
                  <a:pt x="2248981" y="179856"/>
                </a:cubicBezTo>
                <a:lnTo>
                  <a:pt x="2248981" y="1829126"/>
                </a:lnTo>
                <a:cubicBezTo>
                  <a:pt x="2248981" y="2019699"/>
                  <a:pt x="2138290" y="2282238"/>
                  <a:pt x="2001907" y="2415334"/>
                </a:cubicBezTo>
                <a:lnTo>
                  <a:pt x="0" y="4369630"/>
                </a:lnTo>
                <a:lnTo>
                  <a:pt x="0" y="2035309"/>
                </a:lnTo>
                <a:lnTo>
                  <a:pt x="2002273" y="76107"/>
                </a:lnTo>
                <a:cubicBezTo>
                  <a:pt x="2053371" y="26104"/>
                  <a:pt x="2100839" y="1377"/>
                  <a:pt x="2140214" y="56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algn="ctr">
              <a:defRPr sz="1200" b="0"/>
            </a:lvl1pPr>
          </a:lstStyle>
          <a:p>
            <a:endParaRPr lang="en-GB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25763229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3" name="Text Placeholder 122">
            <a:extLst>
              <a:ext uri="{FF2B5EF4-FFF2-40B4-BE49-F238E27FC236}">
                <a16:creationId xmlns:a16="http://schemas.microsoft.com/office/drawing/2014/main" id="{75D1C29E-CD31-88C7-C4B4-E2C662F8B7D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967288" y="0"/>
            <a:ext cx="6224712" cy="6858000"/>
          </a:xfrm>
          <a:custGeom>
            <a:avLst/>
            <a:gdLst>
              <a:gd name="connsiteX0" fmla="*/ 4864803 w 6224712"/>
              <a:gd name="connsiteY0" fmla="*/ 0 h 6858000"/>
              <a:gd name="connsiteX1" fmla="*/ 6224712 w 6224712"/>
              <a:gd name="connsiteY1" fmla="*/ 0 h 6858000"/>
              <a:gd name="connsiteX2" fmla="*/ 6224712 w 6224712"/>
              <a:gd name="connsiteY2" fmla="*/ 4020623 h 6858000"/>
              <a:gd name="connsiteX3" fmla="*/ 3271778 w 6224712"/>
              <a:gd name="connsiteY3" fmla="*/ 6858000 h 6858000"/>
              <a:gd name="connsiteX4" fmla="*/ 0 w 6224712"/>
              <a:gd name="connsiteY4" fmla="*/ 6858000 h 6858000"/>
              <a:gd name="connsiteX5" fmla="*/ 5547 w 6224712"/>
              <a:gd name="connsiteY5" fmla="*/ 5465306 h 6858000"/>
              <a:gd name="connsiteX6" fmla="*/ 575750 w 6224712"/>
              <a:gd name="connsiteY6" fmla="*/ 4132325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224712" h="6858000">
                <a:moveTo>
                  <a:pt x="4864803" y="0"/>
                </a:moveTo>
                <a:lnTo>
                  <a:pt x="6224712" y="0"/>
                </a:lnTo>
                <a:lnTo>
                  <a:pt x="6224712" y="4020623"/>
                </a:lnTo>
                <a:lnTo>
                  <a:pt x="3271778" y="6858000"/>
                </a:lnTo>
                <a:lnTo>
                  <a:pt x="0" y="6858000"/>
                </a:lnTo>
                <a:lnTo>
                  <a:pt x="5547" y="5465306"/>
                </a:lnTo>
                <a:cubicBezTo>
                  <a:pt x="5547" y="5030428"/>
                  <a:pt x="262832" y="4434003"/>
                  <a:pt x="575750" y="4132325"/>
                </a:cubicBezTo>
                <a:close/>
              </a:path>
            </a:pathLst>
          </a:custGeom>
          <a:solidFill>
            <a:srgbClr val="97BE0D">
              <a:alpha val="30000"/>
            </a:srgbClr>
          </a:solidFill>
        </p:spPr>
        <p:txBody>
          <a:bodyPr wrap="square" anchor="ctr">
            <a:noAutofit/>
          </a:bodyPr>
          <a:lstStyle>
            <a:lvl1pPr algn="ctr">
              <a:defRPr sz="100">
                <a:solidFill>
                  <a:srgbClr val="97BE0D">
                    <a:alpha val="0"/>
                  </a:srgbClr>
                </a:solidFill>
              </a:defRPr>
            </a:lvl1pPr>
          </a:lstStyle>
          <a:p>
            <a:pPr lvl="0"/>
            <a:endParaRPr lang="en-GB"/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39FA2495-A1D5-359D-3A4C-B8E3D877936D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8164444" y="485524"/>
            <a:ext cx="3406083" cy="5160295"/>
          </a:xfrm>
          <a:custGeom>
            <a:avLst/>
            <a:gdLst>
              <a:gd name="connsiteX0" fmla="*/ 3303314 w 3406083"/>
              <a:gd name="connsiteY0" fmla="*/ 31 h 5160295"/>
              <a:gd name="connsiteX1" fmla="*/ 3406083 w 3406083"/>
              <a:gd name="connsiteY1" fmla="*/ 169464 h 5160295"/>
              <a:gd name="connsiteX2" fmla="*/ 3406083 w 3406083"/>
              <a:gd name="connsiteY2" fmla="*/ 1716618 h 5160295"/>
              <a:gd name="connsiteX3" fmla="*/ 3172646 w 3406083"/>
              <a:gd name="connsiteY3" fmla="*/ 2264681 h 5160295"/>
              <a:gd name="connsiteX4" fmla="*/ 232119 w 3406083"/>
              <a:gd name="connsiteY4" fmla="*/ 5090137 h 5160295"/>
              <a:gd name="connsiteX5" fmla="*/ 4 w 3406083"/>
              <a:gd name="connsiteY5" fmla="*/ 4990687 h 5160295"/>
              <a:gd name="connsiteX6" fmla="*/ 6166 w 3406083"/>
              <a:gd name="connsiteY6" fmla="*/ 3443528 h 5160295"/>
              <a:gd name="connsiteX7" fmla="*/ 240700 w 3406083"/>
              <a:gd name="connsiteY7" fmla="*/ 2895251 h 5160295"/>
              <a:gd name="connsiteX8" fmla="*/ 3172865 w 3406083"/>
              <a:gd name="connsiteY8" fmla="*/ 70233 h 5160295"/>
              <a:gd name="connsiteX9" fmla="*/ 3303314 w 3406083"/>
              <a:gd name="connsiteY9" fmla="*/ 31 h 51602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406083" h="5160295">
                <a:moveTo>
                  <a:pt x="3303314" y="31"/>
                </a:moveTo>
                <a:cubicBezTo>
                  <a:pt x="3365344" y="-1533"/>
                  <a:pt x="3406083" y="57665"/>
                  <a:pt x="3406083" y="169464"/>
                </a:cubicBezTo>
                <a:lnTo>
                  <a:pt x="3406083" y="1716618"/>
                </a:lnTo>
                <a:cubicBezTo>
                  <a:pt x="3406083" y="1895495"/>
                  <a:pt x="3301573" y="2140810"/>
                  <a:pt x="3172646" y="2264681"/>
                </a:cubicBezTo>
                <a:lnTo>
                  <a:pt x="232119" y="5090137"/>
                </a:lnTo>
                <a:cubicBezTo>
                  <a:pt x="103193" y="5214003"/>
                  <a:pt x="-657" y="5169560"/>
                  <a:pt x="4" y="4990687"/>
                </a:cubicBezTo>
                <a:lnTo>
                  <a:pt x="6166" y="3443528"/>
                </a:lnTo>
                <a:cubicBezTo>
                  <a:pt x="6166" y="3264656"/>
                  <a:pt x="111992" y="3019336"/>
                  <a:pt x="240700" y="2895251"/>
                </a:cubicBezTo>
                <a:lnTo>
                  <a:pt x="3172865" y="70233"/>
                </a:lnTo>
                <a:cubicBezTo>
                  <a:pt x="3221213" y="23783"/>
                  <a:pt x="3266096" y="970"/>
                  <a:pt x="3303314" y="31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algn="ctr">
              <a:defRPr sz="1200" b="0">
                <a:solidFill>
                  <a:schemeClr val="tx1"/>
                </a:solidFill>
              </a:defRPr>
            </a:lvl1pPr>
          </a:lstStyle>
          <a:p>
            <a:endParaRPr lang="en-GB"/>
          </a:p>
        </p:txBody>
      </p:sp>
      <p:sp>
        <p:nvSpPr>
          <p:cNvPr id="18" name="Picture Placeholder 17">
            <a:extLst>
              <a:ext uri="{FF2B5EF4-FFF2-40B4-BE49-F238E27FC236}">
                <a16:creationId xmlns:a16="http://schemas.microsoft.com/office/drawing/2014/main" id="{D1D6D523-EADE-F210-3F75-A6B0EFC0B13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10491370" y="2460289"/>
            <a:ext cx="1700630" cy="3671626"/>
          </a:xfrm>
          <a:custGeom>
            <a:avLst/>
            <a:gdLst>
              <a:gd name="connsiteX0" fmla="*/ 1700630 w 1700630"/>
              <a:gd name="connsiteY0" fmla="*/ 0 h 3671626"/>
              <a:gd name="connsiteX1" fmla="*/ 1700630 w 1700630"/>
              <a:gd name="connsiteY1" fmla="*/ 2190424 h 3671626"/>
              <a:gd name="connsiteX2" fmla="*/ 232119 w 1700630"/>
              <a:gd name="connsiteY2" fmla="*/ 3601468 h 3671626"/>
              <a:gd name="connsiteX3" fmla="*/ 4 w 1700630"/>
              <a:gd name="connsiteY3" fmla="*/ 3502018 h 3671626"/>
              <a:gd name="connsiteX4" fmla="*/ 6166 w 1700630"/>
              <a:gd name="connsiteY4" fmla="*/ 1954859 h 3671626"/>
              <a:gd name="connsiteX5" fmla="*/ 240700 w 1700630"/>
              <a:gd name="connsiteY5" fmla="*/ 1406582 h 36716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700630" h="3671626">
                <a:moveTo>
                  <a:pt x="1700630" y="0"/>
                </a:moveTo>
                <a:lnTo>
                  <a:pt x="1700630" y="2190424"/>
                </a:lnTo>
                <a:lnTo>
                  <a:pt x="232119" y="3601468"/>
                </a:lnTo>
                <a:cubicBezTo>
                  <a:pt x="103193" y="3725334"/>
                  <a:pt x="-657" y="3680891"/>
                  <a:pt x="4" y="3502018"/>
                </a:cubicBezTo>
                <a:lnTo>
                  <a:pt x="6166" y="1954859"/>
                </a:lnTo>
                <a:cubicBezTo>
                  <a:pt x="6166" y="1775987"/>
                  <a:pt x="111992" y="1530667"/>
                  <a:pt x="240700" y="1406582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algn="ctr">
              <a:defRPr sz="1200" b="0">
                <a:solidFill>
                  <a:schemeClr val="tx1"/>
                </a:solidFill>
              </a:defRPr>
            </a:lvl1pPr>
          </a:lstStyle>
          <a:p>
            <a:endParaRPr lang="en-GB"/>
          </a:p>
        </p:txBody>
      </p:sp>
      <p:sp>
        <p:nvSpPr>
          <p:cNvPr id="121" name="Text Placeholder 16">
            <a:extLst>
              <a:ext uri="{FF2B5EF4-FFF2-40B4-BE49-F238E27FC236}">
                <a16:creationId xmlns:a16="http://schemas.microsoft.com/office/drawing/2014/main" id="{CCF577C4-D10B-FC22-6AFC-EC87A21D9B9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38631" y="1764973"/>
            <a:ext cx="7085111" cy="447231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22" name="Title 6">
            <a:extLst>
              <a:ext uri="{FF2B5EF4-FFF2-40B4-BE49-F238E27FC236}">
                <a16:creationId xmlns:a16="http://schemas.microsoft.com/office/drawing/2014/main" id="{7FE99AF3-5C6C-E5CD-E0DD-63B9AEBD90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9066" y="332657"/>
            <a:ext cx="8121230" cy="126248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26" name="Text Placeholder 125">
            <a:extLst>
              <a:ext uri="{FF2B5EF4-FFF2-40B4-BE49-F238E27FC236}">
                <a16:creationId xmlns:a16="http://schemas.microsoft.com/office/drawing/2014/main" id="{C359EBD3-8738-6B0B-29FD-C84B5ECD727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9251122" y="3675471"/>
            <a:ext cx="2940879" cy="3182529"/>
          </a:xfrm>
          <a:custGeom>
            <a:avLst/>
            <a:gdLst>
              <a:gd name="connsiteX0" fmla="*/ 107145 w 2940879"/>
              <a:gd name="connsiteY0" fmla="*/ 32 h 3182529"/>
              <a:gd name="connsiteX1" fmla="*/ 243149 w 2940879"/>
              <a:gd name="connsiteY1" fmla="*/ 73223 h 3182529"/>
              <a:gd name="connsiteX2" fmla="*/ 2940879 w 2940879"/>
              <a:gd name="connsiteY2" fmla="*/ 2672374 h 3182529"/>
              <a:gd name="connsiteX3" fmla="*/ 2940879 w 2940879"/>
              <a:gd name="connsiteY3" fmla="*/ 3182529 h 3182529"/>
              <a:gd name="connsiteX4" fmla="*/ 1098241 w 2940879"/>
              <a:gd name="connsiteY4" fmla="*/ 3182529 h 3182529"/>
              <a:gd name="connsiteX5" fmla="*/ 243376 w 2940879"/>
              <a:gd name="connsiteY5" fmla="*/ 2361118 h 3182529"/>
              <a:gd name="connsiteX6" fmla="*/ 0 w 2940879"/>
              <a:gd name="connsiteY6" fmla="*/ 1789717 h 3182529"/>
              <a:gd name="connsiteX7" fmla="*/ 0 w 2940879"/>
              <a:gd name="connsiteY7" fmla="*/ 176679 h 3182529"/>
              <a:gd name="connsiteX8" fmla="*/ 107145 w 2940879"/>
              <a:gd name="connsiteY8" fmla="*/ 32 h 31825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940879" h="3182529">
                <a:moveTo>
                  <a:pt x="107145" y="32"/>
                </a:moveTo>
                <a:cubicBezTo>
                  <a:pt x="145948" y="1011"/>
                  <a:pt x="192743" y="24795"/>
                  <a:pt x="243149" y="73223"/>
                </a:cubicBezTo>
                <a:lnTo>
                  <a:pt x="2940879" y="2672374"/>
                </a:lnTo>
                <a:lnTo>
                  <a:pt x="2940879" y="3182529"/>
                </a:lnTo>
                <a:lnTo>
                  <a:pt x="1098241" y="3182529"/>
                </a:lnTo>
                <a:lnTo>
                  <a:pt x="243376" y="2361118"/>
                </a:lnTo>
                <a:cubicBezTo>
                  <a:pt x="108960" y="2231972"/>
                  <a:pt x="0" y="1976211"/>
                  <a:pt x="0" y="1789717"/>
                </a:cubicBezTo>
                <a:lnTo>
                  <a:pt x="0" y="176679"/>
                </a:lnTo>
                <a:cubicBezTo>
                  <a:pt x="0" y="60120"/>
                  <a:pt x="42474" y="-1599"/>
                  <a:pt x="107145" y="32"/>
                </a:cubicBezTo>
                <a:close/>
              </a:path>
            </a:pathLst>
          </a:custGeom>
          <a:solidFill>
            <a:schemeClr val="accent1">
              <a:alpha val="20000"/>
            </a:schemeClr>
          </a:solidFill>
        </p:spPr>
        <p:txBody>
          <a:bodyPr wrap="square" anchor="ctr">
            <a:noAutofit/>
          </a:bodyPr>
          <a:lstStyle>
            <a:lvl1pPr algn="ctr">
              <a:defRPr sz="100">
                <a:solidFill>
                  <a:schemeClr val="tx2">
                    <a:alpha val="0"/>
                  </a:schemeClr>
                </a:solidFill>
              </a:defRPr>
            </a:lvl1pPr>
            <a:lvl2pPr algn="ctr">
              <a:defRPr sz="100">
                <a:solidFill>
                  <a:schemeClr val="tx2">
                    <a:alpha val="0"/>
                  </a:schemeClr>
                </a:solidFill>
              </a:defRPr>
            </a:lvl2pPr>
            <a:lvl3pPr algn="ctr">
              <a:defRPr sz="100">
                <a:solidFill>
                  <a:schemeClr val="tx2">
                    <a:alpha val="0"/>
                  </a:schemeClr>
                </a:solidFill>
              </a:defRPr>
            </a:lvl3pPr>
            <a:lvl4pPr algn="ctr">
              <a:defRPr sz="100">
                <a:solidFill>
                  <a:schemeClr val="tx2">
                    <a:alpha val="0"/>
                  </a:schemeClr>
                </a:solidFill>
              </a:defRPr>
            </a:lvl4pPr>
            <a:lvl5pPr algn="ctr">
              <a:defRPr sz="100">
                <a:solidFill>
                  <a:schemeClr val="tx2">
                    <a:alpha val="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703AE73-0813-1AD7-3E72-C71BFF01092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DB84476-BC29-4407-9D57-B2E562B8968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604399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9" name="Text Placeholder 128">
            <a:extLst>
              <a:ext uri="{FF2B5EF4-FFF2-40B4-BE49-F238E27FC236}">
                <a16:creationId xmlns:a16="http://schemas.microsoft.com/office/drawing/2014/main" id="{60A12CD6-1AE5-31AC-6CBD-D78E36BEC36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0" y="0"/>
            <a:ext cx="4615856" cy="6618150"/>
          </a:xfrm>
          <a:custGeom>
            <a:avLst/>
            <a:gdLst>
              <a:gd name="connsiteX0" fmla="*/ 1344078 w 4615856"/>
              <a:gd name="connsiteY0" fmla="*/ 0 h 6618150"/>
              <a:gd name="connsiteX1" fmla="*/ 4615856 w 4615856"/>
              <a:gd name="connsiteY1" fmla="*/ 0 h 6618150"/>
              <a:gd name="connsiteX2" fmla="*/ 4610309 w 4615856"/>
              <a:gd name="connsiteY2" fmla="*/ 1392694 h 6618150"/>
              <a:gd name="connsiteX3" fmla="*/ 4040106 w 4615856"/>
              <a:gd name="connsiteY3" fmla="*/ 2725675 h 6618150"/>
              <a:gd name="connsiteX4" fmla="*/ 0 w 4615856"/>
              <a:gd name="connsiteY4" fmla="*/ 6618150 h 6618150"/>
              <a:gd name="connsiteX5" fmla="*/ 0 w 4615856"/>
              <a:gd name="connsiteY5" fmla="*/ 1291480 h 66181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615856" h="6618150">
                <a:moveTo>
                  <a:pt x="1344078" y="0"/>
                </a:moveTo>
                <a:lnTo>
                  <a:pt x="4615856" y="0"/>
                </a:lnTo>
                <a:lnTo>
                  <a:pt x="4610309" y="1392694"/>
                </a:lnTo>
                <a:cubicBezTo>
                  <a:pt x="4610309" y="1827572"/>
                  <a:pt x="4353024" y="2423997"/>
                  <a:pt x="4040106" y="2725675"/>
                </a:cubicBezTo>
                <a:lnTo>
                  <a:pt x="0" y="6618150"/>
                </a:lnTo>
                <a:lnTo>
                  <a:pt x="0" y="1291480"/>
                </a:lnTo>
                <a:close/>
              </a:path>
            </a:pathLst>
          </a:custGeom>
          <a:solidFill>
            <a:srgbClr val="E9473D">
              <a:alpha val="40000"/>
            </a:srgbClr>
          </a:solidFill>
        </p:spPr>
        <p:txBody>
          <a:bodyPr wrap="square" anchor="ctr">
            <a:noAutofit/>
          </a:bodyPr>
          <a:lstStyle>
            <a:lvl1pPr algn="ctr">
              <a:defRPr sz="100">
                <a:solidFill>
                  <a:srgbClr val="E9473D">
                    <a:alpha val="0"/>
                  </a:srgbClr>
                </a:solidFill>
              </a:defRPr>
            </a:lvl1pPr>
          </a:lstStyle>
          <a:p>
            <a:pPr lvl="0"/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703AE73-0813-1AD7-3E72-C71BFF01092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DB84476-BC29-4407-9D57-B2E562B8968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30" name="Text Placeholder 129">
            <a:extLst>
              <a:ext uri="{FF2B5EF4-FFF2-40B4-BE49-F238E27FC236}">
                <a16:creationId xmlns:a16="http://schemas.microsoft.com/office/drawing/2014/main" id="{F96BB9A3-8C09-67E4-18D2-E9474749C7D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0" y="0"/>
            <a:ext cx="1561486" cy="2741836"/>
          </a:xfrm>
          <a:custGeom>
            <a:avLst/>
            <a:gdLst>
              <a:gd name="connsiteX0" fmla="*/ 971743 w 1561486"/>
              <a:gd name="connsiteY0" fmla="*/ 0 h 2741836"/>
              <a:gd name="connsiteX1" fmla="*/ 1561486 w 1561486"/>
              <a:gd name="connsiteY1" fmla="*/ 0 h 2741836"/>
              <a:gd name="connsiteX2" fmla="*/ 1561486 w 1561486"/>
              <a:gd name="connsiteY2" fmla="*/ 974513 h 2741836"/>
              <a:gd name="connsiteX3" fmla="*/ 1369018 w 1561486"/>
              <a:gd name="connsiteY3" fmla="*/ 1426392 h 2741836"/>
              <a:gd name="connsiteX4" fmla="*/ 0 w 1561486"/>
              <a:gd name="connsiteY4" fmla="*/ 2741836 h 2741836"/>
              <a:gd name="connsiteX5" fmla="*/ 0 w 1561486"/>
              <a:gd name="connsiteY5" fmla="*/ 936234 h 27418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561486" h="2741836">
                <a:moveTo>
                  <a:pt x="971743" y="0"/>
                </a:moveTo>
                <a:lnTo>
                  <a:pt x="1561486" y="0"/>
                </a:lnTo>
                <a:lnTo>
                  <a:pt x="1561486" y="974513"/>
                </a:lnTo>
                <a:cubicBezTo>
                  <a:pt x="1561486" y="1121998"/>
                  <a:pt x="1475318" y="1324260"/>
                  <a:pt x="1369018" y="1426392"/>
                </a:cubicBezTo>
                <a:lnTo>
                  <a:pt x="0" y="2741836"/>
                </a:lnTo>
                <a:lnTo>
                  <a:pt x="0" y="936234"/>
                </a:lnTo>
                <a:close/>
              </a:path>
            </a:pathLst>
          </a:custGeom>
          <a:solidFill>
            <a:schemeClr val="accent4">
              <a:alpha val="40000"/>
            </a:schemeClr>
          </a:solidFill>
        </p:spPr>
        <p:txBody>
          <a:bodyPr wrap="square" anchor="ctr">
            <a:noAutofit/>
          </a:bodyPr>
          <a:lstStyle>
            <a:lvl1pPr algn="ctr">
              <a:defRPr sz="100">
                <a:solidFill>
                  <a:schemeClr val="accent4">
                    <a:alpha val="0"/>
                  </a:schemeClr>
                </a:solidFill>
              </a:defRPr>
            </a:lvl1pPr>
          </a:lstStyle>
          <a:p>
            <a:pPr lvl="0"/>
            <a:endParaRPr lang="en-GB"/>
          </a:p>
        </p:txBody>
      </p:sp>
      <p:sp>
        <p:nvSpPr>
          <p:cNvPr id="131" name="Text Placeholder 130">
            <a:extLst>
              <a:ext uri="{FF2B5EF4-FFF2-40B4-BE49-F238E27FC236}">
                <a16:creationId xmlns:a16="http://schemas.microsoft.com/office/drawing/2014/main" id="{E8EC4792-EFE6-C3F8-AAB0-E0DF3A411AC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7723743" y="451475"/>
            <a:ext cx="4468257" cy="6406525"/>
          </a:xfrm>
          <a:custGeom>
            <a:avLst/>
            <a:gdLst>
              <a:gd name="connsiteX0" fmla="*/ 3647728 w 3647728"/>
              <a:gd name="connsiteY0" fmla="*/ 0 h 5230062"/>
              <a:gd name="connsiteX1" fmla="*/ 3647728 w 3647728"/>
              <a:gd name="connsiteY1" fmla="*/ 4209457 h 5230062"/>
              <a:gd name="connsiteX2" fmla="*/ 2585556 w 3647728"/>
              <a:gd name="connsiteY2" fmla="*/ 5230062 h 5230062"/>
              <a:gd name="connsiteX3" fmla="*/ 0 w 3647728"/>
              <a:gd name="connsiteY3" fmla="*/ 5230062 h 5230062"/>
              <a:gd name="connsiteX4" fmla="*/ 4384 w 3647728"/>
              <a:gd name="connsiteY4" fmla="*/ 4129471 h 5230062"/>
              <a:gd name="connsiteX5" fmla="*/ 454992 w 3647728"/>
              <a:gd name="connsiteY5" fmla="*/ 3076069 h 52300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647728" h="5230062">
                <a:moveTo>
                  <a:pt x="3647728" y="0"/>
                </a:moveTo>
                <a:lnTo>
                  <a:pt x="3647728" y="4209457"/>
                </a:lnTo>
                <a:lnTo>
                  <a:pt x="2585556" y="5230062"/>
                </a:lnTo>
                <a:lnTo>
                  <a:pt x="0" y="5230062"/>
                </a:lnTo>
                <a:lnTo>
                  <a:pt x="4384" y="4129471"/>
                </a:lnTo>
                <a:cubicBezTo>
                  <a:pt x="4384" y="3785804"/>
                  <a:pt x="207706" y="3314473"/>
                  <a:pt x="454992" y="3076069"/>
                </a:cubicBezTo>
                <a:close/>
              </a:path>
            </a:pathLst>
          </a:custGeom>
          <a:solidFill>
            <a:schemeClr val="accent6">
              <a:alpha val="10000"/>
            </a:schemeClr>
          </a:solidFill>
        </p:spPr>
        <p:txBody>
          <a:bodyPr wrap="square" anchor="ctr">
            <a:noAutofit/>
          </a:bodyPr>
          <a:lstStyle>
            <a:lvl1pPr algn="ctr">
              <a:defRPr sz="100">
                <a:solidFill>
                  <a:schemeClr val="accent2">
                    <a:alpha val="0"/>
                  </a:schemeClr>
                </a:solidFill>
              </a:defRPr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endParaRPr lang="en-GB"/>
          </a:p>
        </p:txBody>
      </p:sp>
      <p:sp>
        <p:nvSpPr>
          <p:cNvPr id="127" name="Text Placeholder 16">
            <a:extLst>
              <a:ext uri="{FF2B5EF4-FFF2-40B4-BE49-F238E27FC236}">
                <a16:creationId xmlns:a16="http://schemas.microsoft.com/office/drawing/2014/main" id="{DF36CEAF-0A9E-1D9A-28DA-EB9C2D87E0D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118832" y="1764973"/>
            <a:ext cx="6449281" cy="447231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28" name="Title 6">
            <a:extLst>
              <a:ext uri="{FF2B5EF4-FFF2-40B4-BE49-F238E27FC236}">
                <a16:creationId xmlns:a16="http://schemas.microsoft.com/office/drawing/2014/main" id="{D564B358-2F1B-8D24-C7D9-4DFE56712EE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19267" y="332657"/>
            <a:ext cx="6448846" cy="126248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26" name="Picture Placeholder 25">
            <a:extLst>
              <a:ext uri="{FF2B5EF4-FFF2-40B4-BE49-F238E27FC236}">
                <a16:creationId xmlns:a16="http://schemas.microsoft.com/office/drawing/2014/main" id="{A93F567A-D2B4-8E05-AC49-6EFEFF7B1B60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" y="-2259"/>
            <a:ext cx="2943041" cy="4906132"/>
          </a:xfrm>
          <a:custGeom>
            <a:avLst/>
            <a:gdLst>
              <a:gd name="connsiteX0" fmla="*/ 2838364 w 2943041"/>
              <a:gd name="connsiteY0" fmla="*/ 31 h 4906132"/>
              <a:gd name="connsiteX1" fmla="*/ 2943041 w 2943041"/>
              <a:gd name="connsiteY1" fmla="*/ 172609 h 4906132"/>
              <a:gd name="connsiteX2" fmla="*/ 2943041 w 2943041"/>
              <a:gd name="connsiteY2" fmla="*/ 1748488 h 4906132"/>
              <a:gd name="connsiteX3" fmla="*/ 2705270 w 2943041"/>
              <a:gd name="connsiteY3" fmla="*/ 2306727 h 4906132"/>
              <a:gd name="connsiteX4" fmla="*/ 0 w 2943041"/>
              <a:gd name="connsiteY4" fmla="*/ 4906132 h 4906132"/>
              <a:gd name="connsiteX5" fmla="*/ 0 w 2943041"/>
              <a:gd name="connsiteY5" fmla="*/ 2678164 h 4906132"/>
              <a:gd name="connsiteX6" fmla="*/ 2705493 w 2943041"/>
              <a:gd name="connsiteY6" fmla="*/ 71535 h 4906132"/>
              <a:gd name="connsiteX7" fmla="*/ 2838364 w 2943041"/>
              <a:gd name="connsiteY7" fmla="*/ 31 h 49061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943041" h="4906132">
                <a:moveTo>
                  <a:pt x="2838364" y="31"/>
                </a:moveTo>
                <a:cubicBezTo>
                  <a:pt x="2901546" y="-1562"/>
                  <a:pt x="2943041" y="58735"/>
                  <a:pt x="2943041" y="172609"/>
                </a:cubicBezTo>
                <a:lnTo>
                  <a:pt x="2943041" y="1748488"/>
                </a:lnTo>
                <a:cubicBezTo>
                  <a:pt x="2943041" y="1930687"/>
                  <a:pt x="2836590" y="2180556"/>
                  <a:pt x="2705270" y="2306727"/>
                </a:cubicBezTo>
                <a:lnTo>
                  <a:pt x="0" y="4906132"/>
                </a:lnTo>
                <a:lnTo>
                  <a:pt x="0" y="2678164"/>
                </a:lnTo>
                <a:lnTo>
                  <a:pt x="2705493" y="71535"/>
                </a:lnTo>
                <a:cubicBezTo>
                  <a:pt x="2754738" y="24223"/>
                  <a:pt x="2800454" y="987"/>
                  <a:pt x="2838364" y="31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</p:spPr>
        <p:txBody>
          <a:bodyPr wrap="square" anchor="ctr">
            <a:noAutofit/>
          </a:bodyPr>
          <a:lstStyle>
            <a:lvl1pPr algn="ctr">
              <a:defRPr sz="1200" b="0"/>
            </a:lvl1pPr>
          </a:lstStyle>
          <a:p>
            <a:endParaRPr lang="en-GB"/>
          </a:p>
        </p:txBody>
      </p:sp>
      <p:sp>
        <p:nvSpPr>
          <p:cNvPr id="32" name="Picture Placeholder 31">
            <a:extLst>
              <a:ext uri="{FF2B5EF4-FFF2-40B4-BE49-F238E27FC236}">
                <a16:creationId xmlns:a16="http://schemas.microsoft.com/office/drawing/2014/main" id="{EC731905-C1E9-3DDA-A8B0-34C9326F3D1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3468316"/>
            <a:ext cx="2304114" cy="3389685"/>
          </a:xfrm>
          <a:custGeom>
            <a:avLst/>
            <a:gdLst>
              <a:gd name="connsiteX0" fmla="*/ 0 w 2304114"/>
              <a:gd name="connsiteY0" fmla="*/ 0 h 3389685"/>
              <a:gd name="connsiteX1" fmla="*/ 2098668 w 2304114"/>
              <a:gd name="connsiteY1" fmla="*/ 2021980 h 3389685"/>
              <a:gd name="connsiteX2" fmla="*/ 2300546 w 2304114"/>
              <a:gd name="connsiteY2" fmla="*/ 2493915 h 3389685"/>
              <a:gd name="connsiteX3" fmla="*/ 2304114 w 2304114"/>
              <a:gd name="connsiteY3" fmla="*/ 3389685 h 3389685"/>
              <a:gd name="connsiteX4" fmla="*/ 1563249 w 2304114"/>
              <a:gd name="connsiteY4" fmla="*/ 3389685 h 3389685"/>
              <a:gd name="connsiteX5" fmla="*/ 0 w 2304114"/>
              <a:gd name="connsiteY5" fmla="*/ 1887611 h 33896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304114" h="3389685">
                <a:moveTo>
                  <a:pt x="0" y="0"/>
                </a:moveTo>
                <a:lnTo>
                  <a:pt x="2098668" y="2021980"/>
                </a:lnTo>
                <a:cubicBezTo>
                  <a:pt x="2209455" y="2128787"/>
                  <a:pt x="2300546" y="2339949"/>
                  <a:pt x="2300546" y="2493915"/>
                </a:cubicBezTo>
                <a:lnTo>
                  <a:pt x="2304114" y="3389685"/>
                </a:lnTo>
                <a:lnTo>
                  <a:pt x="1563249" y="3389685"/>
                </a:lnTo>
                <a:lnTo>
                  <a:pt x="0" y="1887611"/>
                </a:lnTo>
                <a:close/>
              </a:path>
            </a:pathLst>
          </a:custGeom>
          <a:solidFill>
            <a:schemeClr val="bg2">
              <a:lumMod val="90000"/>
            </a:schemeClr>
          </a:solidFill>
        </p:spPr>
        <p:txBody>
          <a:bodyPr wrap="square" anchor="ctr">
            <a:noAutofit/>
          </a:bodyPr>
          <a:lstStyle>
            <a:lvl1pPr algn="ctr">
              <a:defRPr sz="1200" b="0">
                <a:solidFill>
                  <a:schemeClr val="tx1"/>
                </a:solidFill>
                <a:latin typeface="+mj-lt"/>
              </a:defRPr>
            </a:lvl1pPr>
          </a:lstStyle>
          <a:p>
            <a:endParaRPr lang="en-GB"/>
          </a:p>
        </p:txBody>
      </p:sp>
      <p:sp>
        <p:nvSpPr>
          <p:cNvPr id="29" name="Picture Placeholder 28">
            <a:extLst>
              <a:ext uri="{FF2B5EF4-FFF2-40B4-BE49-F238E27FC236}">
                <a16:creationId xmlns:a16="http://schemas.microsoft.com/office/drawing/2014/main" id="{BCE7D32B-E0F9-2767-710D-290C21B5811B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1340321" y="3414634"/>
            <a:ext cx="3783257" cy="3443367"/>
          </a:xfrm>
          <a:custGeom>
            <a:avLst/>
            <a:gdLst>
              <a:gd name="connsiteX0" fmla="*/ 134159 w 3783257"/>
              <a:gd name="connsiteY0" fmla="*/ 40 h 3443367"/>
              <a:gd name="connsiteX1" fmla="*/ 304452 w 3783257"/>
              <a:gd name="connsiteY1" fmla="*/ 91683 h 3443367"/>
              <a:gd name="connsiteX2" fmla="*/ 3783257 w 3783257"/>
              <a:gd name="connsiteY2" fmla="*/ 3443367 h 3443367"/>
              <a:gd name="connsiteX3" fmla="*/ 811536 w 3783257"/>
              <a:gd name="connsiteY3" fmla="*/ 3443367 h 3443367"/>
              <a:gd name="connsiteX4" fmla="*/ 304737 w 3783257"/>
              <a:gd name="connsiteY4" fmla="*/ 2956400 h 3443367"/>
              <a:gd name="connsiteX5" fmla="*/ 0 w 3783257"/>
              <a:gd name="connsiteY5" fmla="*/ 2240937 h 3443367"/>
              <a:gd name="connsiteX6" fmla="*/ 0 w 3783257"/>
              <a:gd name="connsiteY6" fmla="*/ 221223 h 3443367"/>
              <a:gd name="connsiteX7" fmla="*/ 134159 w 3783257"/>
              <a:gd name="connsiteY7" fmla="*/ 40 h 34433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783257" h="3443367">
                <a:moveTo>
                  <a:pt x="134159" y="40"/>
                </a:moveTo>
                <a:cubicBezTo>
                  <a:pt x="182745" y="1265"/>
                  <a:pt x="241337" y="31046"/>
                  <a:pt x="304452" y="91683"/>
                </a:cubicBezTo>
                <a:lnTo>
                  <a:pt x="3783257" y="3443367"/>
                </a:lnTo>
                <a:lnTo>
                  <a:pt x="811536" y="3443367"/>
                </a:lnTo>
                <a:lnTo>
                  <a:pt x="304737" y="2956400"/>
                </a:lnTo>
                <a:cubicBezTo>
                  <a:pt x="136431" y="2794693"/>
                  <a:pt x="0" y="2474450"/>
                  <a:pt x="0" y="2240937"/>
                </a:cubicBezTo>
                <a:lnTo>
                  <a:pt x="0" y="221223"/>
                </a:lnTo>
                <a:cubicBezTo>
                  <a:pt x="0" y="75278"/>
                  <a:pt x="53182" y="-2002"/>
                  <a:pt x="134159" y="40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algn="ctr">
              <a:defRPr sz="1200" b="0">
                <a:solidFill>
                  <a:schemeClr val="tx1"/>
                </a:solidFill>
                <a:latin typeface="+mj-lt"/>
              </a:defRPr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3446120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9" name="Text Placeholder 128">
            <a:extLst>
              <a:ext uri="{FF2B5EF4-FFF2-40B4-BE49-F238E27FC236}">
                <a16:creationId xmlns:a16="http://schemas.microsoft.com/office/drawing/2014/main" id="{60A12CD6-1AE5-31AC-6CBD-D78E36BEC36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0" y="0"/>
            <a:ext cx="4615856" cy="6618150"/>
          </a:xfrm>
          <a:custGeom>
            <a:avLst/>
            <a:gdLst>
              <a:gd name="connsiteX0" fmla="*/ 1344078 w 4615856"/>
              <a:gd name="connsiteY0" fmla="*/ 0 h 6618150"/>
              <a:gd name="connsiteX1" fmla="*/ 4615856 w 4615856"/>
              <a:gd name="connsiteY1" fmla="*/ 0 h 6618150"/>
              <a:gd name="connsiteX2" fmla="*/ 4610309 w 4615856"/>
              <a:gd name="connsiteY2" fmla="*/ 1392694 h 6618150"/>
              <a:gd name="connsiteX3" fmla="*/ 4040106 w 4615856"/>
              <a:gd name="connsiteY3" fmla="*/ 2725675 h 6618150"/>
              <a:gd name="connsiteX4" fmla="*/ 0 w 4615856"/>
              <a:gd name="connsiteY4" fmla="*/ 6618150 h 6618150"/>
              <a:gd name="connsiteX5" fmla="*/ 0 w 4615856"/>
              <a:gd name="connsiteY5" fmla="*/ 1291480 h 66181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615856" h="6618150">
                <a:moveTo>
                  <a:pt x="1344078" y="0"/>
                </a:moveTo>
                <a:lnTo>
                  <a:pt x="4615856" y="0"/>
                </a:lnTo>
                <a:lnTo>
                  <a:pt x="4610309" y="1392694"/>
                </a:lnTo>
                <a:cubicBezTo>
                  <a:pt x="4610309" y="1827572"/>
                  <a:pt x="4353024" y="2423997"/>
                  <a:pt x="4040106" y="2725675"/>
                </a:cubicBezTo>
                <a:lnTo>
                  <a:pt x="0" y="6618150"/>
                </a:lnTo>
                <a:lnTo>
                  <a:pt x="0" y="1291480"/>
                </a:lnTo>
                <a:close/>
              </a:path>
            </a:pathLst>
          </a:custGeom>
          <a:solidFill>
            <a:srgbClr val="7E003F">
              <a:alpha val="30000"/>
            </a:srgbClr>
          </a:solidFill>
        </p:spPr>
        <p:txBody>
          <a:bodyPr wrap="square" anchor="ctr">
            <a:noAutofit/>
          </a:bodyPr>
          <a:lstStyle>
            <a:lvl1pPr algn="ctr">
              <a:defRPr sz="100">
                <a:solidFill>
                  <a:srgbClr val="E9473D">
                    <a:alpha val="0"/>
                  </a:srgbClr>
                </a:solidFill>
              </a:defRPr>
            </a:lvl1pPr>
          </a:lstStyle>
          <a:p>
            <a:pPr lvl="0"/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703AE73-0813-1AD7-3E72-C71BFF01092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DB84476-BC29-4407-9D57-B2E562B8968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6" name="Picture Placeholder 25">
            <a:extLst>
              <a:ext uri="{FF2B5EF4-FFF2-40B4-BE49-F238E27FC236}">
                <a16:creationId xmlns:a16="http://schemas.microsoft.com/office/drawing/2014/main" id="{A93F567A-D2B4-8E05-AC49-6EFEFF7B1B60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" y="-2259"/>
            <a:ext cx="2943041" cy="4906132"/>
          </a:xfrm>
          <a:custGeom>
            <a:avLst/>
            <a:gdLst>
              <a:gd name="connsiteX0" fmla="*/ 2838364 w 2943041"/>
              <a:gd name="connsiteY0" fmla="*/ 31 h 4906132"/>
              <a:gd name="connsiteX1" fmla="*/ 2943041 w 2943041"/>
              <a:gd name="connsiteY1" fmla="*/ 172609 h 4906132"/>
              <a:gd name="connsiteX2" fmla="*/ 2943041 w 2943041"/>
              <a:gd name="connsiteY2" fmla="*/ 1748488 h 4906132"/>
              <a:gd name="connsiteX3" fmla="*/ 2705270 w 2943041"/>
              <a:gd name="connsiteY3" fmla="*/ 2306727 h 4906132"/>
              <a:gd name="connsiteX4" fmla="*/ 0 w 2943041"/>
              <a:gd name="connsiteY4" fmla="*/ 4906132 h 4906132"/>
              <a:gd name="connsiteX5" fmla="*/ 0 w 2943041"/>
              <a:gd name="connsiteY5" fmla="*/ 2678164 h 4906132"/>
              <a:gd name="connsiteX6" fmla="*/ 2705493 w 2943041"/>
              <a:gd name="connsiteY6" fmla="*/ 71535 h 4906132"/>
              <a:gd name="connsiteX7" fmla="*/ 2838364 w 2943041"/>
              <a:gd name="connsiteY7" fmla="*/ 31 h 49061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943041" h="4906132">
                <a:moveTo>
                  <a:pt x="2838364" y="31"/>
                </a:moveTo>
                <a:cubicBezTo>
                  <a:pt x="2901546" y="-1562"/>
                  <a:pt x="2943041" y="58735"/>
                  <a:pt x="2943041" y="172609"/>
                </a:cubicBezTo>
                <a:lnTo>
                  <a:pt x="2943041" y="1748488"/>
                </a:lnTo>
                <a:cubicBezTo>
                  <a:pt x="2943041" y="1930687"/>
                  <a:pt x="2836590" y="2180556"/>
                  <a:pt x="2705270" y="2306727"/>
                </a:cubicBezTo>
                <a:lnTo>
                  <a:pt x="0" y="4906132"/>
                </a:lnTo>
                <a:lnTo>
                  <a:pt x="0" y="2678164"/>
                </a:lnTo>
                <a:lnTo>
                  <a:pt x="2705493" y="71535"/>
                </a:lnTo>
                <a:cubicBezTo>
                  <a:pt x="2754738" y="24223"/>
                  <a:pt x="2800454" y="987"/>
                  <a:pt x="2838364" y="31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</p:spPr>
        <p:txBody>
          <a:bodyPr wrap="square" anchor="ctr">
            <a:noAutofit/>
          </a:bodyPr>
          <a:lstStyle>
            <a:lvl1pPr algn="ctr">
              <a:defRPr sz="1200" b="0"/>
            </a:lvl1pPr>
          </a:lstStyle>
          <a:p>
            <a:endParaRPr lang="en-GB"/>
          </a:p>
        </p:txBody>
      </p:sp>
      <p:sp>
        <p:nvSpPr>
          <p:cNvPr id="130" name="Text Placeholder 129">
            <a:extLst>
              <a:ext uri="{FF2B5EF4-FFF2-40B4-BE49-F238E27FC236}">
                <a16:creationId xmlns:a16="http://schemas.microsoft.com/office/drawing/2014/main" id="{F96BB9A3-8C09-67E4-18D2-E9474749C7D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 flipV="1">
            <a:off x="0" y="4116164"/>
            <a:ext cx="1561486" cy="2741836"/>
          </a:xfrm>
          <a:custGeom>
            <a:avLst/>
            <a:gdLst>
              <a:gd name="connsiteX0" fmla="*/ 971743 w 1561486"/>
              <a:gd name="connsiteY0" fmla="*/ 0 h 2741836"/>
              <a:gd name="connsiteX1" fmla="*/ 1561486 w 1561486"/>
              <a:gd name="connsiteY1" fmla="*/ 0 h 2741836"/>
              <a:gd name="connsiteX2" fmla="*/ 1561486 w 1561486"/>
              <a:gd name="connsiteY2" fmla="*/ 974513 h 2741836"/>
              <a:gd name="connsiteX3" fmla="*/ 1369018 w 1561486"/>
              <a:gd name="connsiteY3" fmla="*/ 1426392 h 2741836"/>
              <a:gd name="connsiteX4" fmla="*/ 0 w 1561486"/>
              <a:gd name="connsiteY4" fmla="*/ 2741836 h 2741836"/>
              <a:gd name="connsiteX5" fmla="*/ 0 w 1561486"/>
              <a:gd name="connsiteY5" fmla="*/ 936234 h 27418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561486" h="2741836">
                <a:moveTo>
                  <a:pt x="971743" y="0"/>
                </a:moveTo>
                <a:lnTo>
                  <a:pt x="1561486" y="0"/>
                </a:lnTo>
                <a:lnTo>
                  <a:pt x="1561486" y="974513"/>
                </a:lnTo>
                <a:cubicBezTo>
                  <a:pt x="1561486" y="1121998"/>
                  <a:pt x="1475318" y="1324260"/>
                  <a:pt x="1369018" y="1426392"/>
                </a:cubicBezTo>
                <a:lnTo>
                  <a:pt x="0" y="2741836"/>
                </a:lnTo>
                <a:lnTo>
                  <a:pt x="0" y="936234"/>
                </a:lnTo>
                <a:close/>
              </a:path>
            </a:pathLst>
          </a:custGeom>
          <a:solidFill>
            <a:srgbClr val="38B6AB">
              <a:alpha val="20000"/>
            </a:srgbClr>
          </a:solidFill>
        </p:spPr>
        <p:txBody>
          <a:bodyPr wrap="square" anchor="ctr">
            <a:noAutofit/>
          </a:bodyPr>
          <a:lstStyle>
            <a:lvl1pPr algn="ctr">
              <a:defRPr sz="100">
                <a:solidFill>
                  <a:schemeClr val="accent4">
                    <a:alpha val="0"/>
                  </a:schemeClr>
                </a:solidFill>
              </a:defRPr>
            </a:lvl1pPr>
          </a:lstStyle>
          <a:p>
            <a:pPr lvl="0"/>
            <a:endParaRPr lang="en-GB"/>
          </a:p>
        </p:txBody>
      </p:sp>
      <p:sp>
        <p:nvSpPr>
          <p:cNvPr id="131" name="Text Placeholder 130">
            <a:extLst>
              <a:ext uri="{FF2B5EF4-FFF2-40B4-BE49-F238E27FC236}">
                <a16:creationId xmlns:a16="http://schemas.microsoft.com/office/drawing/2014/main" id="{E8EC4792-EFE6-C3F8-AAB0-E0DF3A411AC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7723743" y="451475"/>
            <a:ext cx="4468257" cy="6406525"/>
          </a:xfrm>
          <a:custGeom>
            <a:avLst/>
            <a:gdLst>
              <a:gd name="connsiteX0" fmla="*/ 3647728 w 3647728"/>
              <a:gd name="connsiteY0" fmla="*/ 0 h 5230062"/>
              <a:gd name="connsiteX1" fmla="*/ 3647728 w 3647728"/>
              <a:gd name="connsiteY1" fmla="*/ 4209457 h 5230062"/>
              <a:gd name="connsiteX2" fmla="*/ 2585556 w 3647728"/>
              <a:gd name="connsiteY2" fmla="*/ 5230062 h 5230062"/>
              <a:gd name="connsiteX3" fmla="*/ 0 w 3647728"/>
              <a:gd name="connsiteY3" fmla="*/ 5230062 h 5230062"/>
              <a:gd name="connsiteX4" fmla="*/ 4384 w 3647728"/>
              <a:gd name="connsiteY4" fmla="*/ 4129471 h 5230062"/>
              <a:gd name="connsiteX5" fmla="*/ 454992 w 3647728"/>
              <a:gd name="connsiteY5" fmla="*/ 3076069 h 52300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647728" h="5230062">
                <a:moveTo>
                  <a:pt x="3647728" y="0"/>
                </a:moveTo>
                <a:lnTo>
                  <a:pt x="3647728" y="4209457"/>
                </a:lnTo>
                <a:lnTo>
                  <a:pt x="2585556" y="5230062"/>
                </a:lnTo>
                <a:lnTo>
                  <a:pt x="0" y="5230062"/>
                </a:lnTo>
                <a:lnTo>
                  <a:pt x="4384" y="4129471"/>
                </a:lnTo>
                <a:cubicBezTo>
                  <a:pt x="4384" y="3785804"/>
                  <a:pt x="207706" y="3314473"/>
                  <a:pt x="454992" y="3076069"/>
                </a:cubicBezTo>
                <a:close/>
              </a:path>
            </a:pathLst>
          </a:custGeom>
          <a:solidFill>
            <a:srgbClr val="F07E26">
              <a:alpha val="10000"/>
            </a:srgbClr>
          </a:solidFill>
        </p:spPr>
        <p:txBody>
          <a:bodyPr wrap="square" anchor="ctr">
            <a:noAutofit/>
          </a:bodyPr>
          <a:lstStyle>
            <a:lvl1pPr algn="ctr">
              <a:defRPr sz="100">
                <a:solidFill>
                  <a:schemeClr val="accent2">
                    <a:alpha val="0"/>
                  </a:schemeClr>
                </a:solidFill>
              </a:defRPr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endParaRPr lang="en-GB"/>
          </a:p>
        </p:txBody>
      </p:sp>
      <p:sp>
        <p:nvSpPr>
          <p:cNvPr id="127" name="Text Placeholder 16">
            <a:extLst>
              <a:ext uri="{FF2B5EF4-FFF2-40B4-BE49-F238E27FC236}">
                <a16:creationId xmlns:a16="http://schemas.microsoft.com/office/drawing/2014/main" id="{DF36CEAF-0A9E-1D9A-28DA-EB9C2D87E0D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118832" y="1764973"/>
            <a:ext cx="6449281" cy="447231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28" name="Title 6">
            <a:extLst>
              <a:ext uri="{FF2B5EF4-FFF2-40B4-BE49-F238E27FC236}">
                <a16:creationId xmlns:a16="http://schemas.microsoft.com/office/drawing/2014/main" id="{D564B358-2F1B-8D24-C7D9-4DFE56712EE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19267" y="332657"/>
            <a:ext cx="6448846" cy="126248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29" name="Picture Placeholder 28">
            <a:extLst>
              <a:ext uri="{FF2B5EF4-FFF2-40B4-BE49-F238E27FC236}">
                <a16:creationId xmlns:a16="http://schemas.microsoft.com/office/drawing/2014/main" id="{BCE7D32B-E0F9-2767-710D-290C21B5811B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1340321" y="3414634"/>
            <a:ext cx="3783257" cy="3443367"/>
          </a:xfrm>
          <a:custGeom>
            <a:avLst/>
            <a:gdLst>
              <a:gd name="connsiteX0" fmla="*/ 134159 w 3783257"/>
              <a:gd name="connsiteY0" fmla="*/ 40 h 3443367"/>
              <a:gd name="connsiteX1" fmla="*/ 304452 w 3783257"/>
              <a:gd name="connsiteY1" fmla="*/ 91683 h 3443367"/>
              <a:gd name="connsiteX2" fmla="*/ 3783257 w 3783257"/>
              <a:gd name="connsiteY2" fmla="*/ 3443367 h 3443367"/>
              <a:gd name="connsiteX3" fmla="*/ 811536 w 3783257"/>
              <a:gd name="connsiteY3" fmla="*/ 3443367 h 3443367"/>
              <a:gd name="connsiteX4" fmla="*/ 304737 w 3783257"/>
              <a:gd name="connsiteY4" fmla="*/ 2956400 h 3443367"/>
              <a:gd name="connsiteX5" fmla="*/ 0 w 3783257"/>
              <a:gd name="connsiteY5" fmla="*/ 2240937 h 3443367"/>
              <a:gd name="connsiteX6" fmla="*/ 0 w 3783257"/>
              <a:gd name="connsiteY6" fmla="*/ 221223 h 3443367"/>
              <a:gd name="connsiteX7" fmla="*/ 134159 w 3783257"/>
              <a:gd name="connsiteY7" fmla="*/ 40 h 34433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783257" h="3443367">
                <a:moveTo>
                  <a:pt x="134159" y="40"/>
                </a:moveTo>
                <a:cubicBezTo>
                  <a:pt x="182745" y="1265"/>
                  <a:pt x="241337" y="31046"/>
                  <a:pt x="304452" y="91683"/>
                </a:cubicBezTo>
                <a:lnTo>
                  <a:pt x="3783257" y="3443367"/>
                </a:lnTo>
                <a:lnTo>
                  <a:pt x="811536" y="3443367"/>
                </a:lnTo>
                <a:lnTo>
                  <a:pt x="304737" y="2956400"/>
                </a:lnTo>
                <a:cubicBezTo>
                  <a:pt x="136431" y="2794693"/>
                  <a:pt x="0" y="2474450"/>
                  <a:pt x="0" y="2240937"/>
                </a:cubicBezTo>
                <a:lnTo>
                  <a:pt x="0" y="221223"/>
                </a:lnTo>
                <a:cubicBezTo>
                  <a:pt x="0" y="75278"/>
                  <a:pt x="53182" y="-2002"/>
                  <a:pt x="134159" y="40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algn="ctr">
              <a:defRPr sz="1200" b="0">
                <a:solidFill>
                  <a:schemeClr val="tx1"/>
                </a:solidFill>
                <a:latin typeface="+mj-lt"/>
              </a:defRPr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6796838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0" name="Text Placeholder 129">
            <a:extLst>
              <a:ext uri="{FF2B5EF4-FFF2-40B4-BE49-F238E27FC236}">
                <a16:creationId xmlns:a16="http://schemas.microsoft.com/office/drawing/2014/main" id="{EB120B9A-364A-AB0B-366A-FF46B2CBE37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962621" y="550872"/>
            <a:ext cx="3229379" cy="6307128"/>
          </a:xfrm>
          <a:custGeom>
            <a:avLst/>
            <a:gdLst>
              <a:gd name="connsiteX0" fmla="*/ 3229379 w 3229379"/>
              <a:gd name="connsiteY0" fmla="*/ 0 h 6307128"/>
              <a:gd name="connsiteX1" fmla="*/ 3229379 w 3229379"/>
              <a:gd name="connsiteY1" fmla="*/ 3598208 h 6307128"/>
              <a:gd name="connsiteX2" fmla="*/ 3229379 w 3229379"/>
              <a:gd name="connsiteY2" fmla="*/ 3808777 h 6307128"/>
              <a:gd name="connsiteX3" fmla="*/ 3229379 w 3229379"/>
              <a:gd name="connsiteY3" fmla="*/ 6307128 h 6307128"/>
              <a:gd name="connsiteX4" fmla="*/ 636271 w 3229379"/>
              <a:gd name="connsiteY4" fmla="*/ 6307128 h 6307128"/>
              <a:gd name="connsiteX5" fmla="*/ 1 w 3229379"/>
              <a:gd name="connsiteY5" fmla="*/ 6307128 h 6307128"/>
              <a:gd name="connsiteX6" fmla="*/ 0 w 3229379"/>
              <a:gd name="connsiteY6" fmla="*/ 6307128 h 6307128"/>
              <a:gd name="connsiteX7" fmla="*/ 0 w 3229379"/>
              <a:gd name="connsiteY7" fmla="*/ 3598208 h 6307128"/>
              <a:gd name="connsiteX8" fmla="*/ 4610 w 3229379"/>
              <a:gd name="connsiteY8" fmla="*/ 3598208 h 6307128"/>
              <a:gd name="connsiteX9" fmla="*/ 8249 w 3229379"/>
              <a:gd name="connsiteY9" fmla="*/ 3544634 h 6307128"/>
              <a:gd name="connsiteX10" fmla="*/ 405979 w 3229379"/>
              <a:gd name="connsiteY10" fmla="*/ 2712911 h 63071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3229379" h="6307128">
                <a:moveTo>
                  <a:pt x="3229379" y="0"/>
                </a:moveTo>
                <a:lnTo>
                  <a:pt x="3229379" y="3598208"/>
                </a:lnTo>
                <a:lnTo>
                  <a:pt x="3229379" y="3808777"/>
                </a:lnTo>
                <a:lnTo>
                  <a:pt x="3229379" y="6307128"/>
                </a:lnTo>
                <a:lnTo>
                  <a:pt x="636271" y="6307128"/>
                </a:lnTo>
                <a:lnTo>
                  <a:pt x="1" y="6307128"/>
                </a:lnTo>
                <a:lnTo>
                  <a:pt x="0" y="6307128"/>
                </a:lnTo>
                <a:lnTo>
                  <a:pt x="0" y="3598208"/>
                </a:lnTo>
                <a:lnTo>
                  <a:pt x="4610" y="3598208"/>
                </a:lnTo>
                <a:lnTo>
                  <a:pt x="8249" y="3544634"/>
                </a:lnTo>
                <a:cubicBezTo>
                  <a:pt x="46104" y="3251619"/>
                  <a:pt x="209785" y="2901412"/>
                  <a:pt x="405979" y="2712911"/>
                </a:cubicBezTo>
                <a:close/>
              </a:path>
            </a:pathLst>
          </a:custGeom>
          <a:solidFill>
            <a:schemeClr val="accent2">
              <a:alpha val="60000"/>
            </a:schemeClr>
          </a:solidFill>
        </p:spPr>
        <p:txBody>
          <a:bodyPr wrap="square" anchor="ctr">
            <a:noAutofit/>
          </a:bodyPr>
          <a:lstStyle>
            <a:lvl1pPr algn="ctr">
              <a:defRPr sz="100">
                <a:solidFill>
                  <a:schemeClr val="accent2">
                    <a:alpha val="0"/>
                  </a:schemeClr>
                </a:solidFill>
              </a:defRPr>
            </a:lvl1pPr>
          </a:lstStyle>
          <a:p>
            <a:pPr lvl="0"/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703AE73-0813-1AD7-3E72-C71BFF01092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DB84476-BC29-4407-9D57-B2E562B8968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9" name="Picture Placeholder 38">
            <a:extLst>
              <a:ext uri="{FF2B5EF4-FFF2-40B4-BE49-F238E27FC236}">
                <a16:creationId xmlns:a16="http://schemas.microsoft.com/office/drawing/2014/main" id="{715722DB-F61B-6C39-37DD-C0C553D1D886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9707532" y="4401248"/>
            <a:ext cx="2484468" cy="2456753"/>
          </a:xfrm>
          <a:custGeom>
            <a:avLst/>
            <a:gdLst>
              <a:gd name="connsiteX0" fmla="*/ 2484468 w 2484468"/>
              <a:gd name="connsiteY0" fmla="*/ 0 h 2456753"/>
              <a:gd name="connsiteX1" fmla="*/ 2484468 w 2484468"/>
              <a:gd name="connsiteY1" fmla="*/ 2220567 h 2456753"/>
              <a:gd name="connsiteX2" fmla="*/ 2239324 w 2484468"/>
              <a:gd name="connsiteY2" fmla="*/ 2456753 h 2456753"/>
              <a:gd name="connsiteX3" fmla="*/ 0 w 2484468"/>
              <a:gd name="connsiteY3" fmla="*/ 2456753 h 2456753"/>
              <a:gd name="connsiteX4" fmla="*/ 46749 w 2484468"/>
              <a:gd name="connsiteY4" fmla="*/ 2368128 h 2456753"/>
              <a:gd name="connsiteX5" fmla="*/ 138956 w 2484468"/>
              <a:gd name="connsiteY5" fmla="*/ 2253725 h 24567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484468" h="2456753">
                <a:moveTo>
                  <a:pt x="2484468" y="0"/>
                </a:moveTo>
                <a:lnTo>
                  <a:pt x="2484468" y="2220567"/>
                </a:lnTo>
                <a:lnTo>
                  <a:pt x="2239324" y="2456753"/>
                </a:lnTo>
                <a:lnTo>
                  <a:pt x="0" y="2456753"/>
                </a:lnTo>
                <a:lnTo>
                  <a:pt x="46749" y="2368128"/>
                </a:lnTo>
                <a:cubicBezTo>
                  <a:pt x="75089" y="2324278"/>
                  <a:pt x="106248" y="2285150"/>
                  <a:pt x="138956" y="2253725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algn="ctr">
              <a:defRPr sz="1200" b="0">
                <a:solidFill>
                  <a:schemeClr val="tx1"/>
                </a:solidFill>
              </a:defRPr>
            </a:lvl1pPr>
          </a:lstStyle>
          <a:p>
            <a:endParaRPr lang="en-GB"/>
          </a:p>
        </p:txBody>
      </p:sp>
      <p:sp>
        <p:nvSpPr>
          <p:cNvPr id="43" name="Picture Placeholder 42">
            <a:extLst>
              <a:ext uri="{FF2B5EF4-FFF2-40B4-BE49-F238E27FC236}">
                <a16:creationId xmlns:a16="http://schemas.microsoft.com/office/drawing/2014/main" id="{5242917A-7E8E-CC33-6FC8-7965D64F358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474709" y="260208"/>
            <a:ext cx="3456388" cy="5010292"/>
          </a:xfrm>
          <a:custGeom>
            <a:avLst/>
            <a:gdLst>
              <a:gd name="connsiteX0" fmla="*/ 103350 w 3456388"/>
              <a:gd name="connsiteY0" fmla="*/ 29 h 5010292"/>
              <a:gd name="connsiteX1" fmla="*/ 235548 w 3456388"/>
              <a:gd name="connsiteY1" fmla="*/ 71195 h 5010292"/>
              <a:gd name="connsiteX2" fmla="*/ 3219504 w 3456388"/>
              <a:gd name="connsiteY2" fmla="*/ 2938380 h 5010292"/>
              <a:gd name="connsiteX3" fmla="*/ 3456388 w 3456388"/>
              <a:gd name="connsiteY3" fmla="*/ 3494538 h 5010292"/>
              <a:gd name="connsiteX4" fmla="*/ 3456388 w 3456388"/>
              <a:gd name="connsiteY4" fmla="*/ 5010292 h 5010292"/>
              <a:gd name="connsiteX5" fmla="*/ 3058902 w 3456388"/>
              <a:gd name="connsiteY5" fmla="*/ 5010292 h 5010292"/>
              <a:gd name="connsiteX6" fmla="*/ 244256 w 3456388"/>
              <a:gd name="connsiteY6" fmla="*/ 2298498 h 5010292"/>
              <a:gd name="connsiteX7" fmla="*/ 6258 w 3456388"/>
              <a:gd name="connsiteY7" fmla="*/ 1742123 h 5010292"/>
              <a:gd name="connsiteX8" fmla="*/ 4 w 3456388"/>
              <a:gd name="connsiteY8" fmla="*/ 172114 h 5010292"/>
              <a:gd name="connsiteX9" fmla="*/ 103350 w 3456388"/>
              <a:gd name="connsiteY9" fmla="*/ 29 h 50102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456388" h="5010292">
                <a:moveTo>
                  <a:pt x="103350" y="29"/>
                </a:moveTo>
                <a:cubicBezTo>
                  <a:pt x="141003" y="941"/>
                  <a:pt x="186486" y="24059"/>
                  <a:pt x="235548" y="71195"/>
                </a:cubicBezTo>
                <a:lnTo>
                  <a:pt x="3219504" y="2938380"/>
                </a:lnTo>
                <a:cubicBezTo>
                  <a:pt x="3350335" y="3064081"/>
                  <a:pt x="3456388" y="3313019"/>
                  <a:pt x="3456388" y="3494538"/>
                </a:cubicBezTo>
                <a:lnTo>
                  <a:pt x="3456388" y="5010292"/>
                </a:lnTo>
                <a:lnTo>
                  <a:pt x="3058902" y="5010292"/>
                </a:lnTo>
                <a:lnTo>
                  <a:pt x="244256" y="2298498"/>
                </a:lnTo>
                <a:cubicBezTo>
                  <a:pt x="113647" y="2172580"/>
                  <a:pt x="6258" y="1923637"/>
                  <a:pt x="6258" y="1742123"/>
                </a:cubicBezTo>
                <a:lnTo>
                  <a:pt x="4" y="172114"/>
                </a:lnTo>
                <a:cubicBezTo>
                  <a:pt x="-415" y="58667"/>
                  <a:pt x="40594" y="-1492"/>
                  <a:pt x="103350" y="29"/>
                </a:cubicBezTo>
                <a:close/>
              </a:path>
            </a:pathLst>
          </a:custGeom>
          <a:solidFill>
            <a:schemeClr val="bg2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 sz="1200" b="0">
                <a:solidFill>
                  <a:schemeClr val="tx1"/>
                </a:solidFill>
              </a:defRPr>
            </a:lvl1pPr>
          </a:lstStyle>
          <a:p>
            <a:endParaRPr lang="en-GB"/>
          </a:p>
        </p:txBody>
      </p:sp>
      <p:sp>
        <p:nvSpPr>
          <p:cNvPr id="40" name="Picture Placeholder 39">
            <a:extLst>
              <a:ext uri="{FF2B5EF4-FFF2-40B4-BE49-F238E27FC236}">
                <a16:creationId xmlns:a16="http://schemas.microsoft.com/office/drawing/2014/main" id="{4A07A8FF-6971-1482-F56C-D08A356688C0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7129317" y="2749082"/>
            <a:ext cx="4032451" cy="4108918"/>
          </a:xfrm>
          <a:custGeom>
            <a:avLst/>
            <a:gdLst>
              <a:gd name="connsiteX0" fmla="*/ 3911878 w 4032451"/>
              <a:gd name="connsiteY0" fmla="*/ 33 h 4108918"/>
              <a:gd name="connsiteX1" fmla="*/ 4032448 w 4032451"/>
              <a:gd name="connsiteY1" fmla="*/ 200799 h 4108918"/>
              <a:gd name="connsiteX2" fmla="*/ 4025153 w 4032451"/>
              <a:gd name="connsiteY2" fmla="*/ 2032476 h 4108918"/>
              <a:gd name="connsiteX3" fmla="*/ 3747489 w 4032451"/>
              <a:gd name="connsiteY3" fmla="*/ 2681580 h 4108918"/>
              <a:gd name="connsiteX4" fmla="*/ 2266015 w 4032451"/>
              <a:gd name="connsiteY4" fmla="*/ 4108918 h 4108918"/>
              <a:gd name="connsiteX5" fmla="*/ 0 w 4032451"/>
              <a:gd name="connsiteY5" fmla="*/ 4108918 h 4108918"/>
              <a:gd name="connsiteX6" fmla="*/ 0 w 4032451"/>
              <a:gd name="connsiteY6" fmla="*/ 4076960 h 4108918"/>
              <a:gd name="connsiteX7" fmla="*/ 276365 w 4032451"/>
              <a:gd name="connsiteY7" fmla="*/ 3428109 h 4108918"/>
              <a:gd name="connsiteX8" fmla="*/ 3757647 w 4032451"/>
              <a:gd name="connsiteY8" fmla="*/ 83061 h 4108918"/>
              <a:gd name="connsiteX9" fmla="*/ 3911878 w 4032451"/>
              <a:gd name="connsiteY9" fmla="*/ 33 h 41089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4032451" h="4108918">
                <a:moveTo>
                  <a:pt x="3911878" y="33"/>
                </a:moveTo>
                <a:cubicBezTo>
                  <a:pt x="3985094" y="-1741"/>
                  <a:pt x="4032937" y="68445"/>
                  <a:pt x="4032448" y="200799"/>
                </a:cubicBezTo>
                <a:lnTo>
                  <a:pt x="4025153" y="2032476"/>
                </a:lnTo>
                <a:cubicBezTo>
                  <a:pt x="4025153" y="2244242"/>
                  <a:pt x="3899866" y="2534676"/>
                  <a:pt x="3747489" y="2681580"/>
                </a:cubicBezTo>
                <a:lnTo>
                  <a:pt x="2266015" y="4108918"/>
                </a:lnTo>
                <a:lnTo>
                  <a:pt x="0" y="4108918"/>
                </a:lnTo>
                <a:lnTo>
                  <a:pt x="0" y="4076960"/>
                </a:lnTo>
                <a:cubicBezTo>
                  <a:pt x="0" y="3865188"/>
                  <a:pt x="123729" y="3574760"/>
                  <a:pt x="276365" y="3428109"/>
                </a:cubicBezTo>
                <a:lnTo>
                  <a:pt x="3757647" y="83061"/>
                </a:lnTo>
                <a:cubicBezTo>
                  <a:pt x="3814886" y="28069"/>
                  <a:pt x="3867949" y="1098"/>
                  <a:pt x="3911878" y="33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</p:spPr>
        <p:txBody>
          <a:bodyPr wrap="square" anchor="ctr">
            <a:noAutofit/>
          </a:bodyPr>
          <a:lstStyle>
            <a:lvl1pPr algn="ctr">
              <a:defRPr sz="1200" b="0">
                <a:solidFill>
                  <a:schemeClr val="tx1"/>
                </a:solidFill>
              </a:defRPr>
            </a:lvl1pPr>
          </a:lstStyle>
          <a:p>
            <a:endParaRPr lang="en-GB"/>
          </a:p>
        </p:txBody>
      </p:sp>
      <p:sp>
        <p:nvSpPr>
          <p:cNvPr id="126" name="Text Placeholder 125">
            <a:extLst>
              <a:ext uri="{FF2B5EF4-FFF2-40B4-BE49-F238E27FC236}">
                <a16:creationId xmlns:a16="http://schemas.microsoft.com/office/drawing/2014/main" id="{1BAA0479-3CF9-2EEE-785C-8BC352D3FE2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2" y="909496"/>
            <a:ext cx="2870583" cy="5948505"/>
          </a:xfrm>
          <a:custGeom>
            <a:avLst/>
            <a:gdLst>
              <a:gd name="connsiteX0" fmla="*/ 2685589 w 2870583"/>
              <a:gd name="connsiteY0" fmla="*/ 55 h 5948505"/>
              <a:gd name="connsiteX1" fmla="*/ 2870583 w 2870583"/>
              <a:gd name="connsiteY1" fmla="*/ 305049 h 5948505"/>
              <a:gd name="connsiteX2" fmla="*/ 2870583 w 2870583"/>
              <a:gd name="connsiteY2" fmla="*/ 3090079 h 5948505"/>
              <a:gd name="connsiteX3" fmla="*/ 2450374 w 2870583"/>
              <a:gd name="connsiteY3" fmla="*/ 4076647 h 5948505"/>
              <a:gd name="connsiteX4" fmla="*/ 502282 w 2870583"/>
              <a:gd name="connsiteY4" fmla="*/ 5948505 h 5948505"/>
              <a:gd name="connsiteX5" fmla="*/ 0 w 2870583"/>
              <a:gd name="connsiteY5" fmla="*/ 5948505 h 5948505"/>
              <a:gd name="connsiteX6" fmla="*/ 0 w 2870583"/>
              <a:gd name="connsiteY6" fmla="*/ 2487636 h 5948505"/>
              <a:gd name="connsiteX7" fmla="*/ 2450768 w 2870583"/>
              <a:gd name="connsiteY7" fmla="*/ 126424 h 5948505"/>
              <a:gd name="connsiteX8" fmla="*/ 2685589 w 2870583"/>
              <a:gd name="connsiteY8" fmla="*/ 55 h 59485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870583" h="5948505">
                <a:moveTo>
                  <a:pt x="2685589" y="55"/>
                </a:moveTo>
                <a:cubicBezTo>
                  <a:pt x="2797249" y="-2761"/>
                  <a:pt x="2870583" y="103801"/>
                  <a:pt x="2870583" y="305049"/>
                </a:cubicBezTo>
                <a:lnTo>
                  <a:pt x="2870583" y="3090079"/>
                </a:lnTo>
                <a:cubicBezTo>
                  <a:pt x="2870583" y="3412076"/>
                  <a:pt x="2682455" y="3853667"/>
                  <a:pt x="2450374" y="4076647"/>
                </a:cubicBezTo>
                <a:lnTo>
                  <a:pt x="502282" y="5948505"/>
                </a:lnTo>
                <a:lnTo>
                  <a:pt x="0" y="5948505"/>
                </a:lnTo>
                <a:lnTo>
                  <a:pt x="0" y="2487636"/>
                </a:lnTo>
                <a:lnTo>
                  <a:pt x="2450768" y="126424"/>
                </a:lnTo>
                <a:cubicBezTo>
                  <a:pt x="2537798" y="42809"/>
                  <a:pt x="2618592" y="1744"/>
                  <a:pt x="2685589" y="55"/>
                </a:cubicBezTo>
                <a:close/>
              </a:path>
            </a:pathLst>
          </a:custGeom>
          <a:solidFill>
            <a:srgbClr val="CBD300">
              <a:alpha val="20000"/>
            </a:srgbClr>
          </a:solidFill>
        </p:spPr>
        <p:txBody>
          <a:bodyPr wrap="square" anchor="ctr">
            <a:noAutofit/>
          </a:bodyPr>
          <a:lstStyle>
            <a:lvl1pPr algn="ctr">
              <a:defRPr sz="100">
                <a:solidFill>
                  <a:srgbClr val="CBD300">
                    <a:alpha val="0"/>
                  </a:srgbClr>
                </a:solidFill>
              </a:defRPr>
            </a:lvl1pPr>
          </a:lstStyle>
          <a:p>
            <a:pPr lvl="0"/>
            <a:endParaRPr lang="en-GB"/>
          </a:p>
        </p:txBody>
      </p:sp>
      <p:sp>
        <p:nvSpPr>
          <p:cNvPr id="127" name="Text Placeholder 16">
            <a:extLst>
              <a:ext uri="{FF2B5EF4-FFF2-40B4-BE49-F238E27FC236}">
                <a16:creationId xmlns:a16="http://schemas.microsoft.com/office/drawing/2014/main" id="{DED43CDE-8825-7B84-10F8-B5878BE7F4E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118004" y="1764973"/>
            <a:ext cx="7085111" cy="202837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28" name="Title 6">
            <a:extLst>
              <a:ext uri="{FF2B5EF4-FFF2-40B4-BE49-F238E27FC236}">
                <a16:creationId xmlns:a16="http://schemas.microsoft.com/office/drawing/2014/main" id="{92A898D0-CA5F-6642-1485-0E937CBB1A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18439" y="332657"/>
            <a:ext cx="7084676" cy="126248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8" name="Picture Placeholder 37">
            <a:extLst>
              <a:ext uri="{FF2B5EF4-FFF2-40B4-BE49-F238E27FC236}">
                <a16:creationId xmlns:a16="http://schemas.microsoft.com/office/drawing/2014/main" id="{1D16556E-5ACE-BAC5-E36D-613DAEF1D27C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4896757" y="4015034"/>
            <a:ext cx="3120203" cy="2842967"/>
          </a:xfrm>
          <a:custGeom>
            <a:avLst/>
            <a:gdLst>
              <a:gd name="connsiteX0" fmla="*/ 3016855 w 3120203"/>
              <a:gd name="connsiteY0" fmla="*/ 29 h 2842967"/>
              <a:gd name="connsiteX1" fmla="*/ 3120200 w 3120203"/>
              <a:gd name="connsiteY1" fmla="*/ 172113 h 2842967"/>
              <a:gd name="connsiteX2" fmla="*/ 3113947 w 3120203"/>
              <a:gd name="connsiteY2" fmla="*/ 1742123 h 2842967"/>
              <a:gd name="connsiteX3" fmla="*/ 2875949 w 3120203"/>
              <a:gd name="connsiteY3" fmla="*/ 2298497 h 2842967"/>
              <a:gd name="connsiteX4" fmla="*/ 2310829 w 3120203"/>
              <a:gd name="connsiteY4" fmla="*/ 2842967 h 2842967"/>
              <a:gd name="connsiteX5" fmla="*/ 0 w 3120203"/>
              <a:gd name="connsiteY5" fmla="*/ 2842967 h 2842967"/>
              <a:gd name="connsiteX6" fmla="*/ 2884657 w 3120203"/>
              <a:gd name="connsiteY6" fmla="*/ 71195 h 2842967"/>
              <a:gd name="connsiteX7" fmla="*/ 3016855 w 3120203"/>
              <a:gd name="connsiteY7" fmla="*/ 29 h 28429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120203" h="2842967">
                <a:moveTo>
                  <a:pt x="3016855" y="29"/>
                </a:moveTo>
                <a:cubicBezTo>
                  <a:pt x="3079611" y="-1493"/>
                  <a:pt x="3120619" y="58667"/>
                  <a:pt x="3120200" y="172113"/>
                </a:cubicBezTo>
                <a:lnTo>
                  <a:pt x="3113947" y="1742123"/>
                </a:lnTo>
                <a:cubicBezTo>
                  <a:pt x="3113947" y="1923637"/>
                  <a:pt x="3006558" y="2172580"/>
                  <a:pt x="2875949" y="2298497"/>
                </a:cubicBezTo>
                <a:lnTo>
                  <a:pt x="2310829" y="2842967"/>
                </a:lnTo>
                <a:lnTo>
                  <a:pt x="0" y="2842967"/>
                </a:lnTo>
                <a:lnTo>
                  <a:pt x="2884657" y="71195"/>
                </a:lnTo>
                <a:cubicBezTo>
                  <a:pt x="2933718" y="24059"/>
                  <a:pt x="2979201" y="941"/>
                  <a:pt x="3016855" y="29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algn="ctr">
              <a:defRPr sz="1200" b="0">
                <a:solidFill>
                  <a:schemeClr val="tx1"/>
                </a:solidFill>
              </a:defRPr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4392019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1">
    <p:bg>
      <p:bgPr>
        <a:solidFill>
          <a:srgbClr val="27257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703AE73-0813-1AD7-3E72-C71BFF01092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DB84476-BC29-4407-9D57-B2E562B8968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B758A17F-5411-922C-DAE5-0FD693301FE2}"/>
              </a:ext>
            </a:extLst>
          </p:cNvPr>
          <p:cNvSpPr/>
          <p:nvPr userDrawn="1"/>
        </p:nvSpPr>
        <p:spPr>
          <a:xfrm>
            <a:off x="0" y="926271"/>
            <a:ext cx="5355203" cy="5931729"/>
          </a:xfrm>
          <a:custGeom>
            <a:avLst/>
            <a:gdLst>
              <a:gd name="connsiteX0" fmla="*/ 5186481 w 5355203"/>
              <a:gd name="connsiteY0" fmla="*/ 50 h 5931729"/>
              <a:gd name="connsiteX1" fmla="*/ 5355203 w 5355203"/>
              <a:gd name="connsiteY1" fmla="*/ 278216 h 5931729"/>
              <a:gd name="connsiteX2" fmla="*/ 5355203 w 5355203"/>
              <a:gd name="connsiteY2" fmla="*/ 2818263 h 5931729"/>
              <a:gd name="connsiteX3" fmla="*/ 4971958 w 5355203"/>
              <a:gd name="connsiteY3" fmla="*/ 3718048 h 5931729"/>
              <a:gd name="connsiteX4" fmla="*/ 2668121 w 5355203"/>
              <a:gd name="connsiteY4" fmla="*/ 5931729 h 5931729"/>
              <a:gd name="connsiteX5" fmla="*/ 0 w 5355203"/>
              <a:gd name="connsiteY5" fmla="*/ 5931729 h 5931729"/>
              <a:gd name="connsiteX6" fmla="*/ 0 w 5355203"/>
              <a:gd name="connsiteY6" fmla="*/ 4954140 h 5931729"/>
              <a:gd name="connsiteX7" fmla="*/ 9114 w 5355203"/>
              <a:gd name="connsiteY7" fmla="*/ 4938582 h 5931729"/>
              <a:gd name="connsiteX8" fmla="*/ 158423 w 5355203"/>
              <a:gd name="connsiteY8" fmla="*/ 4753289 h 5931729"/>
              <a:gd name="connsiteX9" fmla="*/ 4972316 w 5355203"/>
              <a:gd name="connsiteY9" fmla="*/ 115303 h 5931729"/>
              <a:gd name="connsiteX10" fmla="*/ 5186481 w 5355203"/>
              <a:gd name="connsiteY10" fmla="*/ 50 h 59317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5355203" h="5931729">
                <a:moveTo>
                  <a:pt x="5186481" y="50"/>
                </a:moveTo>
                <a:cubicBezTo>
                  <a:pt x="5288320" y="-2518"/>
                  <a:pt x="5355203" y="94671"/>
                  <a:pt x="5355203" y="278216"/>
                </a:cubicBezTo>
                <a:lnTo>
                  <a:pt x="5355203" y="2818263"/>
                </a:lnTo>
                <a:cubicBezTo>
                  <a:pt x="5355203" y="3111935"/>
                  <a:pt x="5183624" y="3514682"/>
                  <a:pt x="4971958" y="3718048"/>
                </a:cubicBezTo>
                <a:lnTo>
                  <a:pt x="2668121" y="5931729"/>
                </a:lnTo>
                <a:lnTo>
                  <a:pt x="0" y="5931729"/>
                </a:lnTo>
                <a:lnTo>
                  <a:pt x="0" y="4954140"/>
                </a:lnTo>
                <a:lnTo>
                  <a:pt x="9114" y="4938582"/>
                </a:lnTo>
                <a:cubicBezTo>
                  <a:pt x="55118" y="4867587"/>
                  <a:pt x="105596" y="4804218"/>
                  <a:pt x="158423" y="4753289"/>
                </a:cubicBezTo>
                <a:lnTo>
                  <a:pt x="4972316" y="115303"/>
                </a:lnTo>
                <a:cubicBezTo>
                  <a:pt x="5051691" y="39043"/>
                  <a:pt x="5125378" y="1591"/>
                  <a:pt x="5186481" y="50"/>
                </a:cubicBezTo>
                <a:close/>
              </a:path>
            </a:pathLst>
          </a:custGeom>
          <a:solidFill>
            <a:srgbClr val="7E003F">
              <a:alpha val="50000"/>
            </a:srgbClr>
          </a:solidFill>
          <a:ln w="4630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GB"/>
          </a:p>
        </p:txBody>
      </p:sp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162C6DF5-C2E4-83DF-706D-331B56D36977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1034544" y="-27384"/>
            <a:ext cx="8765153" cy="6885385"/>
          </a:xfrm>
          <a:custGeom>
            <a:avLst/>
            <a:gdLst>
              <a:gd name="connsiteX0" fmla="*/ 7083139 w 8765153"/>
              <a:gd name="connsiteY0" fmla="*/ 0 h 6824309"/>
              <a:gd name="connsiteX1" fmla="*/ 8765153 w 8765153"/>
              <a:gd name="connsiteY1" fmla="*/ 0 h 6824309"/>
              <a:gd name="connsiteX2" fmla="*/ 8765153 w 8765153"/>
              <a:gd name="connsiteY2" fmla="*/ 5076952 h 6824309"/>
              <a:gd name="connsiteX3" fmla="*/ 8254822 w 8765153"/>
              <a:gd name="connsiteY3" fmla="*/ 6635190 h 6824309"/>
              <a:gd name="connsiteX4" fmla="*/ 8118882 w 8765153"/>
              <a:gd name="connsiteY4" fmla="*/ 6824309 h 6824309"/>
              <a:gd name="connsiteX5" fmla="*/ 0 w 8765153"/>
              <a:gd name="connsiteY5" fmla="*/ 6824309 h 68243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765153" h="6824309">
                <a:moveTo>
                  <a:pt x="7083139" y="0"/>
                </a:moveTo>
                <a:lnTo>
                  <a:pt x="8765153" y="0"/>
                </a:lnTo>
                <a:lnTo>
                  <a:pt x="8765153" y="5076952"/>
                </a:lnTo>
                <a:cubicBezTo>
                  <a:pt x="8765153" y="5557168"/>
                  <a:pt x="8554727" y="6171153"/>
                  <a:pt x="8254822" y="6635190"/>
                </a:cubicBezTo>
                <a:lnTo>
                  <a:pt x="8118882" y="6824309"/>
                </a:lnTo>
                <a:lnTo>
                  <a:pt x="0" y="6824309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algn="r">
              <a:defRPr b="0"/>
            </a:lvl1pPr>
          </a:lstStyle>
          <a:p>
            <a:endParaRPr lang="en-GB"/>
          </a:p>
        </p:txBody>
      </p:sp>
      <p:sp>
        <p:nvSpPr>
          <p:cNvPr id="9" name="Freeform: Shape 8">
            <a:extLst>
              <a:ext uri="{FF2B5EF4-FFF2-40B4-BE49-F238E27FC236}">
                <a16:creationId xmlns:a16="http://schemas.microsoft.com/office/drawing/2014/main" id="{CAC4A753-06B1-6046-EC00-AFBCE66C2F6B}"/>
              </a:ext>
            </a:extLst>
          </p:cNvPr>
          <p:cNvSpPr/>
          <p:nvPr userDrawn="1"/>
        </p:nvSpPr>
        <p:spPr>
          <a:xfrm>
            <a:off x="2279576" y="1124744"/>
            <a:ext cx="1885142" cy="2856035"/>
          </a:xfrm>
          <a:custGeom>
            <a:avLst/>
            <a:gdLst>
              <a:gd name="connsiteX0" fmla="*/ 1805 w 716872"/>
              <a:gd name="connsiteY0" fmla="*/ 724844 h 1086078"/>
              <a:gd name="connsiteX1" fmla="*/ 51167 w 716872"/>
              <a:gd name="connsiteY1" fmla="*/ 609449 h 1086078"/>
              <a:gd name="connsiteX2" fmla="*/ 668295 w 716872"/>
              <a:gd name="connsiteY2" fmla="*/ 14872 h 1086078"/>
              <a:gd name="connsiteX3" fmla="*/ 717380 w 716872"/>
              <a:gd name="connsiteY3" fmla="*/ 35757 h 1086078"/>
              <a:gd name="connsiteX4" fmla="*/ 717380 w 716872"/>
              <a:gd name="connsiteY4" fmla="*/ 361384 h 1086078"/>
              <a:gd name="connsiteX5" fmla="*/ 668249 w 716872"/>
              <a:gd name="connsiteY5" fmla="*/ 476734 h 1086078"/>
              <a:gd name="connsiteX6" fmla="*/ 49361 w 716872"/>
              <a:gd name="connsiteY6" fmla="*/ 1071403 h 1086078"/>
              <a:gd name="connsiteX7" fmla="*/ 508 w 716872"/>
              <a:gd name="connsiteY7" fmla="*/ 1050472 h 1086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16872" h="1086078">
                <a:moveTo>
                  <a:pt x="1805" y="724844"/>
                </a:moveTo>
                <a:cubicBezTo>
                  <a:pt x="1805" y="687197"/>
                  <a:pt x="24078" y="635565"/>
                  <a:pt x="51167" y="609449"/>
                </a:cubicBezTo>
                <a:lnTo>
                  <a:pt x="668295" y="14872"/>
                </a:lnTo>
                <a:cubicBezTo>
                  <a:pt x="695430" y="-11198"/>
                  <a:pt x="717380" y="-1891"/>
                  <a:pt x="717380" y="35757"/>
                </a:cubicBezTo>
                <a:lnTo>
                  <a:pt x="717380" y="361384"/>
                </a:lnTo>
                <a:cubicBezTo>
                  <a:pt x="717380" y="399032"/>
                  <a:pt x="695384" y="450663"/>
                  <a:pt x="668249" y="476734"/>
                </a:cubicBezTo>
                <a:lnTo>
                  <a:pt x="49361" y="1071403"/>
                </a:lnTo>
                <a:cubicBezTo>
                  <a:pt x="22226" y="1097473"/>
                  <a:pt x="369" y="1088119"/>
                  <a:pt x="508" y="1050472"/>
                </a:cubicBezTo>
                <a:close/>
              </a:path>
            </a:pathLst>
          </a:custGeom>
          <a:solidFill>
            <a:schemeClr val="accent4">
              <a:alpha val="50000"/>
            </a:schemeClr>
          </a:solidFill>
          <a:ln w="4630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121" name="Text Placeholder 120">
            <a:extLst>
              <a:ext uri="{FF2B5EF4-FFF2-40B4-BE49-F238E27FC236}">
                <a16:creationId xmlns:a16="http://schemas.microsoft.com/office/drawing/2014/main" id="{5AD9F435-A7F4-4F99-4CFF-20A81BD375E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773123" y="1633525"/>
            <a:ext cx="3384379" cy="5127414"/>
          </a:xfrm>
          <a:custGeom>
            <a:avLst/>
            <a:gdLst>
              <a:gd name="connsiteX0" fmla="*/ 102114 w 3384379"/>
              <a:gd name="connsiteY0" fmla="*/ 31 h 5127414"/>
              <a:gd name="connsiteX1" fmla="*/ 231732 w 3384379"/>
              <a:gd name="connsiteY1" fmla="*/ 69784 h 5127414"/>
              <a:gd name="connsiteX2" fmla="*/ 3145213 w 3384379"/>
              <a:gd name="connsiteY2" fmla="*/ 2876802 h 5127414"/>
              <a:gd name="connsiteX3" fmla="*/ 3378253 w 3384379"/>
              <a:gd name="connsiteY3" fmla="*/ 3421586 h 5127414"/>
              <a:gd name="connsiteX4" fmla="*/ 3384376 w 3384379"/>
              <a:gd name="connsiteY4" fmla="*/ 4958887 h 5127414"/>
              <a:gd name="connsiteX5" fmla="*/ 3153739 w 3384379"/>
              <a:gd name="connsiteY5" fmla="*/ 5057703 h 5127414"/>
              <a:gd name="connsiteX6" fmla="*/ 231949 w 3384379"/>
              <a:gd name="connsiteY6" fmla="*/ 2250250 h 5127414"/>
              <a:gd name="connsiteX7" fmla="*/ 0 w 3384379"/>
              <a:gd name="connsiteY7" fmla="*/ 1705679 h 5127414"/>
              <a:gd name="connsiteX8" fmla="*/ 0 w 3384379"/>
              <a:gd name="connsiteY8" fmla="*/ 168383 h 5127414"/>
              <a:gd name="connsiteX9" fmla="*/ 102114 w 3384379"/>
              <a:gd name="connsiteY9" fmla="*/ 31 h 51274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384379" h="5127414">
                <a:moveTo>
                  <a:pt x="102114" y="31"/>
                </a:moveTo>
                <a:cubicBezTo>
                  <a:pt x="139095" y="963"/>
                  <a:pt x="183692" y="23630"/>
                  <a:pt x="231732" y="69784"/>
                </a:cubicBezTo>
                <a:lnTo>
                  <a:pt x="3145213" y="2876802"/>
                </a:lnTo>
                <a:cubicBezTo>
                  <a:pt x="3273101" y="3000097"/>
                  <a:pt x="3378253" y="3243853"/>
                  <a:pt x="3378253" y="3421586"/>
                </a:cubicBezTo>
                <a:lnTo>
                  <a:pt x="3384376" y="4958887"/>
                </a:lnTo>
                <a:cubicBezTo>
                  <a:pt x="3385032" y="5136620"/>
                  <a:pt x="3281845" y="5180780"/>
                  <a:pt x="3153739" y="5057703"/>
                </a:cubicBezTo>
                <a:lnTo>
                  <a:pt x="231949" y="2250250"/>
                </a:lnTo>
                <a:cubicBezTo>
                  <a:pt x="103844" y="2127168"/>
                  <a:pt x="0" y="1883417"/>
                  <a:pt x="0" y="1705679"/>
                </a:cubicBezTo>
                <a:lnTo>
                  <a:pt x="0" y="168383"/>
                </a:lnTo>
                <a:cubicBezTo>
                  <a:pt x="0" y="57297"/>
                  <a:pt x="40479" y="-1524"/>
                  <a:pt x="102114" y="31"/>
                </a:cubicBezTo>
                <a:close/>
              </a:path>
            </a:pathLst>
          </a:custGeom>
          <a:solidFill>
            <a:srgbClr val="38B6AB">
              <a:alpha val="40000"/>
            </a:srgbClr>
          </a:solidFill>
        </p:spPr>
        <p:txBody>
          <a:bodyPr wrap="square" anchor="ctr">
            <a:noAutofit/>
          </a:bodyPr>
          <a:lstStyle>
            <a:lvl1pPr algn="ctr">
              <a:defRPr sz="100">
                <a:solidFill>
                  <a:schemeClr val="accent2">
                    <a:alpha val="0"/>
                  </a:schemeClr>
                </a:solidFill>
              </a:defRPr>
            </a:lvl1pPr>
          </a:lstStyle>
          <a:p>
            <a:pPr lvl="0"/>
            <a:endParaRPr lang="en-GB"/>
          </a:p>
        </p:txBody>
      </p:sp>
      <p:sp>
        <p:nvSpPr>
          <p:cNvPr id="18" name="Text Placeholder 16">
            <a:extLst>
              <a:ext uri="{FF2B5EF4-FFF2-40B4-BE49-F238E27FC236}">
                <a16:creationId xmlns:a16="http://schemas.microsoft.com/office/drawing/2014/main" id="{0ACC4E2B-F090-66AC-388C-54C827EFCB8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23889" y="2636913"/>
            <a:ext cx="10944224" cy="1584176"/>
          </a:xfrm>
        </p:spPr>
        <p:txBody>
          <a:bodyPr anchor="ctr">
            <a:noAutofit/>
          </a:bodyPr>
          <a:lstStyle>
            <a:lvl1pPr algn="ctr">
              <a:defRPr sz="6600">
                <a:solidFill>
                  <a:schemeClr val="bg1"/>
                </a:solidFill>
              </a:defRPr>
            </a:lvl1pPr>
            <a:lvl2pPr algn="ctr">
              <a:defRPr sz="8000" b="1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1"/>
            <a:r>
              <a:rPr lang="en-US"/>
              <a:t>Enter title he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6722273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decel="10000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8" decel="10000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1" decel="10000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1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121">
                                            <p:bg/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121">
                                            <p:bg/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2" presetClass="entr" presetSubtype="1" decel="100000" fill="hold" grpId="0" nodeType="withEffect" nodePh="1">
                                  <p:stCondLst>
                                    <p:cond delay="750"/>
                                  </p:stCondLst>
                                  <p:endCondLst>
                                    <p:cond evt="begin" delay="0">
                                      <p:tn val="21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1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1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1250"/>
                            </p:stCondLst>
                            <p:childTnLst>
                              <p:par>
                                <p:cTn id="26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iterate type="lt">
                                    <p:tmPct val="5000"/>
                                  </p:iterate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 animBg="1"/>
      <p:bldP spid="16" grpId="0" animBg="1"/>
      <p:bldP spid="9" grpId="0" animBg="1"/>
      <p:bldP spid="121" grpId="0" uiExpand="1" build="p" animBg="1">
        <p:tmplLst>
          <p:tmpl>
            <p:tnLst>
              <p:par>
                <p:cTn presetID="2" presetClass="entr" presetSubtype="1" decel="10000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121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121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0-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  <p:tmpl lvl="1">
            <p:tnLst>
              <p:par>
                <p:cTn presetID="2" presetClass="entr" presetSubtype="1" decel="100000" fill="hold" nodeType="withEffect" nodePh="1">
                  <p:stCondLst>
                    <p:cond delay="750"/>
                  </p:stCondLst>
                  <p:endCondLst>
                    <p:cond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121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121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0-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8" grpId="0" build="p">
        <p:tmplLst>
          <p:tmpl lvl="2"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iterate type="lt">
                    <p:tmPct val="5000"/>
                  </p:iterate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8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>
            <a:extLst>
              <a:ext uri="{FF2B5EF4-FFF2-40B4-BE49-F238E27FC236}">
                <a16:creationId xmlns:a16="http://schemas.microsoft.com/office/drawing/2014/main" id="{7B40599C-4C0F-475E-A2C1-B16A0CE599F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1635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4" progId="TCLayout.ActiveDocument.1">
                  <p:embed/>
                </p:oleObj>
              </mc:Choice>
              <mc:Fallback>
                <p:oleObj name="think-cell Slide" r:id="rId4" imgW="425" imgH="424" progId="TCLayout.ActiveDocument.1">
                  <p:embed/>
                  <p:pic>
                    <p:nvPicPr>
                      <p:cNvPr id="21" name="Object 20" hidden="1">
                        <a:extLst>
                          <a:ext uri="{FF2B5EF4-FFF2-40B4-BE49-F238E27FC236}">
                            <a16:creationId xmlns:a16="http://schemas.microsoft.com/office/drawing/2014/main" id="{7B40599C-4C0F-475E-A2C1-B16A0CE599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9" name="Text Placeholder 48">
            <a:extLst>
              <a:ext uri="{FF2B5EF4-FFF2-40B4-BE49-F238E27FC236}">
                <a16:creationId xmlns:a16="http://schemas.microsoft.com/office/drawing/2014/main" id="{AE49D000-408C-4824-9FA5-437F0857B16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714860" y="-2"/>
            <a:ext cx="5477141" cy="6858002"/>
          </a:xfrm>
          <a:custGeom>
            <a:avLst/>
            <a:gdLst>
              <a:gd name="connsiteX0" fmla="*/ 3986471 w 5477141"/>
              <a:gd name="connsiteY0" fmla="*/ 0 h 6858002"/>
              <a:gd name="connsiteX1" fmla="*/ 5477141 w 5477141"/>
              <a:gd name="connsiteY1" fmla="*/ 0 h 6858002"/>
              <a:gd name="connsiteX2" fmla="*/ 5477141 w 5477141"/>
              <a:gd name="connsiteY2" fmla="*/ 5978697 h 6858002"/>
              <a:gd name="connsiteX3" fmla="*/ 4566103 w 5477141"/>
              <a:gd name="connsiteY3" fmla="*/ 6858002 h 6858002"/>
              <a:gd name="connsiteX4" fmla="*/ 0 w 5477141"/>
              <a:gd name="connsiteY4" fmla="*/ 6858002 h 6858002"/>
              <a:gd name="connsiteX5" fmla="*/ 10973 w 5477141"/>
              <a:gd name="connsiteY5" fmla="*/ 4194085 h 6858002"/>
              <a:gd name="connsiteX6" fmla="*/ 262590 w 5477141"/>
              <a:gd name="connsiteY6" fmla="*/ 3603624 h 68580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477141" h="6858002">
                <a:moveTo>
                  <a:pt x="3986471" y="0"/>
                </a:moveTo>
                <a:lnTo>
                  <a:pt x="5477141" y="0"/>
                </a:lnTo>
                <a:lnTo>
                  <a:pt x="5477141" y="5978697"/>
                </a:lnTo>
                <a:lnTo>
                  <a:pt x="4566103" y="6858002"/>
                </a:lnTo>
                <a:lnTo>
                  <a:pt x="0" y="6858002"/>
                </a:lnTo>
                <a:lnTo>
                  <a:pt x="10973" y="4194085"/>
                </a:lnTo>
                <a:cubicBezTo>
                  <a:pt x="11711" y="4001686"/>
                  <a:pt x="124372" y="3737295"/>
                  <a:pt x="262590" y="3603624"/>
                </a:cubicBezTo>
                <a:close/>
              </a:path>
            </a:pathLst>
          </a:custGeom>
          <a:solidFill>
            <a:srgbClr val="97BE0D">
              <a:alpha val="40000"/>
            </a:srgbClr>
          </a:solidFill>
          <a:ln w="4539" cap="flat">
            <a:noFill/>
            <a:prstDash val="solid"/>
            <a:miter/>
          </a:ln>
        </p:spPr>
        <p:txBody>
          <a:bodyPr vert="horz" wrap="square" lIns="0" tIns="0" rIns="91440" bIns="0" rtlCol="0" anchor="ctr">
            <a:noAutofit/>
          </a:bodyPr>
          <a:lstStyle>
            <a:lvl1pPr>
              <a:defRPr lang="en-US" sz="100" smtClean="0">
                <a:solidFill>
                  <a:srgbClr val="92D7D1">
                    <a:alpha val="0"/>
                  </a:srgbClr>
                </a:solidFill>
                <a:latin typeface="+mn-lt"/>
                <a:cs typeface="+mn-cs"/>
              </a:defRPr>
            </a:lvl1pPr>
            <a:lvl2pPr>
              <a:defRPr lang="en-US" smtClean="0">
                <a:cs typeface="+mn-cs"/>
              </a:defRPr>
            </a:lvl2pPr>
            <a:lvl3pPr>
              <a:defRPr lang="en-US" smtClean="0">
                <a:cs typeface="+mn-cs"/>
              </a:defRPr>
            </a:lvl3pPr>
            <a:lvl4pPr>
              <a:defRPr lang="en-US" sz="1800" smtClean="0">
                <a:cs typeface="+mn-cs"/>
              </a:defRPr>
            </a:lvl4pPr>
            <a:lvl5pPr>
              <a:defRPr lang="en-GB" sz="1800">
                <a:cs typeface="+mn-cs"/>
              </a:defRPr>
            </a:lvl5pPr>
          </a:lstStyle>
          <a:p>
            <a:pPr lvl="0"/>
            <a:r>
              <a:rPr lang="en-US"/>
              <a:t>a</a:t>
            </a:r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CCF89D1-5F6C-4FE0-93BA-66FADB6912F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B84476-BC29-4407-9D57-B2E562B8968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8" name="Picture Placeholder 37">
            <a:extLst>
              <a:ext uri="{FF2B5EF4-FFF2-40B4-BE49-F238E27FC236}">
                <a16:creationId xmlns:a16="http://schemas.microsoft.com/office/drawing/2014/main" id="{93C09CD9-332B-46FA-AFE2-208CC7A75114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761482" y="300589"/>
            <a:ext cx="3430518" cy="5720327"/>
          </a:xfrm>
          <a:custGeom>
            <a:avLst/>
            <a:gdLst>
              <a:gd name="connsiteX0" fmla="*/ 117485 w 3430518"/>
              <a:gd name="connsiteY0" fmla="*/ 56 h 5720327"/>
              <a:gd name="connsiteX1" fmla="*/ 267840 w 3430518"/>
              <a:gd name="connsiteY1" fmla="*/ 82765 h 5720327"/>
              <a:gd name="connsiteX2" fmla="*/ 3430518 w 3430518"/>
              <a:gd name="connsiteY2" fmla="*/ 3169975 h 5720327"/>
              <a:gd name="connsiteX3" fmla="*/ 3430518 w 3430518"/>
              <a:gd name="connsiteY3" fmla="*/ 5720327 h 5720327"/>
              <a:gd name="connsiteX4" fmla="*/ 277667 w 3430518"/>
              <a:gd name="connsiteY4" fmla="*/ 2635413 h 5720327"/>
              <a:gd name="connsiteX5" fmla="*/ 7377 w 3430518"/>
              <a:gd name="connsiteY5" fmla="*/ 1995687 h 5720327"/>
              <a:gd name="connsiteX6" fmla="*/ 5 w 3430518"/>
              <a:gd name="connsiteY6" fmla="*/ 196289 h 5720327"/>
              <a:gd name="connsiteX7" fmla="*/ 117485 w 3430518"/>
              <a:gd name="connsiteY7" fmla="*/ 56 h 5720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430518" h="5720327">
                <a:moveTo>
                  <a:pt x="117485" y="56"/>
                </a:moveTo>
                <a:cubicBezTo>
                  <a:pt x="160312" y="1425"/>
                  <a:pt x="212046" y="28308"/>
                  <a:pt x="267840" y="82765"/>
                </a:cubicBezTo>
                <a:lnTo>
                  <a:pt x="3430518" y="3169975"/>
                </a:lnTo>
                <a:lnTo>
                  <a:pt x="3430518" y="5720327"/>
                </a:lnTo>
                <a:lnTo>
                  <a:pt x="277667" y="2635413"/>
                </a:lnTo>
                <a:cubicBezTo>
                  <a:pt x="129375" y="2489948"/>
                  <a:pt x="8237" y="2203562"/>
                  <a:pt x="7377" y="1995687"/>
                </a:cubicBezTo>
                <a:lnTo>
                  <a:pt x="5" y="196289"/>
                </a:lnTo>
                <a:cubicBezTo>
                  <a:pt x="-532" y="66365"/>
                  <a:pt x="46106" y="-2226"/>
                  <a:pt x="117485" y="56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endParaRPr lang="en-GB"/>
          </a:p>
        </p:txBody>
      </p:sp>
      <p:sp>
        <p:nvSpPr>
          <p:cNvPr id="40" name="Picture Placeholder 39">
            <a:extLst>
              <a:ext uri="{FF2B5EF4-FFF2-40B4-BE49-F238E27FC236}">
                <a16:creationId xmlns:a16="http://schemas.microsoft.com/office/drawing/2014/main" id="{48272B9A-06E7-4C48-AA43-5AB2FEE13A49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7255062" y="4375974"/>
            <a:ext cx="2679466" cy="2482023"/>
          </a:xfrm>
          <a:custGeom>
            <a:avLst/>
            <a:gdLst>
              <a:gd name="connsiteX0" fmla="*/ 3495324 w 3619869"/>
              <a:gd name="connsiteY0" fmla="*/ 64 h 3353130"/>
              <a:gd name="connsiteX1" fmla="*/ 3619869 w 3619869"/>
              <a:gd name="connsiteY1" fmla="*/ 206007 h 3353130"/>
              <a:gd name="connsiteX2" fmla="*/ 3619869 w 3619869"/>
              <a:gd name="connsiteY2" fmla="*/ 2095951 h 3353130"/>
              <a:gd name="connsiteX3" fmla="*/ 3337292 w 3619869"/>
              <a:gd name="connsiteY3" fmla="*/ 2767747 h 3353130"/>
              <a:gd name="connsiteX4" fmla="*/ 2737494 w 3619869"/>
              <a:gd name="connsiteY4" fmla="*/ 3353130 h 3353130"/>
              <a:gd name="connsiteX5" fmla="*/ 0 w 3619869"/>
              <a:gd name="connsiteY5" fmla="*/ 3353130 h 3353130"/>
              <a:gd name="connsiteX6" fmla="*/ 3337292 w 3619869"/>
              <a:gd name="connsiteY6" fmla="*/ 87203 h 3353130"/>
              <a:gd name="connsiteX7" fmla="*/ 3495324 w 3619869"/>
              <a:gd name="connsiteY7" fmla="*/ 64 h 33531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619869" h="3353130">
                <a:moveTo>
                  <a:pt x="3495324" y="64"/>
                </a:moveTo>
                <a:cubicBezTo>
                  <a:pt x="3570486" y="-2440"/>
                  <a:pt x="3619869" y="69557"/>
                  <a:pt x="3619869" y="206007"/>
                </a:cubicBezTo>
                <a:lnTo>
                  <a:pt x="3619869" y="2095951"/>
                </a:lnTo>
                <a:cubicBezTo>
                  <a:pt x="3619869" y="2314395"/>
                  <a:pt x="3493078" y="2615156"/>
                  <a:pt x="3337292" y="2767747"/>
                </a:cubicBezTo>
                <a:lnTo>
                  <a:pt x="2737494" y="3353130"/>
                </a:lnTo>
                <a:lnTo>
                  <a:pt x="0" y="3353130"/>
                </a:lnTo>
                <a:lnTo>
                  <a:pt x="3337292" y="87203"/>
                </a:lnTo>
                <a:cubicBezTo>
                  <a:pt x="3395851" y="29890"/>
                  <a:pt x="3450228" y="1567"/>
                  <a:pt x="3495324" y="64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endParaRPr lang="en-GB"/>
          </a:p>
        </p:txBody>
      </p:sp>
      <p:sp>
        <p:nvSpPr>
          <p:cNvPr id="43" name="Text Placeholder 42">
            <a:extLst>
              <a:ext uri="{FF2B5EF4-FFF2-40B4-BE49-F238E27FC236}">
                <a16:creationId xmlns:a16="http://schemas.microsoft.com/office/drawing/2014/main" id="{287D13C6-D8A0-4240-B399-3800A3934EC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0702658" y="579233"/>
            <a:ext cx="1489341" cy="3820884"/>
          </a:xfrm>
          <a:custGeom>
            <a:avLst/>
            <a:gdLst>
              <a:gd name="connsiteX0" fmla="*/ 117485 w 1489341"/>
              <a:gd name="connsiteY0" fmla="*/ 56 h 3820884"/>
              <a:gd name="connsiteX1" fmla="*/ 267840 w 1489341"/>
              <a:gd name="connsiteY1" fmla="*/ 82765 h 3820884"/>
              <a:gd name="connsiteX2" fmla="*/ 1489341 w 1489341"/>
              <a:gd name="connsiteY2" fmla="*/ 1274987 h 3820884"/>
              <a:gd name="connsiteX3" fmla="*/ 1489341 w 1489341"/>
              <a:gd name="connsiteY3" fmla="*/ 3820884 h 3820884"/>
              <a:gd name="connsiteX4" fmla="*/ 278035 w 1489341"/>
              <a:gd name="connsiteY4" fmla="*/ 2635414 h 3820884"/>
              <a:gd name="connsiteX5" fmla="*/ 7745 w 1489341"/>
              <a:gd name="connsiteY5" fmla="*/ 1995562 h 3820884"/>
              <a:gd name="connsiteX6" fmla="*/ 5 w 1489341"/>
              <a:gd name="connsiteY6" fmla="*/ 196289 h 3820884"/>
              <a:gd name="connsiteX7" fmla="*/ 117485 w 1489341"/>
              <a:gd name="connsiteY7" fmla="*/ 56 h 38208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489341" h="3820884">
                <a:moveTo>
                  <a:pt x="117485" y="56"/>
                </a:moveTo>
                <a:cubicBezTo>
                  <a:pt x="160312" y="1425"/>
                  <a:pt x="212046" y="28308"/>
                  <a:pt x="267840" y="82765"/>
                </a:cubicBezTo>
                <a:lnTo>
                  <a:pt x="1489341" y="1274987"/>
                </a:lnTo>
                <a:lnTo>
                  <a:pt x="1489341" y="3820884"/>
                </a:lnTo>
                <a:lnTo>
                  <a:pt x="278035" y="2635414"/>
                </a:lnTo>
                <a:cubicBezTo>
                  <a:pt x="129746" y="2489948"/>
                  <a:pt x="8605" y="2203565"/>
                  <a:pt x="7745" y="1995562"/>
                </a:cubicBezTo>
                <a:lnTo>
                  <a:pt x="5" y="196289"/>
                </a:lnTo>
                <a:cubicBezTo>
                  <a:pt x="-532" y="66365"/>
                  <a:pt x="46106" y="-2226"/>
                  <a:pt x="117485" y="56"/>
                </a:cubicBezTo>
                <a:close/>
              </a:path>
            </a:pathLst>
          </a:custGeom>
          <a:solidFill>
            <a:srgbClr val="750D68">
              <a:alpha val="40000"/>
            </a:srgbClr>
          </a:solidFill>
          <a:ln w="4539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>
            <a:lvl1pPr>
              <a:defRPr lang="en-US" sz="100" smtClean="0">
                <a:solidFill>
                  <a:srgbClr val="92D7D1">
                    <a:alpha val="0"/>
                  </a:srgbClr>
                </a:solidFill>
                <a:latin typeface="+mn-lt"/>
                <a:cs typeface="+mn-cs"/>
              </a:defRPr>
            </a:lvl1pPr>
            <a:lvl2pPr>
              <a:defRPr lang="en-US" smtClean="0">
                <a:cs typeface="+mn-cs"/>
              </a:defRPr>
            </a:lvl2pPr>
            <a:lvl3pPr>
              <a:defRPr lang="en-US" smtClean="0">
                <a:cs typeface="+mn-cs"/>
              </a:defRPr>
            </a:lvl3pPr>
            <a:lvl4pPr>
              <a:defRPr lang="en-US" sz="1800" smtClean="0">
                <a:cs typeface="+mn-cs"/>
              </a:defRPr>
            </a:lvl4pPr>
            <a:lvl5pPr>
              <a:defRPr lang="en-GB" sz="1800">
                <a:cs typeface="+mn-cs"/>
              </a:defRPr>
            </a:lvl5pPr>
          </a:lstStyle>
          <a:p>
            <a:pPr lvl="0"/>
            <a:r>
              <a:rPr lang="en-US"/>
              <a:t>a</a:t>
            </a:r>
            <a:endParaRPr lang="en-GB"/>
          </a:p>
        </p:txBody>
      </p:sp>
      <p:sp>
        <p:nvSpPr>
          <p:cNvPr id="46" name="Text Placeholder 45">
            <a:extLst>
              <a:ext uri="{FF2B5EF4-FFF2-40B4-BE49-F238E27FC236}">
                <a16:creationId xmlns:a16="http://schemas.microsoft.com/office/drawing/2014/main" id="{4870C28F-9345-460D-8D2C-722BDDEB370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1399642" y="2074095"/>
            <a:ext cx="792359" cy="2251289"/>
          </a:xfrm>
          <a:custGeom>
            <a:avLst/>
            <a:gdLst>
              <a:gd name="connsiteX0" fmla="*/ 792359 w 792359"/>
              <a:gd name="connsiteY0" fmla="*/ 0 h 2251289"/>
              <a:gd name="connsiteX1" fmla="*/ 792359 w 792359"/>
              <a:gd name="connsiteY1" fmla="*/ 1589453 h 2251289"/>
              <a:gd name="connsiteX2" fmla="*/ 167214 w 792359"/>
              <a:gd name="connsiteY2" fmla="*/ 2199598 h 2251289"/>
              <a:gd name="connsiteX3" fmla="*/ 3 w 792359"/>
              <a:gd name="connsiteY3" fmla="*/ 2128708 h 2251289"/>
              <a:gd name="connsiteX4" fmla="*/ 4550 w 792359"/>
              <a:gd name="connsiteY4" fmla="*/ 1005161 h 2251289"/>
              <a:gd name="connsiteX5" fmla="*/ 173480 w 792359"/>
              <a:gd name="connsiteY5" fmla="*/ 605622 h 22512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92359" h="2251289">
                <a:moveTo>
                  <a:pt x="792359" y="0"/>
                </a:moveTo>
                <a:lnTo>
                  <a:pt x="792359" y="1589453"/>
                </a:lnTo>
                <a:lnTo>
                  <a:pt x="167214" y="2199598"/>
                </a:lnTo>
                <a:cubicBezTo>
                  <a:pt x="74334" y="2290269"/>
                  <a:pt x="-487" y="2258570"/>
                  <a:pt x="3" y="2128708"/>
                </a:cubicBezTo>
                <a:lnTo>
                  <a:pt x="4550" y="1005161"/>
                </a:lnTo>
                <a:cubicBezTo>
                  <a:pt x="4550" y="875299"/>
                  <a:pt x="80721" y="696539"/>
                  <a:pt x="173480" y="605622"/>
                </a:cubicBezTo>
                <a:close/>
              </a:path>
            </a:pathLst>
          </a:custGeom>
          <a:solidFill>
            <a:srgbClr val="F07E26">
              <a:alpha val="80000"/>
            </a:srgbClr>
          </a:solidFill>
          <a:ln w="4539" cap="flat">
            <a:noFill/>
            <a:prstDash val="solid"/>
            <a:miter/>
          </a:ln>
        </p:spPr>
        <p:txBody>
          <a:bodyPr vert="horz" wrap="square" lIns="0" tIns="0" rIns="91440" bIns="0" rtlCol="0" anchor="ctr">
            <a:noAutofit/>
          </a:bodyPr>
          <a:lstStyle>
            <a:lvl1pPr>
              <a:defRPr lang="en-US" sz="100" smtClean="0">
                <a:solidFill>
                  <a:srgbClr val="92D7D1">
                    <a:alpha val="0"/>
                  </a:srgbClr>
                </a:solidFill>
                <a:latin typeface="+mn-lt"/>
                <a:cs typeface="+mn-cs"/>
              </a:defRPr>
            </a:lvl1pPr>
            <a:lvl2pPr>
              <a:defRPr lang="en-US" smtClean="0">
                <a:cs typeface="+mn-cs"/>
              </a:defRPr>
            </a:lvl2pPr>
            <a:lvl3pPr>
              <a:defRPr lang="en-US" smtClean="0">
                <a:cs typeface="+mn-cs"/>
              </a:defRPr>
            </a:lvl3pPr>
            <a:lvl4pPr>
              <a:defRPr lang="en-US" sz="1800" smtClean="0">
                <a:cs typeface="+mn-cs"/>
              </a:defRPr>
            </a:lvl4pPr>
            <a:lvl5pPr>
              <a:defRPr lang="en-GB" sz="1800">
                <a:cs typeface="+mn-cs"/>
              </a:defRPr>
            </a:lvl5pPr>
          </a:lstStyle>
          <a:p>
            <a:pPr lvl="0"/>
            <a:r>
              <a:rPr lang="en-US"/>
              <a:t>a</a:t>
            </a:r>
            <a:endParaRPr lang="en-GB"/>
          </a:p>
        </p:txBody>
      </p:sp>
      <p:sp>
        <p:nvSpPr>
          <p:cNvPr id="55" name="Text Placeholder 54">
            <a:extLst>
              <a:ext uri="{FF2B5EF4-FFF2-40B4-BE49-F238E27FC236}">
                <a16:creationId xmlns:a16="http://schemas.microsoft.com/office/drawing/2014/main" id="{4427D09F-36B2-4E9E-B819-4E7BF5B516E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9556188" y="5517233"/>
            <a:ext cx="1565162" cy="1340768"/>
          </a:xfrm>
          <a:custGeom>
            <a:avLst/>
            <a:gdLst>
              <a:gd name="connsiteX0" fmla="*/ 710975 w 784278"/>
              <a:gd name="connsiteY0" fmla="*/ 73 h 671838"/>
              <a:gd name="connsiteX1" fmla="*/ 784278 w 784278"/>
              <a:gd name="connsiteY1" fmla="*/ 121712 h 671838"/>
              <a:gd name="connsiteX2" fmla="*/ 784278 w 784278"/>
              <a:gd name="connsiteY2" fmla="*/ 671838 h 671838"/>
              <a:gd name="connsiteX3" fmla="*/ 0 w 784278"/>
              <a:gd name="connsiteY3" fmla="*/ 671838 h 671838"/>
              <a:gd name="connsiteX4" fmla="*/ 618048 w 784278"/>
              <a:gd name="connsiteY4" fmla="*/ 53034 h 671838"/>
              <a:gd name="connsiteX5" fmla="*/ 710975 w 784278"/>
              <a:gd name="connsiteY5" fmla="*/ 73 h 6718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84278" h="671838">
                <a:moveTo>
                  <a:pt x="710975" y="73"/>
                </a:moveTo>
                <a:cubicBezTo>
                  <a:pt x="755194" y="-2002"/>
                  <a:pt x="784278" y="40394"/>
                  <a:pt x="784278" y="121712"/>
                </a:cubicBezTo>
                <a:lnTo>
                  <a:pt x="784278" y="671838"/>
                </a:lnTo>
                <a:lnTo>
                  <a:pt x="0" y="671838"/>
                </a:lnTo>
                <a:lnTo>
                  <a:pt x="618048" y="53034"/>
                </a:lnTo>
                <a:cubicBezTo>
                  <a:pt x="652464" y="18572"/>
                  <a:pt x="684444" y="1318"/>
                  <a:pt x="710975" y="73"/>
                </a:cubicBezTo>
                <a:close/>
              </a:path>
            </a:pathLst>
          </a:custGeom>
          <a:solidFill>
            <a:schemeClr val="accent1">
              <a:alpha val="40000"/>
            </a:schemeClr>
          </a:solidFill>
          <a:ln w="4539" cap="flat">
            <a:noFill/>
            <a:prstDash val="solid"/>
            <a:miter/>
          </a:ln>
        </p:spPr>
        <p:txBody>
          <a:bodyPr vert="horz" wrap="square" lIns="0" tIns="0" rIns="91440" bIns="0" rtlCol="0" anchor="ctr">
            <a:noAutofit/>
          </a:bodyPr>
          <a:lstStyle>
            <a:lvl1pPr>
              <a:defRPr lang="en-US" sz="100" smtClean="0">
                <a:solidFill>
                  <a:srgbClr val="92D7D1">
                    <a:alpha val="0"/>
                  </a:srgbClr>
                </a:solidFill>
                <a:latin typeface="+mn-lt"/>
                <a:cs typeface="+mn-cs"/>
              </a:defRPr>
            </a:lvl1pPr>
            <a:lvl2pPr>
              <a:defRPr lang="en-US" smtClean="0">
                <a:cs typeface="+mn-cs"/>
              </a:defRPr>
            </a:lvl2pPr>
            <a:lvl3pPr>
              <a:defRPr lang="en-US" smtClean="0">
                <a:cs typeface="+mn-cs"/>
              </a:defRPr>
            </a:lvl3pPr>
            <a:lvl4pPr>
              <a:defRPr lang="en-US" sz="1800" smtClean="0">
                <a:cs typeface="+mn-cs"/>
              </a:defRPr>
            </a:lvl4pPr>
            <a:lvl5pPr>
              <a:defRPr lang="en-GB" sz="1800">
                <a:cs typeface="+mn-cs"/>
              </a:defRPr>
            </a:lvl5pPr>
          </a:lstStyle>
          <a:p>
            <a:pPr lvl="0"/>
            <a:r>
              <a:rPr lang="en-US"/>
              <a:t>a</a:t>
            </a:r>
            <a:endParaRPr lang="en-GB"/>
          </a:p>
        </p:txBody>
      </p:sp>
      <p:sp>
        <p:nvSpPr>
          <p:cNvPr id="56" name="Content Placeholder 2">
            <a:extLst>
              <a:ext uri="{FF2B5EF4-FFF2-40B4-BE49-F238E27FC236}">
                <a16:creationId xmlns:a16="http://schemas.microsoft.com/office/drawing/2014/main" id="{1C62B2A9-F38F-45C9-8332-68EFE3EA409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23887" y="1628801"/>
            <a:ext cx="5760145" cy="4105249"/>
          </a:xfrm>
        </p:spPr>
        <p:txBody>
          <a:bodyPr lIns="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7" name="Title 11">
            <a:extLst>
              <a:ext uri="{FF2B5EF4-FFF2-40B4-BE49-F238E27FC236}">
                <a16:creationId xmlns:a16="http://schemas.microsoft.com/office/drawing/2014/main" id="{3E18813C-1B37-44D6-AE09-A794555E7B1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2457" y="332657"/>
            <a:ext cx="7815651" cy="1080120"/>
          </a:xfr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45102155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extLst>
    <p:ext uri="{DCECCB84-F9BA-43D5-87BE-67443E8EF086}">
      <p15:sldGuideLst xmlns:p15="http://schemas.microsoft.com/office/powerpoint/2012/main">
        <p15:guide id="3" orient="horz" pos="3612">
          <p15:clr>
            <a:srgbClr val="FBAE40"/>
          </p15:clr>
        </p15:guide>
        <p15:guide id="5" pos="3840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4" name="Text Placeholder 133">
            <a:extLst>
              <a:ext uri="{FF2B5EF4-FFF2-40B4-BE49-F238E27FC236}">
                <a16:creationId xmlns:a16="http://schemas.microsoft.com/office/drawing/2014/main" id="{23F52D78-230C-7431-5E48-931D061CCA1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" y="0"/>
            <a:ext cx="4098689" cy="6858000"/>
          </a:xfrm>
          <a:custGeom>
            <a:avLst/>
            <a:gdLst>
              <a:gd name="connsiteX0" fmla="*/ 3070124 w 4098689"/>
              <a:gd name="connsiteY0" fmla="*/ 0 h 6858000"/>
              <a:gd name="connsiteX1" fmla="*/ 4098689 w 4098689"/>
              <a:gd name="connsiteY1" fmla="*/ 0 h 6858000"/>
              <a:gd name="connsiteX2" fmla="*/ 4098689 w 4098689"/>
              <a:gd name="connsiteY2" fmla="*/ 3644244 h 6858000"/>
              <a:gd name="connsiteX3" fmla="*/ 3520398 w 4098689"/>
              <a:gd name="connsiteY3" fmla="*/ 5001960 h 6858000"/>
              <a:gd name="connsiteX4" fmla="*/ 1588767 w 4098689"/>
              <a:gd name="connsiteY4" fmla="*/ 6858000 h 6858000"/>
              <a:gd name="connsiteX5" fmla="*/ 0 w 4098689"/>
              <a:gd name="connsiteY5" fmla="*/ 6858000 h 6858000"/>
              <a:gd name="connsiteX6" fmla="*/ 0 w 4098689"/>
              <a:gd name="connsiteY6" fmla="*/ 2957937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098689" h="6858000">
                <a:moveTo>
                  <a:pt x="3070124" y="0"/>
                </a:moveTo>
                <a:lnTo>
                  <a:pt x="4098689" y="0"/>
                </a:lnTo>
                <a:lnTo>
                  <a:pt x="4098689" y="3644244"/>
                </a:lnTo>
                <a:cubicBezTo>
                  <a:pt x="4098689" y="4087376"/>
                  <a:pt x="3839788" y="4695094"/>
                  <a:pt x="3520398" y="5001960"/>
                </a:cubicBezTo>
                <a:lnTo>
                  <a:pt x="1588767" y="6858000"/>
                </a:lnTo>
                <a:lnTo>
                  <a:pt x="0" y="6858000"/>
                </a:lnTo>
                <a:lnTo>
                  <a:pt x="0" y="2957937"/>
                </a:lnTo>
                <a:close/>
              </a:path>
            </a:pathLst>
          </a:custGeom>
          <a:solidFill>
            <a:srgbClr val="005191">
              <a:alpha val="60000"/>
            </a:srgbClr>
          </a:solidFill>
        </p:spPr>
        <p:txBody>
          <a:bodyPr wrap="square" anchor="ctr">
            <a:noAutofit/>
          </a:bodyPr>
          <a:lstStyle>
            <a:lvl1pPr algn="ctr">
              <a:defRPr sz="100">
                <a:solidFill>
                  <a:srgbClr val="005191">
                    <a:alpha val="0"/>
                  </a:srgbClr>
                </a:solidFill>
              </a:defRPr>
            </a:lvl1pPr>
          </a:lstStyle>
          <a:p>
            <a:pPr lvl="0"/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703AE73-0813-1AD7-3E72-C71BFF01092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DB84476-BC29-4407-9D57-B2E562B8968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424B80AE-CD07-4053-764F-D2D2EE735065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1" y="1201283"/>
            <a:ext cx="2894574" cy="5456097"/>
          </a:xfrm>
          <a:custGeom>
            <a:avLst/>
            <a:gdLst>
              <a:gd name="connsiteX0" fmla="*/ 2759851 w 2894574"/>
              <a:gd name="connsiteY0" fmla="*/ 40 h 5456097"/>
              <a:gd name="connsiteX1" fmla="*/ 2894574 w 2894574"/>
              <a:gd name="connsiteY1" fmla="*/ 222154 h 5456097"/>
              <a:gd name="connsiteX2" fmla="*/ 2894574 w 2894574"/>
              <a:gd name="connsiteY2" fmla="*/ 2250366 h 5456097"/>
              <a:gd name="connsiteX3" fmla="*/ 2588555 w 2894574"/>
              <a:gd name="connsiteY3" fmla="*/ 2968840 h 5456097"/>
              <a:gd name="connsiteX4" fmla="*/ 0 w 2894574"/>
              <a:gd name="connsiteY4" fmla="*/ 5456097 h 5456097"/>
              <a:gd name="connsiteX5" fmla="*/ 0 w 2894574"/>
              <a:gd name="connsiteY5" fmla="*/ 2586310 h 5456097"/>
              <a:gd name="connsiteX6" fmla="*/ 2588842 w 2894574"/>
              <a:gd name="connsiteY6" fmla="*/ 92068 h 5456097"/>
              <a:gd name="connsiteX7" fmla="*/ 2759851 w 2894574"/>
              <a:gd name="connsiteY7" fmla="*/ 40 h 54560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894574" h="5456097">
                <a:moveTo>
                  <a:pt x="2759851" y="40"/>
                </a:moveTo>
                <a:cubicBezTo>
                  <a:pt x="2841168" y="-2011"/>
                  <a:pt x="2894574" y="75594"/>
                  <a:pt x="2894574" y="222154"/>
                </a:cubicBezTo>
                <a:lnTo>
                  <a:pt x="2894574" y="2250366"/>
                </a:lnTo>
                <a:cubicBezTo>
                  <a:pt x="2894574" y="2484862"/>
                  <a:pt x="2757569" y="2806453"/>
                  <a:pt x="2588555" y="2968840"/>
                </a:cubicBezTo>
                <a:lnTo>
                  <a:pt x="0" y="5456097"/>
                </a:lnTo>
                <a:lnTo>
                  <a:pt x="0" y="2586310"/>
                </a:lnTo>
                <a:lnTo>
                  <a:pt x="2588842" y="92068"/>
                </a:lnTo>
                <a:cubicBezTo>
                  <a:pt x="2652222" y="31176"/>
                  <a:pt x="2711061" y="1270"/>
                  <a:pt x="2759851" y="40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algn="ctr">
              <a:defRPr sz="1200" b="0"/>
            </a:lvl1pPr>
          </a:lstStyle>
          <a:p>
            <a:endParaRPr lang="en-GB"/>
          </a:p>
        </p:txBody>
      </p:sp>
      <p:sp>
        <p:nvSpPr>
          <p:cNvPr id="130" name="Text Placeholder 16">
            <a:extLst>
              <a:ext uri="{FF2B5EF4-FFF2-40B4-BE49-F238E27FC236}">
                <a16:creationId xmlns:a16="http://schemas.microsoft.com/office/drawing/2014/main" id="{3616F16A-2EBD-FF57-821F-BEDC5EABA4D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118832" y="1764973"/>
            <a:ext cx="6449281" cy="447231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31" name="Title 6">
            <a:extLst>
              <a:ext uri="{FF2B5EF4-FFF2-40B4-BE49-F238E27FC236}">
                <a16:creationId xmlns:a16="http://schemas.microsoft.com/office/drawing/2014/main" id="{F433FC08-0F53-7D5A-16B3-BEF9BC1A811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19267" y="332657"/>
            <a:ext cx="6448846" cy="126248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37" name="Text Placeholder 136">
            <a:extLst>
              <a:ext uri="{FF2B5EF4-FFF2-40B4-BE49-F238E27FC236}">
                <a16:creationId xmlns:a16="http://schemas.microsoft.com/office/drawing/2014/main" id="{60576821-C4B3-606F-FA98-DE0E26E2577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1" y="949365"/>
            <a:ext cx="1491321" cy="3079866"/>
          </a:xfrm>
          <a:custGeom>
            <a:avLst/>
            <a:gdLst>
              <a:gd name="connsiteX0" fmla="*/ 1408371 w 1491321"/>
              <a:gd name="connsiteY0" fmla="*/ 25 h 3079866"/>
              <a:gd name="connsiteX1" fmla="*/ 1436224 w 1491321"/>
              <a:gd name="connsiteY1" fmla="*/ 5100 h 3079866"/>
              <a:gd name="connsiteX2" fmla="*/ 1491321 w 1491321"/>
              <a:gd name="connsiteY2" fmla="*/ 136783 h 3079866"/>
              <a:gd name="connsiteX3" fmla="*/ 1491321 w 1491321"/>
              <a:gd name="connsiteY3" fmla="*/ 1385578 h 3079866"/>
              <a:gd name="connsiteX4" fmla="*/ 1302902 w 1491321"/>
              <a:gd name="connsiteY4" fmla="*/ 1827951 h 3079866"/>
              <a:gd name="connsiteX5" fmla="*/ 0 w 1491321"/>
              <a:gd name="connsiteY5" fmla="*/ 3079866 h 3079866"/>
              <a:gd name="connsiteX6" fmla="*/ 0 w 1491321"/>
              <a:gd name="connsiteY6" fmla="*/ 1312149 h 3079866"/>
              <a:gd name="connsiteX7" fmla="*/ 1303078 w 1491321"/>
              <a:gd name="connsiteY7" fmla="*/ 56688 h 3079866"/>
              <a:gd name="connsiteX8" fmla="*/ 1408371 w 1491321"/>
              <a:gd name="connsiteY8" fmla="*/ 25 h 30798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491321" h="3079866">
                <a:moveTo>
                  <a:pt x="1408371" y="25"/>
                </a:moveTo>
                <a:cubicBezTo>
                  <a:pt x="1418385" y="-228"/>
                  <a:pt x="1427711" y="1482"/>
                  <a:pt x="1436224" y="5100"/>
                </a:cubicBezTo>
                <a:cubicBezTo>
                  <a:pt x="1470277" y="19573"/>
                  <a:pt x="1491321" y="64592"/>
                  <a:pt x="1491321" y="136783"/>
                </a:cubicBezTo>
                <a:lnTo>
                  <a:pt x="1491321" y="1385578"/>
                </a:lnTo>
                <a:cubicBezTo>
                  <a:pt x="1491321" y="1529960"/>
                  <a:pt x="1406966" y="1727967"/>
                  <a:pt x="1302902" y="1827951"/>
                </a:cubicBezTo>
                <a:lnTo>
                  <a:pt x="0" y="3079866"/>
                </a:lnTo>
                <a:lnTo>
                  <a:pt x="0" y="1312149"/>
                </a:lnTo>
                <a:lnTo>
                  <a:pt x="1303078" y="56688"/>
                </a:lnTo>
                <a:cubicBezTo>
                  <a:pt x="1342102" y="19196"/>
                  <a:pt x="1378330" y="782"/>
                  <a:pt x="1408371" y="25"/>
                </a:cubicBezTo>
                <a:close/>
              </a:path>
            </a:pathLst>
          </a:custGeom>
          <a:solidFill>
            <a:srgbClr val="F07E26">
              <a:alpha val="35000"/>
            </a:srgbClr>
          </a:solidFill>
        </p:spPr>
        <p:txBody>
          <a:bodyPr wrap="square" anchor="ctr">
            <a:noAutofit/>
          </a:bodyPr>
          <a:lstStyle>
            <a:lvl1pPr algn="ctr">
              <a:defRPr sz="100">
                <a:solidFill>
                  <a:schemeClr val="accent4">
                    <a:alpha val="0"/>
                  </a:schemeClr>
                </a:solidFill>
              </a:defRPr>
            </a:lvl1pPr>
          </a:lstStyle>
          <a:p>
            <a:pPr lvl="0"/>
            <a:endParaRPr lang="en-GB"/>
          </a:p>
        </p:txBody>
      </p:sp>
      <p:sp>
        <p:nvSpPr>
          <p:cNvPr id="141" name="Text Placeholder 140">
            <a:extLst>
              <a:ext uri="{FF2B5EF4-FFF2-40B4-BE49-F238E27FC236}">
                <a16:creationId xmlns:a16="http://schemas.microsoft.com/office/drawing/2014/main" id="{EE94B476-1FBF-439D-7B43-D444A704061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10740" y="4291002"/>
            <a:ext cx="2822963" cy="2566999"/>
          </a:xfrm>
          <a:custGeom>
            <a:avLst/>
            <a:gdLst>
              <a:gd name="connsiteX0" fmla="*/ 101667 w 2822963"/>
              <a:gd name="connsiteY0" fmla="*/ 30 h 2566999"/>
              <a:gd name="connsiteX1" fmla="*/ 230717 w 2822963"/>
              <a:gd name="connsiteY1" fmla="*/ 69478 h 2566999"/>
              <a:gd name="connsiteX2" fmla="*/ 2822963 w 2822963"/>
              <a:gd name="connsiteY2" fmla="*/ 2566999 h 2566999"/>
              <a:gd name="connsiteX3" fmla="*/ 570843 w 2822963"/>
              <a:gd name="connsiteY3" fmla="*/ 2566999 h 2566999"/>
              <a:gd name="connsiteX4" fmla="*/ 230933 w 2822963"/>
              <a:gd name="connsiteY4" fmla="*/ 2240391 h 2566999"/>
              <a:gd name="connsiteX5" fmla="*/ 0 w 2822963"/>
              <a:gd name="connsiteY5" fmla="*/ 1698206 h 2566999"/>
              <a:gd name="connsiteX6" fmla="*/ 0 w 2822963"/>
              <a:gd name="connsiteY6" fmla="*/ 167645 h 2566999"/>
              <a:gd name="connsiteX7" fmla="*/ 101667 w 2822963"/>
              <a:gd name="connsiteY7" fmla="*/ 30 h 2566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822963" h="2566999">
                <a:moveTo>
                  <a:pt x="101667" y="30"/>
                </a:moveTo>
                <a:cubicBezTo>
                  <a:pt x="138486" y="958"/>
                  <a:pt x="182888" y="23526"/>
                  <a:pt x="230717" y="69478"/>
                </a:cubicBezTo>
                <a:lnTo>
                  <a:pt x="2822963" y="2566999"/>
                </a:lnTo>
                <a:lnTo>
                  <a:pt x="570843" y="2566999"/>
                </a:lnTo>
                <a:lnTo>
                  <a:pt x="230933" y="2240391"/>
                </a:lnTo>
                <a:cubicBezTo>
                  <a:pt x="103389" y="2117848"/>
                  <a:pt x="0" y="1875164"/>
                  <a:pt x="0" y="1698206"/>
                </a:cubicBezTo>
                <a:lnTo>
                  <a:pt x="0" y="167645"/>
                </a:lnTo>
                <a:cubicBezTo>
                  <a:pt x="0" y="57045"/>
                  <a:pt x="40302" y="-1518"/>
                  <a:pt x="101667" y="30"/>
                </a:cubicBezTo>
                <a:close/>
              </a:path>
            </a:pathLst>
          </a:custGeom>
          <a:solidFill>
            <a:srgbClr val="97BE0D">
              <a:alpha val="30000"/>
            </a:srgbClr>
          </a:solidFill>
        </p:spPr>
        <p:txBody>
          <a:bodyPr wrap="square" anchor="ctr">
            <a:noAutofit/>
          </a:bodyPr>
          <a:lstStyle>
            <a:lvl1pPr algn="ctr">
              <a:defRPr sz="100">
                <a:solidFill>
                  <a:srgbClr val="97BE0D">
                    <a:alpha val="0"/>
                  </a:srgbClr>
                </a:solidFill>
              </a:defRPr>
            </a:lvl1pPr>
          </a:lstStyle>
          <a:p>
            <a:pPr lvl="0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5835272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1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7" name="Text Placeholder 146">
            <a:extLst>
              <a:ext uri="{FF2B5EF4-FFF2-40B4-BE49-F238E27FC236}">
                <a16:creationId xmlns:a16="http://schemas.microsoft.com/office/drawing/2014/main" id="{41D2A663-B8CD-4B9D-546F-D365D2134A7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448427" y="0"/>
            <a:ext cx="5743573" cy="6858000"/>
          </a:xfrm>
          <a:custGeom>
            <a:avLst/>
            <a:gdLst>
              <a:gd name="connsiteX0" fmla="*/ 3165530 w 5743573"/>
              <a:gd name="connsiteY0" fmla="*/ 0 h 6858000"/>
              <a:gd name="connsiteX1" fmla="*/ 5743573 w 5743573"/>
              <a:gd name="connsiteY1" fmla="*/ 0 h 6858000"/>
              <a:gd name="connsiteX2" fmla="*/ 5743573 w 5743573"/>
              <a:gd name="connsiteY2" fmla="*/ 4429751 h 6858000"/>
              <a:gd name="connsiteX3" fmla="*/ 3223227 w 5743573"/>
              <a:gd name="connsiteY3" fmla="*/ 6858000 h 6858000"/>
              <a:gd name="connsiteX4" fmla="*/ 0 w 5743573"/>
              <a:gd name="connsiteY4" fmla="*/ 6858000 h 6858000"/>
              <a:gd name="connsiteX5" fmla="*/ 0 w 5743573"/>
              <a:gd name="connsiteY5" fmla="*/ 4062689 h 6858000"/>
              <a:gd name="connsiteX6" fmla="*/ 736180 w 5743573"/>
              <a:gd name="connsiteY6" fmla="*/ 2334283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743573" h="6858000">
                <a:moveTo>
                  <a:pt x="3165530" y="0"/>
                </a:moveTo>
                <a:lnTo>
                  <a:pt x="5743573" y="0"/>
                </a:lnTo>
                <a:lnTo>
                  <a:pt x="5743573" y="4429751"/>
                </a:lnTo>
                <a:lnTo>
                  <a:pt x="3223227" y="6858000"/>
                </a:lnTo>
                <a:lnTo>
                  <a:pt x="0" y="6858000"/>
                </a:lnTo>
                <a:lnTo>
                  <a:pt x="0" y="4062689"/>
                </a:lnTo>
                <a:cubicBezTo>
                  <a:pt x="0" y="3498571"/>
                  <a:pt x="329588" y="2724931"/>
                  <a:pt x="736180" y="2334283"/>
                </a:cubicBezTo>
                <a:close/>
              </a:path>
            </a:pathLst>
          </a:custGeom>
          <a:solidFill>
            <a:srgbClr val="DC006B">
              <a:alpha val="30000"/>
            </a:srgbClr>
          </a:solidFill>
        </p:spPr>
        <p:txBody>
          <a:bodyPr wrap="square" anchor="ctr">
            <a:noAutofit/>
          </a:bodyPr>
          <a:lstStyle>
            <a:lvl1pPr algn="ctr">
              <a:defRPr sz="100">
                <a:solidFill>
                  <a:srgbClr val="DC006B">
                    <a:alpha val="0"/>
                  </a:srgbClr>
                </a:solidFill>
              </a:defRPr>
            </a:lvl1pPr>
          </a:lstStyle>
          <a:p>
            <a:pPr lvl="0"/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703AE73-0813-1AD7-3E72-C71BFF01092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DB84476-BC29-4407-9D57-B2E562B8968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5" name="Picture Placeholder 24">
            <a:extLst>
              <a:ext uri="{FF2B5EF4-FFF2-40B4-BE49-F238E27FC236}">
                <a16:creationId xmlns:a16="http://schemas.microsoft.com/office/drawing/2014/main" id="{AE7C4F3D-2874-1BB6-EA25-268A627F8758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6980135" y="3806402"/>
            <a:ext cx="3359734" cy="3051598"/>
          </a:xfrm>
          <a:custGeom>
            <a:avLst/>
            <a:gdLst>
              <a:gd name="connsiteX0" fmla="*/ 3236405 w 3359734"/>
              <a:gd name="connsiteY0" fmla="*/ 37 h 3051598"/>
              <a:gd name="connsiteX1" fmla="*/ 3359734 w 3359734"/>
              <a:gd name="connsiteY1" fmla="*/ 203367 h 3051598"/>
              <a:gd name="connsiteX2" fmla="*/ 3359734 w 3359734"/>
              <a:gd name="connsiteY2" fmla="*/ 2060053 h 3051598"/>
              <a:gd name="connsiteX3" fmla="*/ 3079596 w 3359734"/>
              <a:gd name="connsiteY3" fmla="*/ 2717765 h 3051598"/>
              <a:gd name="connsiteX4" fmla="*/ 2732167 w 3359734"/>
              <a:gd name="connsiteY4" fmla="*/ 3051598 h 3051598"/>
              <a:gd name="connsiteX5" fmla="*/ 0 w 3359734"/>
              <a:gd name="connsiteY5" fmla="*/ 3051598 h 3051598"/>
              <a:gd name="connsiteX6" fmla="*/ 3079858 w 3359734"/>
              <a:gd name="connsiteY6" fmla="*/ 84283 h 3051598"/>
              <a:gd name="connsiteX7" fmla="*/ 3236405 w 3359734"/>
              <a:gd name="connsiteY7" fmla="*/ 37 h 30515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359734" h="3051598">
                <a:moveTo>
                  <a:pt x="3236405" y="37"/>
                </a:moveTo>
                <a:cubicBezTo>
                  <a:pt x="3310845" y="-1841"/>
                  <a:pt x="3359734" y="69201"/>
                  <a:pt x="3359734" y="203367"/>
                </a:cubicBezTo>
                <a:lnTo>
                  <a:pt x="3359734" y="2060053"/>
                </a:lnTo>
                <a:cubicBezTo>
                  <a:pt x="3359734" y="2274717"/>
                  <a:pt x="3234316" y="2569111"/>
                  <a:pt x="3079596" y="2717765"/>
                </a:cubicBezTo>
                <a:lnTo>
                  <a:pt x="2732167" y="3051598"/>
                </a:lnTo>
                <a:lnTo>
                  <a:pt x="0" y="3051598"/>
                </a:lnTo>
                <a:lnTo>
                  <a:pt x="3079858" y="84283"/>
                </a:lnTo>
                <a:cubicBezTo>
                  <a:pt x="3137878" y="28540"/>
                  <a:pt x="3191741" y="1163"/>
                  <a:pt x="3236405" y="37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algn="ctr">
              <a:defRPr sz="1200" b="0"/>
            </a:lvl1pPr>
          </a:lstStyle>
          <a:p>
            <a:endParaRPr lang="en-GB"/>
          </a:p>
        </p:txBody>
      </p:sp>
      <p:sp>
        <p:nvSpPr>
          <p:cNvPr id="150" name="Text Placeholder 149">
            <a:extLst>
              <a:ext uri="{FF2B5EF4-FFF2-40B4-BE49-F238E27FC236}">
                <a16:creationId xmlns:a16="http://schemas.microsoft.com/office/drawing/2014/main" id="{D7538C79-ED97-E435-0FE8-C0DB8652DFC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660002" y="4005064"/>
            <a:ext cx="3531998" cy="2852936"/>
          </a:xfrm>
          <a:custGeom>
            <a:avLst/>
            <a:gdLst>
              <a:gd name="connsiteX0" fmla="*/ 2961142 w 3531998"/>
              <a:gd name="connsiteY0" fmla="*/ 0 h 2852936"/>
              <a:gd name="connsiteX1" fmla="*/ 3531998 w 3531998"/>
              <a:gd name="connsiteY1" fmla="*/ 0 h 2852936"/>
              <a:gd name="connsiteX2" fmla="*/ 3531998 w 3531998"/>
              <a:gd name="connsiteY2" fmla="*/ 2239358 h 2852936"/>
              <a:gd name="connsiteX3" fmla="*/ 3531188 w 3531998"/>
              <a:gd name="connsiteY3" fmla="*/ 2241499 h 2852936"/>
              <a:gd name="connsiteX4" fmla="*/ 3311816 w 3531998"/>
              <a:gd name="connsiteY4" fmla="*/ 2578272 h 2852936"/>
              <a:gd name="connsiteX5" fmla="*/ 3025965 w 3531998"/>
              <a:gd name="connsiteY5" fmla="*/ 2852936 h 2852936"/>
              <a:gd name="connsiteX6" fmla="*/ 0 w 3531998"/>
              <a:gd name="connsiteY6" fmla="*/ 2852936 h 28529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531998" h="2852936">
                <a:moveTo>
                  <a:pt x="2961142" y="0"/>
                </a:moveTo>
                <a:lnTo>
                  <a:pt x="3531998" y="0"/>
                </a:lnTo>
                <a:lnTo>
                  <a:pt x="3531998" y="2239358"/>
                </a:lnTo>
                <a:lnTo>
                  <a:pt x="3531188" y="2241499"/>
                </a:lnTo>
                <a:cubicBezTo>
                  <a:pt x="3475046" y="2373298"/>
                  <a:pt x="3397487" y="2495960"/>
                  <a:pt x="3311816" y="2578272"/>
                </a:cubicBezTo>
                <a:lnTo>
                  <a:pt x="3025965" y="2852936"/>
                </a:lnTo>
                <a:lnTo>
                  <a:pt x="0" y="2852936"/>
                </a:lnTo>
                <a:close/>
              </a:path>
            </a:pathLst>
          </a:custGeom>
          <a:solidFill>
            <a:srgbClr val="005191">
              <a:alpha val="30000"/>
            </a:srgbClr>
          </a:solidFill>
        </p:spPr>
        <p:txBody>
          <a:bodyPr wrap="square" anchor="ctr">
            <a:noAutofit/>
          </a:bodyPr>
          <a:lstStyle>
            <a:lvl1pPr algn="ctr">
              <a:defRPr sz="100">
                <a:solidFill>
                  <a:srgbClr val="005191">
                    <a:alpha val="0"/>
                  </a:srgbClr>
                </a:solidFill>
              </a:defRPr>
            </a:lvl1pPr>
          </a:lstStyle>
          <a:p>
            <a:pPr lvl="0"/>
            <a:endParaRPr lang="en-GB"/>
          </a:p>
        </p:txBody>
      </p:sp>
      <p:sp>
        <p:nvSpPr>
          <p:cNvPr id="30" name="Picture Placeholder 29">
            <a:extLst>
              <a:ext uri="{FF2B5EF4-FFF2-40B4-BE49-F238E27FC236}">
                <a16:creationId xmlns:a16="http://schemas.microsoft.com/office/drawing/2014/main" id="{68933960-D0E9-BA3A-2718-21D31502D72E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9766470" y="1269106"/>
            <a:ext cx="2425530" cy="3969769"/>
          </a:xfrm>
          <a:custGeom>
            <a:avLst/>
            <a:gdLst>
              <a:gd name="connsiteX0" fmla="*/ 82560 w 2425530"/>
              <a:gd name="connsiteY0" fmla="*/ 25 h 3969769"/>
              <a:gd name="connsiteX1" fmla="*/ 187358 w 2425530"/>
              <a:gd name="connsiteY1" fmla="*/ 56422 h 3969769"/>
              <a:gd name="connsiteX2" fmla="*/ 2425530 w 2425530"/>
              <a:gd name="connsiteY2" fmla="*/ 2212808 h 3969769"/>
              <a:gd name="connsiteX3" fmla="*/ 2425530 w 2425530"/>
              <a:gd name="connsiteY3" fmla="*/ 3969769 h 3969769"/>
              <a:gd name="connsiteX4" fmla="*/ 187533 w 2425530"/>
              <a:gd name="connsiteY4" fmla="*/ 1819352 h 3969769"/>
              <a:gd name="connsiteX5" fmla="*/ 0 w 2425530"/>
              <a:gd name="connsiteY5" fmla="*/ 1379060 h 3969769"/>
              <a:gd name="connsiteX6" fmla="*/ 0 w 2425530"/>
              <a:gd name="connsiteY6" fmla="*/ 136140 h 3969769"/>
              <a:gd name="connsiteX7" fmla="*/ 82560 w 2425530"/>
              <a:gd name="connsiteY7" fmla="*/ 25 h 39697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425530" h="3969769">
                <a:moveTo>
                  <a:pt x="82560" y="25"/>
                </a:moveTo>
                <a:cubicBezTo>
                  <a:pt x="112460" y="779"/>
                  <a:pt x="148517" y="19106"/>
                  <a:pt x="187358" y="56422"/>
                </a:cubicBezTo>
                <a:lnTo>
                  <a:pt x="2425530" y="2212808"/>
                </a:lnTo>
                <a:lnTo>
                  <a:pt x="2425530" y="3969769"/>
                </a:lnTo>
                <a:lnTo>
                  <a:pt x="187533" y="1819352"/>
                </a:lnTo>
                <a:cubicBezTo>
                  <a:pt x="83959" y="1719838"/>
                  <a:pt x="0" y="1522763"/>
                  <a:pt x="0" y="1379060"/>
                </a:cubicBezTo>
                <a:lnTo>
                  <a:pt x="0" y="136140"/>
                </a:lnTo>
                <a:cubicBezTo>
                  <a:pt x="0" y="46326"/>
                  <a:pt x="32728" y="-1232"/>
                  <a:pt x="82560" y="25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algn="ctr">
              <a:defRPr sz="1200" b="0"/>
            </a:lvl1pPr>
          </a:lstStyle>
          <a:p>
            <a:endParaRPr lang="en-GB"/>
          </a:p>
        </p:txBody>
      </p:sp>
      <p:sp>
        <p:nvSpPr>
          <p:cNvPr id="31" name="Picture Placeholder 30">
            <a:extLst>
              <a:ext uri="{FF2B5EF4-FFF2-40B4-BE49-F238E27FC236}">
                <a16:creationId xmlns:a16="http://schemas.microsoft.com/office/drawing/2014/main" id="{B97B3D90-8508-16DD-F3A6-858BCE6CC25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10846794" y="731163"/>
            <a:ext cx="1345206" cy="2758018"/>
          </a:xfrm>
          <a:custGeom>
            <a:avLst/>
            <a:gdLst>
              <a:gd name="connsiteX0" fmla="*/ 49027 w 1345206"/>
              <a:gd name="connsiteY0" fmla="*/ 4538 h 2758018"/>
              <a:gd name="connsiteX1" fmla="*/ 167504 w 1345206"/>
              <a:gd name="connsiteY1" fmla="*/ 50442 h 2758018"/>
              <a:gd name="connsiteX2" fmla="*/ 1345206 w 1345206"/>
              <a:gd name="connsiteY2" fmla="*/ 1185109 h 2758018"/>
              <a:gd name="connsiteX3" fmla="*/ 1345206 w 1345206"/>
              <a:gd name="connsiteY3" fmla="*/ 2758018 h 2758018"/>
              <a:gd name="connsiteX4" fmla="*/ 167661 w 1345206"/>
              <a:gd name="connsiteY4" fmla="*/ 1626553 h 2758018"/>
              <a:gd name="connsiteX5" fmla="*/ 0 w 1345206"/>
              <a:gd name="connsiteY5" fmla="*/ 1232920 h 2758018"/>
              <a:gd name="connsiteX6" fmla="*/ 0 w 1345206"/>
              <a:gd name="connsiteY6" fmla="*/ 121712 h 2758018"/>
              <a:gd name="connsiteX7" fmla="*/ 49027 w 1345206"/>
              <a:gd name="connsiteY7" fmla="*/ 4538 h 27580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345206" h="2758018">
                <a:moveTo>
                  <a:pt x="49027" y="4538"/>
                </a:moveTo>
                <a:cubicBezTo>
                  <a:pt x="79329" y="-8341"/>
                  <a:pt x="121205" y="5960"/>
                  <a:pt x="167504" y="50442"/>
                </a:cubicBezTo>
                <a:lnTo>
                  <a:pt x="1345206" y="1185109"/>
                </a:lnTo>
                <a:lnTo>
                  <a:pt x="1345206" y="2758018"/>
                </a:lnTo>
                <a:lnTo>
                  <a:pt x="167661" y="1626553"/>
                </a:lnTo>
                <a:cubicBezTo>
                  <a:pt x="75062" y="1537586"/>
                  <a:pt x="0" y="1361394"/>
                  <a:pt x="0" y="1232920"/>
                </a:cubicBezTo>
                <a:lnTo>
                  <a:pt x="0" y="121712"/>
                </a:lnTo>
                <a:cubicBezTo>
                  <a:pt x="0" y="57475"/>
                  <a:pt x="18726" y="17417"/>
                  <a:pt x="49027" y="4538"/>
                </a:cubicBezTo>
                <a:close/>
              </a:path>
            </a:pathLst>
          </a:custGeom>
          <a:solidFill>
            <a:schemeClr val="bg2">
              <a:lumMod val="90000"/>
            </a:schemeClr>
          </a:solidFill>
        </p:spPr>
        <p:txBody>
          <a:bodyPr wrap="square" anchor="ctr">
            <a:noAutofit/>
          </a:bodyPr>
          <a:lstStyle>
            <a:lvl1pPr algn="ctr">
              <a:defRPr sz="1200" b="0"/>
            </a:lvl1pPr>
          </a:lstStyle>
          <a:p>
            <a:endParaRPr lang="en-GB"/>
          </a:p>
        </p:txBody>
      </p:sp>
      <p:sp>
        <p:nvSpPr>
          <p:cNvPr id="151" name="Content Placeholder 2">
            <a:extLst>
              <a:ext uri="{FF2B5EF4-FFF2-40B4-BE49-F238E27FC236}">
                <a16:creationId xmlns:a16="http://schemas.microsoft.com/office/drawing/2014/main" id="{4BCD8A3B-1B66-A7C2-3F99-836A5351B09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23887" y="1628801"/>
            <a:ext cx="6696249" cy="4608487"/>
          </a:xfrm>
        </p:spPr>
        <p:txBody>
          <a:bodyPr lIns="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2" name="Title 11">
            <a:extLst>
              <a:ext uri="{FF2B5EF4-FFF2-40B4-BE49-F238E27FC236}">
                <a16:creationId xmlns:a16="http://schemas.microsoft.com/office/drawing/2014/main" id="{4A069A78-03A3-241A-C6F5-23375408E8D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2457" y="332657"/>
            <a:ext cx="6707679" cy="1080120"/>
          </a:xfr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5501065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ic Colour 1">
    <p:bg>
      <p:bgPr>
        <a:solidFill>
          <a:srgbClr val="00519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: Shape 7">
            <a:extLst>
              <a:ext uri="{FF2B5EF4-FFF2-40B4-BE49-F238E27FC236}">
                <a16:creationId xmlns:a16="http://schemas.microsoft.com/office/drawing/2014/main" id="{CBAB13E4-51C6-8C99-374B-F7E519DC07EA}"/>
              </a:ext>
            </a:extLst>
          </p:cNvPr>
          <p:cNvSpPr/>
          <p:nvPr userDrawn="1"/>
        </p:nvSpPr>
        <p:spPr>
          <a:xfrm>
            <a:off x="3842930" y="0"/>
            <a:ext cx="8349070" cy="6841154"/>
          </a:xfrm>
          <a:custGeom>
            <a:avLst/>
            <a:gdLst>
              <a:gd name="connsiteX0" fmla="*/ 6977688 w 8349070"/>
              <a:gd name="connsiteY0" fmla="*/ 0 h 6841154"/>
              <a:gd name="connsiteX1" fmla="*/ 8349070 w 8349070"/>
              <a:gd name="connsiteY1" fmla="*/ 0 h 6841154"/>
              <a:gd name="connsiteX2" fmla="*/ 8349070 w 8349070"/>
              <a:gd name="connsiteY2" fmla="*/ 5402533 h 6841154"/>
              <a:gd name="connsiteX3" fmla="*/ 6851859 w 8349070"/>
              <a:gd name="connsiteY3" fmla="*/ 6841154 h 6841154"/>
              <a:gd name="connsiteX4" fmla="*/ 0 w 8349070"/>
              <a:gd name="connsiteY4" fmla="*/ 6841154 h 6841154"/>
              <a:gd name="connsiteX5" fmla="*/ 55230 w 8349070"/>
              <a:gd name="connsiteY5" fmla="*/ 6746876 h 6841154"/>
              <a:gd name="connsiteX6" fmla="*/ 334016 w 8349070"/>
              <a:gd name="connsiteY6" fmla="*/ 6400901 h 68411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349070" h="6841154">
                <a:moveTo>
                  <a:pt x="6977688" y="0"/>
                </a:moveTo>
                <a:lnTo>
                  <a:pt x="8349070" y="0"/>
                </a:lnTo>
                <a:lnTo>
                  <a:pt x="8349070" y="5402533"/>
                </a:lnTo>
                <a:lnTo>
                  <a:pt x="6851859" y="6841154"/>
                </a:lnTo>
                <a:lnTo>
                  <a:pt x="0" y="6841154"/>
                </a:lnTo>
                <a:lnTo>
                  <a:pt x="55230" y="6746876"/>
                </a:lnTo>
                <a:cubicBezTo>
                  <a:pt x="141126" y="6614317"/>
                  <a:pt x="235379" y="6495995"/>
                  <a:pt x="334016" y="6400901"/>
                </a:cubicBezTo>
                <a:close/>
              </a:path>
            </a:pathLst>
          </a:custGeom>
          <a:solidFill>
            <a:schemeClr val="tx2">
              <a:alpha val="20000"/>
            </a:schemeClr>
          </a:solidFill>
          <a:ln w="4630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703AE73-0813-1AD7-3E72-C71BFF01092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3DB84476-BC29-4407-9D57-B2E562B8968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7" name="Title 11">
            <a:extLst>
              <a:ext uri="{FF2B5EF4-FFF2-40B4-BE49-F238E27FC236}">
                <a16:creationId xmlns:a16="http://schemas.microsoft.com/office/drawing/2014/main" id="{B5447781-1A60-817C-CFAD-D761E437479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5317" y="422444"/>
            <a:ext cx="7815651" cy="1080120"/>
          </a:xfrm>
        </p:spPr>
        <p:txBody>
          <a:bodyPr vert="horz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54974209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>
            <a:extLst>
              <a:ext uri="{FF2B5EF4-FFF2-40B4-BE49-F238E27FC236}">
                <a16:creationId xmlns:a16="http://schemas.microsoft.com/office/drawing/2014/main" id="{7B40599C-4C0F-475E-A2C1-B16A0CE599F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125259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4" progId="TCLayout.ActiveDocument.1">
                  <p:embed/>
                </p:oleObj>
              </mc:Choice>
              <mc:Fallback>
                <p:oleObj name="think-cell Slide" r:id="rId4" imgW="425" imgH="424" progId="TCLayout.ActiveDocument.1">
                  <p:embed/>
                  <p:pic>
                    <p:nvPicPr>
                      <p:cNvPr id="21" name="Object 20" hidden="1">
                        <a:extLst>
                          <a:ext uri="{FF2B5EF4-FFF2-40B4-BE49-F238E27FC236}">
                            <a16:creationId xmlns:a16="http://schemas.microsoft.com/office/drawing/2014/main" id="{7B40599C-4C0F-475E-A2C1-B16A0CE599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5" name="Text Placeholder 64">
            <a:extLst>
              <a:ext uri="{FF2B5EF4-FFF2-40B4-BE49-F238E27FC236}">
                <a16:creationId xmlns:a16="http://schemas.microsoft.com/office/drawing/2014/main" id="{0B38E3F0-4CB0-47F9-A7A7-F3703959803F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0" y="2"/>
            <a:ext cx="4888254" cy="6857999"/>
          </a:xfrm>
          <a:custGeom>
            <a:avLst/>
            <a:gdLst>
              <a:gd name="connsiteX0" fmla="*/ 3424860 w 4888254"/>
              <a:gd name="connsiteY0" fmla="*/ 0 h 6857999"/>
              <a:gd name="connsiteX1" fmla="*/ 4888254 w 4888254"/>
              <a:gd name="connsiteY1" fmla="*/ 0 h 6857999"/>
              <a:gd name="connsiteX2" fmla="*/ 4888254 w 4888254"/>
              <a:gd name="connsiteY2" fmla="*/ 5609609 h 6857999"/>
              <a:gd name="connsiteX3" fmla="*/ 4639839 w 4888254"/>
              <a:gd name="connsiteY3" fmla="*/ 6194112 h 6857999"/>
              <a:gd name="connsiteX4" fmla="*/ 3951970 w 4888254"/>
              <a:gd name="connsiteY4" fmla="*/ 6857999 h 6857999"/>
              <a:gd name="connsiteX5" fmla="*/ 0 w 4888254"/>
              <a:gd name="connsiteY5" fmla="*/ 6857999 h 6857999"/>
              <a:gd name="connsiteX6" fmla="*/ 0 w 4888254"/>
              <a:gd name="connsiteY6" fmla="*/ 3314259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888254" h="6857999">
                <a:moveTo>
                  <a:pt x="3424860" y="0"/>
                </a:moveTo>
                <a:lnTo>
                  <a:pt x="4888254" y="0"/>
                </a:lnTo>
                <a:lnTo>
                  <a:pt x="4888254" y="5609609"/>
                </a:lnTo>
                <a:cubicBezTo>
                  <a:pt x="4888254" y="5800303"/>
                  <a:pt x="4776955" y="6062110"/>
                  <a:pt x="4639839" y="6194112"/>
                </a:cubicBezTo>
                <a:lnTo>
                  <a:pt x="3951970" y="6857999"/>
                </a:lnTo>
                <a:lnTo>
                  <a:pt x="0" y="6857999"/>
                </a:lnTo>
                <a:lnTo>
                  <a:pt x="0" y="3314259"/>
                </a:lnTo>
                <a:close/>
              </a:path>
            </a:pathLst>
          </a:custGeom>
          <a:solidFill>
            <a:schemeClr val="tx2">
              <a:alpha val="54902"/>
            </a:schemeClr>
          </a:solidFill>
          <a:ln w="4539" cap="flat">
            <a:noFill/>
            <a:prstDash val="solid"/>
            <a:miter/>
          </a:ln>
        </p:spPr>
        <p:txBody>
          <a:bodyPr vert="horz" wrap="square" lIns="0" tIns="0" rIns="91440" bIns="0" rtlCol="0" anchor="ctr">
            <a:noAutofit/>
          </a:bodyPr>
          <a:lstStyle>
            <a:lvl1pPr>
              <a:defRPr lang="en-US" sz="100" smtClean="0">
                <a:solidFill>
                  <a:srgbClr val="92D7D1">
                    <a:alpha val="0"/>
                  </a:srgbClr>
                </a:solidFill>
                <a:latin typeface="+mn-lt"/>
                <a:cs typeface="+mn-cs"/>
              </a:defRPr>
            </a:lvl1pPr>
            <a:lvl2pPr>
              <a:defRPr lang="en-US" smtClean="0">
                <a:cs typeface="+mn-cs"/>
              </a:defRPr>
            </a:lvl2pPr>
            <a:lvl3pPr>
              <a:defRPr lang="en-US" smtClean="0">
                <a:cs typeface="+mn-cs"/>
              </a:defRPr>
            </a:lvl3pPr>
            <a:lvl4pPr>
              <a:defRPr lang="en-US" sz="1800" smtClean="0">
                <a:cs typeface="+mn-cs"/>
              </a:defRPr>
            </a:lvl4pPr>
            <a:lvl5pPr>
              <a:defRPr lang="en-GB" sz="1800">
                <a:cs typeface="+mn-cs"/>
              </a:defRPr>
            </a:lvl5pPr>
          </a:lstStyle>
          <a:p>
            <a:pPr lvl="0"/>
            <a:r>
              <a:rPr lang="en-US"/>
              <a:t>a</a:t>
            </a:r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CCF89D1-5F6C-4FE0-93BA-66FADB6912F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B84476-BC29-4407-9D57-B2E562B8968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3" name="Text Placeholder 62">
            <a:extLst>
              <a:ext uri="{FF2B5EF4-FFF2-40B4-BE49-F238E27FC236}">
                <a16:creationId xmlns:a16="http://schemas.microsoft.com/office/drawing/2014/main" id="{C02EBC26-BEE1-47AE-8EA9-C652E921646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0" y="0"/>
            <a:ext cx="1593121" cy="2779244"/>
          </a:xfrm>
          <a:custGeom>
            <a:avLst/>
            <a:gdLst>
              <a:gd name="connsiteX0" fmla="*/ 453341 w 1593121"/>
              <a:gd name="connsiteY0" fmla="*/ 0 h 2779244"/>
              <a:gd name="connsiteX1" fmla="*/ 1593121 w 1593121"/>
              <a:gd name="connsiteY1" fmla="*/ 0 h 2779244"/>
              <a:gd name="connsiteX2" fmla="*/ 1593121 w 1593121"/>
              <a:gd name="connsiteY2" fmla="*/ 879158 h 2779244"/>
              <a:gd name="connsiteX3" fmla="*/ 1346047 w 1593121"/>
              <a:gd name="connsiteY3" fmla="*/ 1465365 h 2779244"/>
              <a:gd name="connsiteX4" fmla="*/ 0 w 1593121"/>
              <a:gd name="connsiteY4" fmla="*/ 2779244 h 2779244"/>
              <a:gd name="connsiteX5" fmla="*/ 0 w 1593121"/>
              <a:gd name="connsiteY5" fmla="*/ 443589 h 27792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593121" h="2779244">
                <a:moveTo>
                  <a:pt x="453341" y="0"/>
                </a:moveTo>
                <a:lnTo>
                  <a:pt x="1593121" y="0"/>
                </a:lnTo>
                <a:lnTo>
                  <a:pt x="1593121" y="879158"/>
                </a:lnTo>
                <a:cubicBezTo>
                  <a:pt x="1593121" y="1069731"/>
                  <a:pt x="1482554" y="1332270"/>
                  <a:pt x="1346047" y="1465365"/>
                </a:cubicBezTo>
                <a:lnTo>
                  <a:pt x="0" y="2779244"/>
                </a:lnTo>
                <a:lnTo>
                  <a:pt x="0" y="443589"/>
                </a:lnTo>
                <a:close/>
              </a:path>
            </a:pathLst>
          </a:custGeom>
          <a:solidFill>
            <a:schemeClr val="accent4">
              <a:alpha val="54902"/>
            </a:schemeClr>
          </a:solidFill>
          <a:ln w="4539" cap="flat">
            <a:noFill/>
            <a:prstDash val="solid"/>
            <a:miter/>
          </a:ln>
        </p:spPr>
        <p:txBody>
          <a:bodyPr vert="horz" wrap="square" lIns="0" tIns="0" rIns="91440" bIns="0" rtlCol="0" anchor="ctr">
            <a:noAutofit/>
          </a:bodyPr>
          <a:lstStyle>
            <a:lvl1pPr>
              <a:defRPr lang="en-US" sz="100" smtClean="0">
                <a:solidFill>
                  <a:srgbClr val="92D7D1">
                    <a:alpha val="0"/>
                  </a:srgbClr>
                </a:solidFill>
                <a:latin typeface="+mn-lt"/>
                <a:cs typeface="+mn-cs"/>
              </a:defRPr>
            </a:lvl1pPr>
            <a:lvl2pPr>
              <a:defRPr lang="en-US" smtClean="0">
                <a:cs typeface="+mn-cs"/>
              </a:defRPr>
            </a:lvl2pPr>
            <a:lvl3pPr>
              <a:defRPr lang="en-US" smtClean="0">
                <a:cs typeface="+mn-cs"/>
              </a:defRPr>
            </a:lvl3pPr>
            <a:lvl4pPr>
              <a:defRPr lang="en-US" sz="1800" smtClean="0">
                <a:cs typeface="+mn-cs"/>
              </a:defRPr>
            </a:lvl4pPr>
            <a:lvl5pPr>
              <a:defRPr lang="en-GB" sz="1800">
                <a:cs typeface="+mn-cs"/>
              </a:defRPr>
            </a:lvl5pPr>
          </a:lstStyle>
          <a:p>
            <a:pPr lvl="0"/>
            <a:r>
              <a:rPr lang="en-US"/>
              <a:t>a</a:t>
            </a:r>
            <a:endParaRPr lang="en-GB"/>
          </a:p>
        </p:txBody>
      </p:sp>
      <p:sp>
        <p:nvSpPr>
          <p:cNvPr id="49" name="Picture Placeholder 48">
            <a:extLst>
              <a:ext uri="{FF2B5EF4-FFF2-40B4-BE49-F238E27FC236}">
                <a16:creationId xmlns:a16="http://schemas.microsoft.com/office/drawing/2014/main" id="{01C3D4F7-C5D7-45D6-A953-603325CA008E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1828129" y="3913258"/>
            <a:ext cx="3184894" cy="2944742"/>
          </a:xfrm>
          <a:custGeom>
            <a:avLst/>
            <a:gdLst>
              <a:gd name="connsiteX0" fmla="*/ 107776 w 3184894"/>
              <a:gd name="connsiteY0" fmla="*/ 52 h 2944742"/>
              <a:gd name="connsiteX1" fmla="*/ 245616 w 3184894"/>
              <a:gd name="connsiteY1" fmla="*/ 75939 h 2944742"/>
              <a:gd name="connsiteX2" fmla="*/ 3184894 w 3184894"/>
              <a:gd name="connsiteY2" fmla="*/ 2944742 h 2944742"/>
              <a:gd name="connsiteX3" fmla="*/ 794844 w 3184894"/>
              <a:gd name="connsiteY3" fmla="*/ 2944742 h 2944742"/>
              <a:gd name="connsiteX4" fmla="*/ 254869 w 3184894"/>
              <a:gd name="connsiteY4" fmla="*/ 2416383 h 2944742"/>
              <a:gd name="connsiteX5" fmla="*/ 6701 w 3184894"/>
              <a:gd name="connsiteY5" fmla="*/ 1829689 h 2944742"/>
              <a:gd name="connsiteX6" fmla="*/ 4 w 3184894"/>
              <a:gd name="connsiteY6" fmla="*/ 179932 h 2944742"/>
              <a:gd name="connsiteX7" fmla="*/ 107776 w 3184894"/>
              <a:gd name="connsiteY7" fmla="*/ 52 h 29447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184894" h="2944742">
                <a:moveTo>
                  <a:pt x="107776" y="52"/>
                </a:moveTo>
                <a:cubicBezTo>
                  <a:pt x="147044" y="1318"/>
                  <a:pt x="194472" y="25982"/>
                  <a:pt x="245616" y="75939"/>
                </a:cubicBezTo>
                <a:lnTo>
                  <a:pt x="3184894" y="2944742"/>
                </a:lnTo>
                <a:lnTo>
                  <a:pt x="794844" y="2944742"/>
                </a:lnTo>
                <a:lnTo>
                  <a:pt x="254869" y="2416383"/>
                </a:lnTo>
                <a:cubicBezTo>
                  <a:pt x="118607" y="2283045"/>
                  <a:pt x="7553" y="2020383"/>
                  <a:pt x="6701" y="1829689"/>
                </a:cubicBezTo>
                <a:lnTo>
                  <a:pt x="4" y="179932"/>
                </a:lnTo>
                <a:cubicBezTo>
                  <a:pt x="-453" y="60824"/>
                  <a:pt x="42329" y="-2059"/>
                  <a:pt x="107776" y="52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algn="ctr">
              <a:defRPr sz="1200" b="0"/>
            </a:lvl1pPr>
          </a:lstStyle>
          <a:p>
            <a:endParaRPr lang="en-GB"/>
          </a:p>
        </p:txBody>
      </p:sp>
      <p:sp>
        <p:nvSpPr>
          <p:cNvPr id="131" name="Picture Placeholder 130">
            <a:extLst>
              <a:ext uri="{FF2B5EF4-FFF2-40B4-BE49-F238E27FC236}">
                <a16:creationId xmlns:a16="http://schemas.microsoft.com/office/drawing/2014/main" id="{1FF734AA-F776-AE1C-57B9-EDE4DFEF58C3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1306596" y="1829774"/>
            <a:ext cx="1885144" cy="2856036"/>
          </a:xfrm>
          <a:custGeom>
            <a:avLst/>
            <a:gdLst>
              <a:gd name="connsiteX0" fmla="*/ 1828265 w 1885144"/>
              <a:gd name="connsiteY0" fmla="*/ 17 h 2856036"/>
              <a:gd name="connsiteX1" fmla="*/ 1885144 w 1885144"/>
              <a:gd name="connsiteY1" fmla="*/ 93791 h 2856036"/>
              <a:gd name="connsiteX2" fmla="*/ 1885144 w 1885144"/>
              <a:gd name="connsiteY2" fmla="*/ 950086 h 2856036"/>
              <a:gd name="connsiteX3" fmla="*/ 1755945 w 1885144"/>
              <a:gd name="connsiteY3" fmla="*/ 1253419 h 2856036"/>
              <a:gd name="connsiteX4" fmla="*/ 128470 w 1885144"/>
              <a:gd name="connsiteY4" fmla="*/ 2817207 h 2856036"/>
              <a:gd name="connsiteX5" fmla="*/ 2 w 1885144"/>
              <a:gd name="connsiteY5" fmla="*/ 2762165 h 2856036"/>
              <a:gd name="connsiteX6" fmla="*/ 3413 w 1885144"/>
              <a:gd name="connsiteY6" fmla="*/ 1905868 h 2856036"/>
              <a:gd name="connsiteX7" fmla="*/ 133219 w 1885144"/>
              <a:gd name="connsiteY7" fmla="*/ 1602417 h 2856036"/>
              <a:gd name="connsiteX8" fmla="*/ 1756066 w 1885144"/>
              <a:gd name="connsiteY8" fmla="*/ 38871 h 2856036"/>
              <a:gd name="connsiteX9" fmla="*/ 1828265 w 1885144"/>
              <a:gd name="connsiteY9" fmla="*/ 17 h 28560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885144" h="2856036">
                <a:moveTo>
                  <a:pt x="1828265" y="17"/>
                </a:moveTo>
                <a:cubicBezTo>
                  <a:pt x="1862597" y="-849"/>
                  <a:pt x="1885144" y="31915"/>
                  <a:pt x="1885144" y="93791"/>
                </a:cubicBezTo>
                <a:lnTo>
                  <a:pt x="1885144" y="950086"/>
                </a:lnTo>
                <a:cubicBezTo>
                  <a:pt x="1885144" y="1049088"/>
                  <a:pt x="1827302" y="1184861"/>
                  <a:pt x="1755945" y="1253419"/>
                </a:cubicBezTo>
                <a:lnTo>
                  <a:pt x="128470" y="2817207"/>
                </a:lnTo>
                <a:cubicBezTo>
                  <a:pt x="57113" y="2885762"/>
                  <a:pt x="-363" y="2861164"/>
                  <a:pt x="2" y="2762165"/>
                </a:cubicBezTo>
                <a:lnTo>
                  <a:pt x="3413" y="1905868"/>
                </a:lnTo>
                <a:cubicBezTo>
                  <a:pt x="3413" y="1806869"/>
                  <a:pt x="61983" y="1671093"/>
                  <a:pt x="133219" y="1602417"/>
                </a:cubicBezTo>
                <a:lnTo>
                  <a:pt x="1756066" y="38871"/>
                </a:lnTo>
                <a:cubicBezTo>
                  <a:pt x="1782825" y="13162"/>
                  <a:pt x="1807666" y="536"/>
                  <a:pt x="1828265" y="17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</p:spPr>
        <p:txBody>
          <a:bodyPr wrap="square" anchor="ctr">
            <a:noAutofit/>
          </a:bodyPr>
          <a:lstStyle>
            <a:lvl1pPr algn="ctr">
              <a:defRPr sz="1200" b="0"/>
            </a:lvl1pPr>
          </a:lstStyle>
          <a:p>
            <a:endParaRPr lang="en-GB"/>
          </a:p>
        </p:txBody>
      </p:sp>
      <p:sp>
        <p:nvSpPr>
          <p:cNvPr id="132" name="Text Placeholder 16">
            <a:extLst>
              <a:ext uri="{FF2B5EF4-FFF2-40B4-BE49-F238E27FC236}">
                <a16:creationId xmlns:a16="http://schemas.microsoft.com/office/drawing/2014/main" id="{56776858-6732-0BF4-EA80-58C93223F4C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231904" y="1217099"/>
            <a:ext cx="6336210" cy="502019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33" name="Title 6">
            <a:extLst>
              <a:ext uri="{FF2B5EF4-FFF2-40B4-BE49-F238E27FC236}">
                <a16:creationId xmlns:a16="http://schemas.microsoft.com/office/drawing/2014/main" id="{ADC5C114-920C-48D9-F9B6-D1474B9FCB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33206" y="332657"/>
            <a:ext cx="6323476" cy="74603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69" name="Text Placeholder 68">
            <a:extLst>
              <a:ext uri="{FF2B5EF4-FFF2-40B4-BE49-F238E27FC236}">
                <a16:creationId xmlns:a16="http://schemas.microsoft.com/office/drawing/2014/main" id="{F25529F9-1762-4811-BF8A-E21EE766E2E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" y="3596812"/>
            <a:ext cx="3340898" cy="3261189"/>
          </a:xfrm>
          <a:custGeom>
            <a:avLst/>
            <a:gdLst>
              <a:gd name="connsiteX0" fmla="*/ 0 w 2283321"/>
              <a:gd name="connsiteY0" fmla="*/ 0 h 2228844"/>
              <a:gd name="connsiteX1" fmla="*/ 2283321 w 2283321"/>
              <a:gd name="connsiteY1" fmla="*/ 2228844 h 2228844"/>
              <a:gd name="connsiteX2" fmla="*/ 0 w 2283321"/>
              <a:gd name="connsiteY2" fmla="*/ 2228844 h 22288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283321" h="2228844">
                <a:moveTo>
                  <a:pt x="0" y="0"/>
                </a:moveTo>
                <a:lnTo>
                  <a:pt x="2283321" y="2228844"/>
                </a:lnTo>
                <a:lnTo>
                  <a:pt x="0" y="2228844"/>
                </a:lnTo>
                <a:close/>
              </a:path>
            </a:pathLst>
          </a:custGeom>
          <a:solidFill>
            <a:srgbClr val="005191">
              <a:alpha val="40000"/>
            </a:srgbClr>
          </a:solidFill>
          <a:ln w="4539" cap="flat">
            <a:noFill/>
            <a:prstDash val="solid"/>
            <a:miter/>
          </a:ln>
        </p:spPr>
        <p:txBody>
          <a:bodyPr vert="horz" wrap="square" lIns="0" tIns="0" rIns="91440" bIns="0" rtlCol="0" anchor="ctr">
            <a:noAutofit/>
          </a:bodyPr>
          <a:lstStyle>
            <a:lvl1pPr>
              <a:defRPr lang="en-US" sz="100" smtClean="0">
                <a:solidFill>
                  <a:srgbClr val="92D7D1">
                    <a:alpha val="0"/>
                  </a:srgbClr>
                </a:solidFill>
                <a:latin typeface="+mn-lt"/>
                <a:cs typeface="+mn-cs"/>
              </a:defRPr>
            </a:lvl1pPr>
            <a:lvl2pPr>
              <a:defRPr lang="en-US" smtClean="0">
                <a:cs typeface="+mn-cs"/>
              </a:defRPr>
            </a:lvl2pPr>
            <a:lvl3pPr>
              <a:defRPr lang="en-US" smtClean="0">
                <a:cs typeface="+mn-cs"/>
              </a:defRPr>
            </a:lvl3pPr>
            <a:lvl4pPr>
              <a:defRPr lang="en-US" sz="1800" smtClean="0">
                <a:cs typeface="+mn-cs"/>
              </a:defRPr>
            </a:lvl4pPr>
            <a:lvl5pPr>
              <a:defRPr lang="en-GB" sz="1800">
                <a:cs typeface="+mn-cs"/>
              </a:defRPr>
            </a:lvl5pPr>
          </a:lstStyle>
          <a:p>
            <a:pPr lvl="0"/>
            <a:r>
              <a:rPr lang="en-US"/>
              <a:t>a</a:t>
            </a:r>
            <a:endParaRPr lang="en-GB"/>
          </a:p>
        </p:txBody>
      </p:sp>
      <p:sp>
        <p:nvSpPr>
          <p:cNvPr id="52" name="Picture Placeholder 51">
            <a:extLst>
              <a:ext uri="{FF2B5EF4-FFF2-40B4-BE49-F238E27FC236}">
                <a16:creationId xmlns:a16="http://schemas.microsoft.com/office/drawing/2014/main" id="{FE2BE2B0-A440-49C5-8CD8-55E98E2A3D72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1" y="292099"/>
            <a:ext cx="2248981" cy="4369630"/>
          </a:xfrm>
          <a:custGeom>
            <a:avLst/>
            <a:gdLst>
              <a:gd name="connsiteX0" fmla="*/ 2140214 w 2248981"/>
              <a:gd name="connsiteY0" fmla="*/ 56 h 4369630"/>
              <a:gd name="connsiteX1" fmla="*/ 2248981 w 2248981"/>
              <a:gd name="connsiteY1" fmla="*/ 179856 h 4369630"/>
              <a:gd name="connsiteX2" fmla="*/ 2248981 w 2248981"/>
              <a:gd name="connsiteY2" fmla="*/ 1829126 h 4369630"/>
              <a:gd name="connsiteX3" fmla="*/ 2001907 w 2248981"/>
              <a:gd name="connsiteY3" fmla="*/ 2415334 h 4369630"/>
              <a:gd name="connsiteX4" fmla="*/ 0 w 2248981"/>
              <a:gd name="connsiteY4" fmla="*/ 4369630 h 4369630"/>
              <a:gd name="connsiteX5" fmla="*/ 0 w 2248981"/>
              <a:gd name="connsiteY5" fmla="*/ 2035309 h 4369630"/>
              <a:gd name="connsiteX6" fmla="*/ 2002273 w 2248981"/>
              <a:gd name="connsiteY6" fmla="*/ 76107 h 4369630"/>
              <a:gd name="connsiteX7" fmla="*/ 2140214 w 2248981"/>
              <a:gd name="connsiteY7" fmla="*/ 56 h 43696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248981" h="4369630">
                <a:moveTo>
                  <a:pt x="2140214" y="56"/>
                </a:moveTo>
                <a:cubicBezTo>
                  <a:pt x="2205838" y="-2145"/>
                  <a:pt x="2248981" y="60672"/>
                  <a:pt x="2248981" y="179856"/>
                </a:cubicBezTo>
                <a:lnTo>
                  <a:pt x="2248981" y="1829126"/>
                </a:lnTo>
                <a:cubicBezTo>
                  <a:pt x="2248981" y="2019699"/>
                  <a:pt x="2138290" y="2282238"/>
                  <a:pt x="2001907" y="2415334"/>
                </a:cubicBezTo>
                <a:lnTo>
                  <a:pt x="0" y="4369630"/>
                </a:lnTo>
                <a:lnTo>
                  <a:pt x="0" y="2035309"/>
                </a:lnTo>
                <a:lnTo>
                  <a:pt x="2002273" y="76107"/>
                </a:lnTo>
                <a:cubicBezTo>
                  <a:pt x="2053371" y="26104"/>
                  <a:pt x="2100839" y="1377"/>
                  <a:pt x="2140214" y="56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algn="ctr">
              <a:defRPr sz="1200" b="0"/>
            </a:lvl1pPr>
          </a:lstStyle>
          <a:p>
            <a:endParaRPr lang="en-GB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43713589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ic Colour 2">
    <p:bg>
      <p:bgPr>
        <a:solidFill>
          <a:srgbClr val="750D6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: Shape 7">
            <a:extLst>
              <a:ext uri="{FF2B5EF4-FFF2-40B4-BE49-F238E27FC236}">
                <a16:creationId xmlns:a16="http://schemas.microsoft.com/office/drawing/2014/main" id="{CBAB13E4-51C6-8C99-374B-F7E519DC07EA}"/>
              </a:ext>
            </a:extLst>
          </p:cNvPr>
          <p:cNvSpPr/>
          <p:nvPr userDrawn="1"/>
        </p:nvSpPr>
        <p:spPr>
          <a:xfrm>
            <a:off x="3842930" y="0"/>
            <a:ext cx="8349070" cy="6841154"/>
          </a:xfrm>
          <a:custGeom>
            <a:avLst/>
            <a:gdLst>
              <a:gd name="connsiteX0" fmla="*/ 6977688 w 8349070"/>
              <a:gd name="connsiteY0" fmla="*/ 0 h 6841154"/>
              <a:gd name="connsiteX1" fmla="*/ 8349070 w 8349070"/>
              <a:gd name="connsiteY1" fmla="*/ 0 h 6841154"/>
              <a:gd name="connsiteX2" fmla="*/ 8349070 w 8349070"/>
              <a:gd name="connsiteY2" fmla="*/ 5402533 h 6841154"/>
              <a:gd name="connsiteX3" fmla="*/ 6851859 w 8349070"/>
              <a:gd name="connsiteY3" fmla="*/ 6841154 h 6841154"/>
              <a:gd name="connsiteX4" fmla="*/ 0 w 8349070"/>
              <a:gd name="connsiteY4" fmla="*/ 6841154 h 6841154"/>
              <a:gd name="connsiteX5" fmla="*/ 55230 w 8349070"/>
              <a:gd name="connsiteY5" fmla="*/ 6746876 h 6841154"/>
              <a:gd name="connsiteX6" fmla="*/ 334016 w 8349070"/>
              <a:gd name="connsiteY6" fmla="*/ 6400901 h 68411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349070" h="6841154">
                <a:moveTo>
                  <a:pt x="6977688" y="0"/>
                </a:moveTo>
                <a:lnTo>
                  <a:pt x="8349070" y="0"/>
                </a:lnTo>
                <a:lnTo>
                  <a:pt x="8349070" y="5402533"/>
                </a:lnTo>
                <a:lnTo>
                  <a:pt x="6851859" y="6841154"/>
                </a:lnTo>
                <a:lnTo>
                  <a:pt x="0" y="6841154"/>
                </a:lnTo>
                <a:lnTo>
                  <a:pt x="55230" y="6746876"/>
                </a:lnTo>
                <a:cubicBezTo>
                  <a:pt x="141126" y="6614317"/>
                  <a:pt x="235379" y="6495995"/>
                  <a:pt x="334016" y="6400901"/>
                </a:cubicBezTo>
                <a:close/>
              </a:path>
            </a:pathLst>
          </a:custGeom>
          <a:solidFill>
            <a:srgbClr val="DC006B">
              <a:alpha val="18000"/>
            </a:srgbClr>
          </a:solidFill>
          <a:ln w="4630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703AE73-0813-1AD7-3E72-C71BFF01092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3DB84476-BC29-4407-9D57-B2E562B8968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7" name="Title 11">
            <a:extLst>
              <a:ext uri="{FF2B5EF4-FFF2-40B4-BE49-F238E27FC236}">
                <a16:creationId xmlns:a16="http://schemas.microsoft.com/office/drawing/2014/main" id="{49962258-50C2-AAFE-1D2D-C8E38A0BE49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5317" y="422444"/>
            <a:ext cx="7815651" cy="1080120"/>
          </a:xfrm>
        </p:spPr>
        <p:txBody>
          <a:bodyPr vert="horz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92839980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ic Colour 3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: Shape 7">
            <a:extLst>
              <a:ext uri="{FF2B5EF4-FFF2-40B4-BE49-F238E27FC236}">
                <a16:creationId xmlns:a16="http://schemas.microsoft.com/office/drawing/2014/main" id="{CBAB13E4-51C6-8C99-374B-F7E519DC07EA}"/>
              </a:ext>
            </a:extLst>
          </p:cNvPr>
          <p:cNvSpPr/>
          <p:nvPr userDrawn="1"/>
        </p:nvSpPr>
        <p:spPr>
          <a:xfrm>
            <a:off x="3842930" y="0"/>
            <a:ext cx="8349070" cy="6841154"/>
          </a:xfrm>
          <a:custGeom>
            <a:avLst/>
            <a:gdLst>
              <a:gd name="connsiteX0" fmla="*/ 6977688 w 8349070"/>
              <a:gd name="connsiteY0" fmla="*/ 0 h 6841154"/>
              <a:gd name="connsiteX1" fmla="*/ 8349070 w 8349070"/>
              <a:gd name="connsiteY1" fmla="*/ 0 h 6841154"/>
              <a:gd name="connsiteX2" fmla="*/ 8349070 w 8349070"/>
              <a:gd name="connsiteY2" fmla="*/ 5402533 h 6841154"/>
              <a:gd name="connsiteX3" fmla="*/ 6851859 w 8349070"/>
              <a:gd name="connsiteY3" fmla="*/ 6841154 h 6841154"/>
              <a:gd name="connsiteX4" fmla="*/ 0 w 8349070"/>
              <a:gd name="connsiteY4" fmla="*/ 6841154 h 6841154"/>
              <a:gd name="connsiteX5" fmla="*/ 55230 w 8349070"/>
              <a:gd name="connsiteY5" fmla="*/ 6746876 h 6841154"/>
              <a:gd name="connsiteX6" fmla="*/ 334016 w 8349070"/>
              <a:gd name="connsiteY6" fmla="*/ 6400901 h 68411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349070" h="6841154">
                <a:moveTo>
                  <a:pt x="6977688" y="0"/>
                </a:moveTo>
                <a:lnTo>
                  <a:pt x="8349070" y="0"/>
                </a:lnTo>
                <a:lnTo>
                  <a:pt x="8349070" y="5402533"/>
                </a:lnTo>
                <a:lnTo>
                  <a:pt x="6851859" y="6841154"/>
                </a:lnTo>
                <a:lnTo>
                  <a:pt x="0" y="6841154"/>
                </a:lnTo>
                <a:lnTo>
                  <a:pt x="55230" y="6746876"/>
                </a:lnTo>
                <a:cubicBezTo>
                  <a:pt x="141126" y="6614317"/>
                  <a:pt x="235379" y="6495995"/>
                  <a:pt x="334016" y="6400901"/>
                </a:cubicBezTo>
                <a:close/>
              </a:path>
            </a:pathLst>
          </a:custGeom>
          <a:solidFill>
            <a:srgbClr val="009BA4">
              <a:alpha val="40000"/>
            </a:srgbClr>
          </a:solidFill>
          <a:ln w="4630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703AE73-0813-1AD7-3E72-C71BFF01092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3DB84476-BC29-4407-9D57-B2E562B8968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7" name="Title 11">
            <a:extLst>
              <a:ext uri="{FF2B5EF4-FFF2-40B4-BE49-F238E27FC236}">
                <a16:creationId xmlns:a16="http://schemas.microsoft.com/office/drawing/2014/main" id="{8D165B35-791B-F74A-B5BD-15E5DF79CF1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5317" y="422444"/>
            <a:ext cx="7815651" cy="1080120"/>
          </a:xfrm>
        </p:spPr>
        <p:txBody>
          <a:bodyPr vert="horz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74855646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ic Colour 4">
    <p:bg>
      <p:bgPr>
        <a:solidFill>
          <a:srgbClr val="00A070">
            <a:alpha val="30000"/>
          </a:srgb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: Shape 7">
            <a:extLst>
              <a:ext uri="{FF2B5EF4-FFF2-40B4-BE49-F238E27FC236}">
                <a16:creationId xmlns:a16="http://schemas.microsoft.com/office/drawing/2014/main" id="{CBAB13E4-51C6-8C99-374B-F7E519DC07EA}"/>
              </a:ext>
            </a:extLst>
          </p:cNvPr>
          <p:cNvSpPr/>
          <p:nvPr userDrawn="1"/>
        </p:nvSpPr>
        <p:spPr>
          <a:xfrm>
            <a:off x="3842930" y="0"/>
            <a:ext cx="8349070" cy="6841154"/>
          </a:xfrm>
          <a:custGeom>
            <a:avLst/>
            <a:gdLst>
              <a:gd name="connsiteX0" fmla="*/ 6977688 w 8349070"/>
              <a:gd name="connsiteY0" fmla="*/ 0 h 6841154"/>
              <a:gd name="connsiteX1" fmla="*/ 8349070 w 8349070"/>
              <a:gd name="connsiteY1" fmla="*/ 0 h 6841154"/>
              <a:gd name="connsiteX2" fmla="*/ 8349070 w 8349070"/>
              <a:gd name="connsiteY2" fmla="*/ 5402533 h 6841154"/>
              <a:gd name="connsiteX3" fmla="*/ 6851859 w 8349070"/>
              <a:gd name="connsiteY3" fmla="*/ 6841154 h 6841154"/>
              <a:gd name="connsiteX4" fmla="*/ 0 w 8349070"/>
              <a:gd name="connsiteY4" fmla="*/ 6841154 h 6841154"/>
              <a:gd name="connsiteX5" fmla="*/ 55230 w 8349070"/>
              <a:gd name="connsiteY5" fmla="*/ 6746876 h 6841154"/>
              <a:gd name="connsiteX6" fmla="*/ 334016 w 8349070"/>
              <a:gd name="connsiteY6" fmla="*/ 6400901 h 68411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349070" h="6841154">
                <a:moveTo>
                  <a:pt x="6977688" y="0"/>
                </a:moveTo>
                <a:lnTo>
                  <a:pt x="8349070" y="0"/>
                </a:lnTo>
                <a:lnTo>
                  <a:pt x="8349070" y="5402533"/>
                </a:lnTo>
                <a:lnTo>
                  <a:pt x="6851859" y="6841154"/>
                </a:lnTo>
                <a:lnTo>
                  <a:pt x="0" y="6841154"/>
                </a:lnTo>
                <a:lnTo>
                  <a:pt x="55230" y="6746876"/>
                </a:lnTo>
                <a:cubicBezTo>
                  <a:pt x="141126" y="6614317"/>
                  <a:pt x="235379" y="6495995"/>
                  <a:pt x="334016" y="6400901"/>
                </a:cubicBezTo>
                <a:close/>
              </a:path>
            </a:pathLst>
          </a:custGeom>
          <a:solidFill>
            <a:schemeClr val="bg1">
              <a:alpha val="50000"/>
            </a:schemeClr>
          </a:solidFill>
          <a:ln w="4630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703AE73-0813-1AD7-3E72-C71BFF01092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3DB84476-BC29-4407-9D57-B2E562B8968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5" name="Title 11">
            <a:extLst>
              <a:ext uri="{FF2B5EF4-FFF2-40B4-BE49-F238E27FC236}">
                <a16:creationId xmlns:a16="http://schemas.microsoft.com/office/drawing/2014/main" id="{E47DAE63-DEA0-E46F-C169-4404F2E294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5317" y="422444"/>
            <a:ext cx="7815651" cy="1080120"/>
          </a:xfrm>
        </p:spPr>
        <p:txBody>
          <a:bodyPr vert="horz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25818262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2">
    <p:bg>
      <p:bgPr>
        <a:solidFill>
          <a:srgbClr val="750D6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2FCA15A6-5D9D-7EB0-7EAB-66136DC09318}"/>
              </a:ext>
            </a:extLst>
          </p:cNvPr>
          <p:cNvSpPr/>
          <p:nvPr userDrawn="1"/>
        </p:nvSpPr>
        <p:spPr>
          <a:xfrm>
            <a:off x="4670361" y="334156"/>
            <a:ext cx="6168665" cy="6506999"/>
          </a:xfrm>
          <a:custGeom>
            <a:avLst/>
            <a:gdLst>
              <a:gd name="connsiteX0" fmla="*/ 5982236 w 6168665"/>
              <a:gd name="connsiteY0" fmla="*/ 55 h 6506999"/>
              <a:gd name="connsiteX1" fmla="*/ 6168665 w 6168665"/>
              <a:gd name="connsiteY1" fmla="*/ 307414 h 6506999"/>
              <a:gd name="connsiteX2" fmla="*/ 6168665 w 6168665"/>
              <a:gd name="connsiteY2" fmla="*/ 3114034 h 6506999"/>
              <a:gd name="connsiteX3" fmla="*/ 5745199 w 6168665"/>
              <a:gd name="connsiteY3" fmla="*/ 4108249 h 6506999"/>
              <a:gd name="connsiteX4" fmla="*/ 3248756 w 6168665"/>
              <a:gd name="connsiteY4" fmla="*/ 6506999 h 6506999"/>
              <a:gd name="connsiteX5" fmla="*/ 0 w 6168665"/>
              <a:gd name="connsiteY5" fmla="*/ 6506999 h 6506999"/>
              <a:gd name="connsiteX6" fmla="*/ 1037 w 6168665"/>
              <a:gd name="connsiteY6" fmla="*/ 6246740 h 6506999"/>
              <a:gd name="connsiteX7" fmla="*/ 426494 w 6168665"/>
              <a:gd name="connsiteY7" fmla="*/ 5252136 h 6506999"/>
              <a:gd name="connsiteX8" fmla="*/ 5745595 w 6168665"/>
              <a:gd name="connsiteY8" fmla="*/ 127404 h 6506999"/>
              <a:gd name="connsiteX9" fmla="*/ 5982236 w 6168665"/>
              <a:gd name="connsiteY9" fmla="*/ 55 h 6506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168665" h="6506999">
                <a:moveTo>
                  <a:pt x="5982236" y="55"/>
                </a:moveTo>
                <a:cubicBezTo>
                  <a:pt x="6094763" y="-2782"/>
                  <a:pt x="6168665" y="104606"/>
                  <a:pt x="6168665" y="307414"/>
                </a:cubicBezTo>
                <a:lnTo>
                  <a:pt x="6168665" y="3114034"/>
                </a:lnTo>
                <a:cubicBezTo>
                  <a:pt x="6168665" y="3438526"/>
                  <a:pt x="5979079" y="3883540"/>
                  <a:pt x="5745199" y="4108249"/>
                </a:cubicBezTo>
                <a:lnTo>
                  <a:pt x="3248756" y="6506999"/>
                </a:lnTo>
                <a:lnTo>
                  <a:pt x="0" y="6506999"/>
                </a:lnTo>
                <a:lnTo>
                  <a:pt x="1037" y="6246740"/>
                </a:lnTo>
                <a:cubicBezTo>
                  <a:pt x="1037" y="5922256"/>
                  <a:pt x="193010" y="5477233"/>
                  <a:pt x="426494" y="5252136"/>
                </a:cubicBezTo>
                <a:lnTo>
                  <a:pt x="5745595" y="127404"/>
                </a:lnTo>
                <a:cubicBezTo>
                  <a:pt x="5833300" y="43141"/>
                  <a:pt x="5914720" y="1758"/>
                  <a:pt x="5982236" y="55"/>
                </a:cubicBezTo>
                <a:close/>
              </a:path>
            </a:pathLst>
          </a:custGeom>
          <a:solidFill>
            <a:srgbClr val="00A070">
              <a:alpha val="76000"/>
            </a:srgbClr>
          </a:solidFill>
          <a:ln w="4630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703AE73-0813-1AD7-3E72-C71BFF01092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DB84476-BC29-4407-9D57-B2E562B8968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2E0AC103-BF79-BBD4-4F66-81534E3E49E0}"/>
              </a:ext>
            </a:extLst>
          </p:cNvPr>
          <p:cNvSpPr/>
          <p:nvPr userDrawn="1"/>
        </p:nvSpPr>
        <p:spPr>
          <a:xfrm>
            <a:off x="7104112" y="855869"/>
            <a:ext cx="2174700" cy="3294723"/>
          </a:xfrm>
          <a:custGeom>
            <a:avLst/>
            <a:gdLst>
              <a:gd name="connsiteX0" fmla="*/ 1805 w 716872"/>
              <a:gd name="connsiteY0" fmla="*/ 724844 h 1086078"/>
              <a:gd name="connsiteX1" fmla="*/ 51167 w 716872"/>
              <a:gd name="connsiteY1" fmla="*/ 609449 h 1086078"/>
              <a:gd name="connsiteX2" fmla="*/ 668295 w 716872"/>
              <a:gd name="connsiteY2" fmla="*/ 14872 h 1086078"/>
              <a:gd name="connsiteX3" fmla="*/ 717380 w 716872"/>
              <a:gd name="connsiteY3" fmla="*/ 35757 h 1086078"/>
              <a:gd name="connsiteX4" fmla="*/ 717380 w 716872"/>
              <a:gd name="connsiteY4" fmla="*/ 361384 h 1086078"/>
              <a:gd name="connsiteX5" fmla="*/ 668249 w 716872"/>
              <a:gd name="connsiteY5" fmla="*/ 476734 h 1086078"/>
              <a:gd name="connsiteX6" fmla="*/ 49361 w 716872"/>
              <a:gd name="connsiteY6" fmla="*/ 1071403 h 1086078"/>
              <a:gd name="connsiteX7" fmla="*/ 508 w 716872"/>
              <a:gd name="connsiteY7" fmla="*/ 1050472 h 1086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16872" h="1086078">
                <a:moveTo>
                  <a:pt x="1805" y="724844"/>
                </a:moveTo>
                <a:cubicBezTo>
                  <a:pt x="1805" y="687197"/>
                  <a:pt x="24078" y="635565"/>
                  <a:pt x="51167" y="609449"/>
                </a:cubicBezTo>
                <a:lnTo>
                  <a:pt x="668295" y="14872"/>
                </a:lnTo>
                <a:cubicBezTo>
                  <a:pt x="695430" y="-11198"/>
                  <a:pt x="717380" y="-1891"/>
                  <a:pt x="717380" y="35757"/>
                </a:cubicBezTo>
                <a:lnTo>
                  <a:pt x="717380" y="361384"/>
                </a:lnTo>
                <a:cubicBezTo>
                  <a:pt x="717380" y="399032"/>
                  <a:pt x="695384" y="450663"/>
                  <a:pt x="668249" y="476734"/>
                </a:cubicBezTo>
                <a:lnTo>
                  <a:pt x="49361" y="1071403"/>
                </a:lnTo>
                <a:cubicBezTo>
                  <a:pt x="22226" y="1097473"/>
                  <a:pt x="369" y="1088119"/>
                  <a:pt x="508" y="1050472"/>
                </a:cubicBezTo>
                <a:close/>
              </a:path>
            </a:pathLst>
          </a:custGeom>
          <a:solidFill>
            <a:srgbClr val="E9473D">
              <a:alpha val="45000"/>
            </a:srgbClr>
          </a:solidFill>
          <a:ln w="4630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88753DF1-4BC3-4EAD-9B6F-2E71E9BC65EF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-13402"/>
            <a:ext cx="9048328" cy="6871402"/>
          </a:xfrm>
          <a:custGeom>
            <a:avLst/>
            <a:gdLst>
              <a:gd name="connsiteX0" fmla="*/ 1078275 w 8986314"/>
              <a:gd name="connsiteY0" fmla="*/ 0 h 6824308"/>
              <a:gd name="connsiteX1" fmla="*/ 8986314 w 8986314"/>
              <a:gd name="connsiteY1" fmla="*/ 0 h 6824308"/>
              <a:gd name="connsiteX2" fmla="*/ 8885776 w 8986314"/>
              <a:gd name="connsiteY2" fmla="*/ 211633 h 6824308"/>
              <a:gd name="connsiteX3" fmla="*/ 8413938 w 8986314"/>
              <a:gd name="connsiteY3" fmla="*/ 864817 h 6824308"/>
              <a:gd name="connsiteX4" fmla="*/ 2211738 w 8986314"/>
              <a:gd name="connsiteY4" fmla="*/ 6824308 h 6824308"/>
              <a:gd name="connsiteX5" fmla="*/ 0 w 8986314"/>
              <a:gd name="connsiteY5" fmla="*/ 6824308 h 6824308"/>
              <a:gd name="connsiteX6" fmla="*/ 0 w 8986314"/>
              <a:gd name="connsiteY6" fmla="*/ 1038873 h 68243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986314" h="6824308">
                <a:moveTo>
                  <a:pt x="1078275" y="0"/>
                </a:moveTo>
                <a:lnTo>
                  <a:pt x="8986314" y="0"/>
                </a:lnTo>
                <a:lnTo>
                  <a:pt x="8885776" y="211633"/>
                </a:lnTo>
                <a:cubicBezTo>
                  <a:pt x="8751089" y="467221"/>
                  <a:pt x="8588720" y="696889"/>
                  <a:pt x="8413938" y="864817"/>
                </a:cubicBezTo>
                <a:lnTo>
                  <a:pt x="2211738" y="6824308"/>
                </a:lnTo>
                <a:lnTo>
                  <a:pt x="0" y="6824308"/>
                </a:lnTo>
                <a:lnTo>
                  <a:pt x="0" y="1038873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algn="ctr">
              <a:defRPr sz="1200" b="0"/>
            </a:lvl1pPr>
          </a:lstStyle>
          <a:p>
            <a:endParaRPr lang="en-GB"/>
          </a:p>
        </p:txBody>
      </p:sp>
      <p:sp>
        <p:nvSpPr>
          <p:cNvPr id="18" name="Text Placeholder 16">
            <a:extLst>
              <a:ext uri="{FF2B5EF4-FFF2-40B4-BE49-F238E27FC236}">
                <a16:creationId xmlns:a16="http://schemas.microsoft.com/office/drawing/2014/main" id="{5A6D1114-3527-E0DC-8823-3465CE4FEEB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23890" y="2636913"/>
            <a:ext cx="10944222" cy="1584176"/>
          </a:xfrm>
        </p:spPr>
        <p:txBody>
          <a:bodyPr anchor="ctr">
            <a:noAutofit/>
          </a:bodyPr>
          <a:lstStyle>
            <a:lvl1pPr algn="ctr">
              <a:defRPr sz="6600">
                <a:solidFill>
                  <a:schemeClr val="bg1"/>
                </a:solidFill>
              </a:defRPr>
            </a:lvl1pPr>
            <a:lvl2pPr algn="ctr">
              <a:defRPr sz="8000" b="1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1"/>
            <a:r>
              <a:rPr lang="en-US"/>
              <a:t>Enter title here</a:t>
            </a:r>
            <a:endParaRPr lang="en-GB"/>
          </a:p>
        </p:txBody>
      </p:sp>
      <p:sp>
        <p:nvSpPr>
          <p:cNvPr id="121" name="Text Placeholder 120">
            <a:extLst>
              <a:ext uri="{FF2B5EF4-FFF2-40B4-BE49-F238E27FC236}">
                <a16:creationId xmlns:a16="http://schemas.microsoft.com/office/drawing/2014/main" id="{CC9B63C1-5D83-8FAB-57CF-FDDC4C7A470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669672" y="1197179"/>
            <a:ext cx="3374582" cy="5112571"/>
          </a:xfrm>
          <a:custGeom>
            <a:avLst/>
            <a:gdLst>
              <a:gd name="connsiteX0" fmla="*/ 101819 w 3374582"/>
              <a:gd name="connsiteY0" fmla="*/ 30 h 5112571"/>
              <a:gd name="connsiteX1" fmla="*/ 231061 w 3374582"/>
              <a:gd name="connsiteY1" fmla="*/ 69582 h 5112571"/>
              <a:gd name="connsiteX2" fmla="*/ 3136108 w 3374582"/>
              <a:gd name="connsiteY2" fmla="*/ 2868474 h 5112571"/>
              <a:gd name="connsiteX3" fmla="*/ 3368473 w 3374582"/>
              <a:gd name="connsiteY3" fmla="*/ 3411681 h 5112571"/>
              <a:gd name="connsiteX4" fmla="*/ 3374579 w 3374582"/>
              <a:gd name="connsiteY4" fmla="*/ 4944532 h 5112571"/>
              <a:gd name="connsiteX5" fmla="*/ 3144610 w 3374582"/>
              <a:gd name="connsiteY5" fmla="*/ 5043062 h 5112571"/>
              <a:gd name="connsiteX6" fmla="*/ 231277 w 3374582"/>
              <a:gd name="connsiteY6" fmla="*/ 2243736 h 5112571"/>
              <a:gd name="connsiteX7" fmla="*/ 0 w 3374582"/>
              <a:gd name="connsiteY7" fmla="*/ 1700741 h 5112571"/>
              <a:gd name="connsiteX8" fmla="*/ 0 w 3374582"/>
              <a:gd name="connsiteY8" fmla="*/ 167895 h 5112571"/>
              <a:gd name="connsiteX9" fmla="*/ 101819 w 3374582"/>
              <a:gd name="connsiteY9" fmla="*/ 30 h 51125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374582" h="5112571">
                <a:moveTo>
                  <a:pt x="101819" y="30"/>
                </a:moveTo>
                <a:cubicBezTo>
                  <a:pt x="138693" y="960"/>
                  <a:pt x="183161" y="23562"/>
                  <a:pt x="231061" y="69582"/>
                </a:cubicBezTo>
                <a:lnTo>
                  <a:pt x="3136108" y="2868474"/>
                </a:lnTo>
                <a:cubicBezTo>
                  <a:pt x="3263626" y="2991412"/>
                  <a:pt x="3368473" y="3234463"/>
                  <a:pt x="3368473" y="3411681"/>
                </a:cubicBezTo>
                <a:lnTo>
                  <a:pt x="3374579" y="4944532"/>
                </a:lnTo>
                <a:cubicBezTo>
                  <a:pt x="3375233" y="5121750"/>
                  <a:pt x="3272344" y="5165783"/>
                  <a:pt x="3144610" y="5043062"/>
                </a:cubicBezTo>
                <a:lnTo>
                  <a:pt x="231277" y="2243736"/>
                </a:lnTo>
                <a:cubicBezTo>
                  <a:pt x="103543" y="2121010"/>
                  <a:pt x="0" y="1877964"/>
                  <a:pt x="0" y="1700741"/>
                </a:cubicBezTo>
                <a:lnTo>
                  <a:pt x="0" y="167895"/>
                </a:lnTo>
                <a:cubicBezTo>
                  <a:pt x="0" y="57131"/>
                  <a:pt x="40362" y="-1519"/>
                  <a:pt x="101819" y="30"/>
                </a:cubicBezTo>
                <a:close/>
              </a:path>
            </a:pathLst>
          </a:custGeom>
          <a:solidFill>
            <a:schemeClr val="accent4">
              <a:alpha val="30000"/>
            </a:schemeClr>
          </a:solidFill>
        </p:spPr>
        <p:txBody>
          <a:bodyPr wrap="square" anchor="ctr">
            <a:noAutofit/>
          </a:bodyPr>
          <a:lstStyle>
            <a:lvl1pPr algn="ctr">
              <a:defRPr sz="100">
                <a:solidFill>
                  <a:schemeClr val="accent4">
                    <a:alpha val="0"/>
                  </a:schemeClr>
                </a:solidFill>
              </a:defRPr>
            </a:lvl1pPr>
          </a:lstStyle>
          <a:p>
            <a:pPr lvl="0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8465569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decel="10000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1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8" decel="10000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2" decel="10000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1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121">
                                            <p:bg/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121">
                                            <p:bg/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2" presetClass="entr" presetSubtype="2" decel="100000" fill="hold" grpId="0" nodeType="withEffect" nodePh="1">
                                  <p:stCondLst>
                                    <p:cond delay="500"/>
                                  </p:stCondLst>
                                  <p:endCondLst>
                                    <p:cond evt="begin" delay="0">
                                      <p:tn val="21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1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1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1250"/>
                            </p:stCondLst>
                            <p:childTnLst>
                              <p:par>
                                <p:cTn id="26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iterate type="lt">
                                    <p:tmPct val="5000"/>
                                  </p:iterate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animBg="1"/>
      <p:bldP spid="13" grpId="0" animBg="1"/>
      <p:bldP spid="16" grpId="0" animBg="1"/>
      <p:bldP spid="18" grpId="0" build="p"/>
      <p:bldP spid="121" grpId="0" build="p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121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121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  <p:tmpl lvl="1">
            <p:tnLst>
              <p:par>
                <p:cTn presetID="2" presetClass="entr" presetSubtype="2" decel="100000" fill="hold" nodeType="withEffect" nodePh="1">
                  <p:stCondLst>
                    <p:cond delay="500"/>
                  </p:stCondLst>
                  <p:endCondLst>
                    <p:cond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121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121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</p:bldLst>
  </p:timing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1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7" name="Text Placeholder 146">
            <a:extLst>
              <a:ext uri="{FF2B5EF4-FFF2-40B4-BE49-F238E27FC236}">
                <a16:creationId xmlns:a16="http://schemas.microsoft.com/office/drawing/2014/main" id="{AA7C710D-8E47-E3A8-2CF9-60EA5688C40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884353" y="0"/>
            <a:ext cx="8307649" cy="6858000"/>
          </a:xfrm>
          <a:custGeom>
            <a:avLst/>
            <a:gdLst>
              <a:gd name="connsiteX0" fmla="*/ 5698023 w 8307649"/>
              <a:gd name="connsiteY0" fmla="*/ 0 h 6858000"/>
              <a:gd name="connsiteX1" fmla="*/ 8307649 w 8307649"/>
              <a:gd name="connsiteY1" fmla="*/ 0 h 6858000"/>
              <a:gd name="connsiteX2" fmla="*/ 8307649 w 8307649"/>
              <a:gd name="connsiteY2" fmla="*/ 3284129 h 6858000"/>
              <a:gd name="connsiteX3" fmla="*/ 4588225 w 8307649"/>
              <a:gd name="connsiteY3" fmla="*/ 6858000 h 6858000"/>
              <a:gd name="connsiteX4" fmla="*/ 0 w 8307649"/>
              <a:gd name="connsiteY4" fmla="*/ 6858000 h 6858000"/>
              <a:gd name="connsiteX5" fmla="*/ 2065 w 8307649"/>
              <a:gd name="connsiteY5" fmla="*/ 6339573 h 6858000"/>
              <a:gd name="connsiteX6" fmla="*/ 621851 w 8307649"/>
              <a:gd name="connsiteY6" fmla="*/ 4890681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307649" h="6858000">
                <a:moveTo>
                  <a:pt x="5698023" y="0"/>
                </a:moveTo>
                <a:lnTo>
                  <a:pt x="8307649" y="0"/>
                </a:lnTo>
                <a:lnTo>
                  <a:pt x="8307649" y="3284129"/>
                </a:lnTo>
                <a:lnTo>
                  <a:pt x="4588225" y="6858000"/>
                </a:lnTo>
                <a:lnTo>
                  <a:pt x="0" y="6858000"/>
                </a:lnTo>
                <a:lnTo>
                  <a:pt x="2065" y="6339573"/>
                </a:lnTo>
                <a:cubicBezTo>
                  <a:pt x="2065" y="5866880"/>
                  <a:pt x="281723" y="5218592"/>
                  <a:pt x="621851" y="4890681"/>
                </a:cubicBezTo>
                <a:close/>
              </a:path>
            </a:pathLst>
          </a:custGeom>
          <a:solidFill>
            <a:schemeClr val="accent2">
              <a:alpha val="10000"/>
            </a:schemeClr>
          </a:solidFill>
        </p:spPr>
        <p:txBody>
          <a:bodyPr wrap="square" anchor="ctr">
            <a:noAutofit/>
          </a:bodyPr>
          <a:lstStyle>
            <a:lvl1pPr algn="ctr">
              <a:defRPr sz="100">
                <a:solidFill>
                  <a:schemeClr val="accent2">
                    <a:alpha val="0"/>
                  </a:schemeClr>
                </a:solidFill>
              </a:defRPr>
            </a:lvl1pPr>
          </a:lstStyle>
          <a:p>
            <a:pPr lvl="0"/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703AE73-0813-1AD7-3E72-C71BFF01092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DB84476-BC29-4407-9D57-B2E562B8968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BAC155FC-D973-D576-838C-25A1E227425B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9050553" y="0"/>
            <a:ext cx="2566530" cy="2324996"/>
          </a:xfrm>
          <a:custGeom>
            <a:avLst/>
            <a:gdLst>
              <a:gd name="connsiteX0" fmla="*/ 465501 w 2566530"/>
              <a:gd name="connsiteY0" fmla="*/ 0 h 2324996"/>
              <a:gd name="connsiteX1" fmla="*/ 2566530 w 2566530"/>
              <a:gd name="connsiteY1" fmla="*/ 0 h 2324996"/>
              <a:gd name="connsiteX2" fmla="*/ 214236 w 2566530"/>
              <a:gd name="connsiteY2" fmla="*/ 2260243 h 2324996"/>
              <a:gd name="connsiteX3" fmla="*/ 3 w 2566530"/>
              <a:gd name="connsiteY3" fmla="*/ 2168455 h 2324996"/>
              <a:gd name="connsiteX4" fmla="*/ 5690 w 2566530"/>
              <a:gd name="connsiteY4" fmla="*/ 740490 h 2324996"/>
              <a:gd name="connsiteX5" fmla="*/ 222156 w 2566530"/>
              <a:gd name="connsiteY5" fmla="*/ 234452 h 23249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566530" h="2324996">
                <a:moveTo>
                  <a:pt x="465501" y="0"/>
                </a:moveTo>
                <a:lnTo>
                  <a:pt x="2566530" y="0"/>
                </a:lnTo>
                <a:lnTo>
                  <a:pt x="214236" y="2260243"/>
                </a:lnTo>
                <a:cubicBezTo>
                  <a:pt x="95242" y="2374566"/>
                  <a:pt x="-607" y="2333547"/>
                  <a:pt x="3" y="2168455"/>
                </a:cubicBezTo>
                <a:lnTo>
                  <a:pt x="5690" y="740490"/>
                </a:lnTo>
                <a:cubicBezTo>
                  <a:pt x="5690" y="575398"/>
                  <a:pt x="103363" y="348978"/>
                  <a:pt x="222156" y="234452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algn="ctr">
              <a:defRPr sz="1200" b="0"/>
            </a:lvl1pPr>
          </a:lstStyle>
          <a:p>
            <a:endParaRPr lang="en-GB"/>
          </a:p>
        </p:txBody>
      </p:sp>
      <p:sp>
        <p:nvSpPr>
          <p:cNvPr id="25" name="Picture Placeholder 24">
            <a:extLst>
              <a:ext uri="{FF2B5EF4-FFF2-40B4-BE49-F238E27FC236}">
                <a16:creationId xmlns:a16="http://schemas.microsoft.com/office/drawing/2014/main" id="{394AD9BD-C5AB-9506-5096-F88CE0F314D3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10850755" y="1"/>
            <a:ext cx="1341247" cy="2863547"/>
          </a:xfrm>
          <a:custGeom>
            <a:avLst/>
            <a:gdLst>
              <a:gd name="connsiteX0" fmla="*/ 1024478 w 1341247"/>
              <a:gd name="connsiteY0" fmla="*/ 0 h 2863547"/>
              <a:gd name="connsiteX1" fmla="*/ 1341247 w 1341247"/>
              <a:gd name="connsiteY1" fmla="*/ 0 h 2863547"/>
              <a:gd name="connsiteX2" fmla="*/ 1341247 w 1341247"/>
              <a:gd name="connsiteY2" fmla="*/ 1715886 h 2863547"/>
              <a:gd name="connsiteX3" fmla="*/ 214236 w 1341247"/>
              <a:gd name="connsiteY3" fmla="*/ 2798794 h 2863547"/>
              <a:gd name="connsiteX4" fmla="*/ 3 w 1341247"/>
              <a:gd name="connsiteY4" fmla="*/ 2707006 h 2863547"/>
              <a:gd name="connsiteX5" fmla="*/ 5690 w 1341247"/>
              <a:gd name="connsiteY5" fmla="*/ 1279041 h 2863547"/>
              <a:gd name="connsiteX6" fmla="*/ 222156 w 1341247"/>
              <a:gd name="connsiteY6" fmla="*/ 773003 h 28635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41247" h="2863547">
                <a:moveTo>
                  <a:pt x="1024478" y="0"/>
                </a:moveTo>
                <a:lnTo>
                  <a:pt x="1341247" y="0"/>
                </a:lnTo>
                <a:lnTo>
                  <a:pt x="1341247" y="1715886"/>
                </a:lnTo>
                <a:lnTo>
                  <a:pt x="214236" y="2798794"/>
                </a:lnTo>
                <a:cubicBezTo>
                  <a:pt x="95242" y="2913117"/>
                  <a:pt x="-607" y="2872098"/>
                  <a:pt x="3" y="2707006"/>
                </a:cubicBezTo>
                <a:lnTo>
                  <a:pt x="5690" y="1279041"/>
                </a:lnTo>
                <a:cubicBezTo>
                  <a:pt x="5690" y="1113949"/>
                  <a:pt x="103363" y="887529"/>
                  <a:pt x="222156" y="773003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algn="ctr">
              <a:defRPr sz="1200" b="0"/>
            </a:lvl1pPr>
          </a:lstStyle>
          <a:p>
            <a:endParaRPr lang="en-GB"/>
          </a:p>
        </p:txBody>
      </p:sp>
      <p:sp>
        <p:nvSpPr>
          <p:cNvPr id="138" name="Content Placeholder 2">
            <a:extLst>
              <a:ext uri="{FF2B5EF4-FFF2-40B4-BE49-F238E27FC236}">
                <a16:creationId xmlns:a16="http://schemas.microsoft.com/office/drawing/2014/main" id="{023B6287-DC51-AA57-6722-056D2C79521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23888" y="3067997"/>
            <a:ext cx="5314076" cy="3169291"/>
          </a:xfrm>
        </p:spPr>
        <p:txBody>
          <a:bodyPr lIns="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9" name="Title 11">
            <a:extLst>
              <a:ext uri="{FF2B5EF4-FFF2-40B4-BE49-F238E27FC236}">
                <a16:creationId xmlns:a16="http://schemas.microsoft.com/office/drawing/2014/main" id="{34352D96-DF15-8E5E-F95D-12F952799A5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2457" y="1628800"/>
            <a:ext cx="6707679" cy="1080120"/>
          </a:xfr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41" name="Content Placeholder 2">
            <a:extLst>
              <a:ext uri="{FF2B5EF4-FFF2-40B4-BE49-F238E27FC236}">
                <a16:creationId xmlns:a16="http://schemas.microsoft.com/office/drawing/2014/main" id="{86A71CC3-65D1-A737-0BD6-AF9E0DD9F530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6254038" y="3067997"/>
            <a:ext cx="5314076" cy="3169291"/>
          </a:xfrm>
        </p:spPr>
        <p:txBody>
          <a:bodyPr lIns="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4" name="Text Placeholder 143">
            <a:extLst>
              <a:ext uri="{FF2B5EF4-FFF2-40B4-BE49-F238E27FC236}">
                <a16:creationId xmlns:a16="http://schemas.microsoft.com/office/drawing/2014/main" id="{510F25E8-1438-42EB-CE08-E53079A70AC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760934" y="1340101"/>
            <a:ext cx="4431067" cy="5517900"/>
          </a:xfrm>
          <a:custGeom>
            <a:avLst/>
            <a:gdLst>
              <a:gd name="connsiteX0" fmla="*/ 157026 w 4431067"/>
              <a:gd name="connsiteY0" fmla="*/ 43 h 5517900"/>
              <a:gd name="connsiteX1" fmla="*/ 357885 w 4431067"/>
              <a:gd name="connsiteY1" fmla="*/ 108172 h 5517900"/>
              <a:gd name="connsiteX2" fmla="*/ 4431067 w 4431067"/>
              <a:gd name="connsiteY2" fmla="*/ 4021958 h 5517900"/>
              <a:gd name="connsiteX3" fmla="*/ 4431067 w 4431067"/>
              <a:gd name="connsiteY3" fmla="*/ 5517900 h 5517900"/>
              <a:gd name="connsiteX4" fmla="*/ 2473557 w 4431067"/>
              <a:gd name="connsiteY4" fmla="*/ 5517900 h 5517900"/>
              <a:gd name="connsiteX5" fmla="*/ 371115 w 4431067"/>
              <a:gd name="connsiteY5" fmla="*/ 3492284 h 5517900"/>
              <a:gd name="connsiteX6" fmla="*/ 9506 w 4431067"/>
              <a:gd name="connsiteY6" fmla="*/ 2646941 h 5517900"/>
              <a:gd name="connsiteX7" fmla="*/ 5 w 4431067"/>
              <a:gd name="connsiteY7" fmla="*/ 261505 h 5517900"/>
              <a:gd name="connsiteX8" fmla="*/ 157026 w 4431067"/>
              <a:gd name="connsiteY8" fmla="*/ 43 h 55179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431067" h="5517900">
                <a:moveTo>
                  <a:pt x="157026" y="43"/>
                </a:moveTo>
                <a:cubicBezTo>
                  <a:pt x="214236" y="1430"/>
                  <a:pt x="283342" y="36555"/>
                  <a:pt x="357885" y="108172"/>
                </a:cubicBezTo>
                <a:lnTo>
                  <a:pt x="4431067" y="4021958"/>
                </a:lnTo>
                <a:lnTo>
                  <a:pt x="4431067" y="5517900"/>
                </a:lnTo>
                <a:lnTo>
                  <a:pt x="2473557" y="5517900"/>
                </a:lnTo>
                <a:lnTo>
                  <a:pt x="371115" y="3492284"/>
                </a:lnTo>
                <a:cubicBezTo>
                  <a:pt x="172670" y="3300968"/>
                  <a:pt x="9506" y="2922730"/>
                  <a:pt x="9506" y="2646941"/>
                </a:cubicBezTo>
                <a:lnTo>
                  <a:pt x="5" y="261505"/>
                </a:lnTo>
                <a:cubicBezTo>
                  <a:pt x="-632" y="89137"/>
                  <a:pt x="61675" y="-2268"/>
                  <a:pt x="157026" y="43"/>
                </a:cubicBezTo>
                <a:close/>
              </a:path>
            </a:pathLst>
          </a:custGeom>
          <a:solidFill>
            <a:srgbClr val="750D68">
              <a:alpha val="10000"/>
            </a:srgbClr>
          </a:solidFill>
        </p:spPr>
        <p:txBody>
          <a:bodyPr wrap="square" anchor="ctr">
            <a:noAutofit/>
          </a:bodyPr>
          <a:lstStyle>
            <a:lvl1pPr algn="ctr">
              <a:defRPr sz="100">
                <a:solidFill>
                  <a:srgbClr val="750D68">
                    <a:alpha val="0"/>
                  </a:srgbClr>
                </a:solidFill>
              </a:defRPr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1952923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3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703AE73-0813-1AD7-3E72-C71BFF01092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DB84476-BC29-4407-9D57-B2E562B8968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1" name="Picture Placeholder 20">
            <a:extLst>
              <a:ext uri="{FF2B5EF4-FFF2-40B4-BE49-F238E27FC236}">
                <a16:creationId xmlns:a16="http://schemas.microsoft.com/office/drawing/2014/main" id="{3CDD6310-32C9-D02A-F75A-8202E2F8AA18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3487286" y="0"/>
            <a:ext cx="8704714" cy="6858000"/>
          </a:xfrm>
          <a:custGeom>
            <a:avLst/>
            <a:gdLst>
              <a:gd name="connsiteX0" fmla="*/ 2756259 w 8704714"/>
              <a:gd name="connsiteY0" fmla="*/ 0 h 6841154"/>
              <a:gd name="connsiteX1" fmla="*/ 8704714 w 8704714"/>
              <a:gd name="connsiteY1" fmla="*/ 0 h 6841154"/>
              <a:gd name="connsiteX2" fmla="*/ 8704714 w 8704714"/>
              <a:gd name="connsiteY2" fmla="*/ 2314108 h 6841154"/>
              <a:gd name="connsiteX3" fmla="*/ 3993297 w 8704714"/>
              <a:gd name="connsiteY3" fmla="*/ 6841154 h 6841154"/>
              <a:gd name="connsiteX4" fmla="*/ 0 w 8704714"/>
              <a:gd name="connsiteY4" fmla="*/ 6841154 h 6841154"/>
              <a:gd name="connsiteX5" fmla="*/ 12006 w 8704714"/>
              <a:gd name="connsiteY5" fmla="*/ 3826853 h 6841154"/>
              <a:gd name="connsiteX6" fmla="*/ 872739 w 8704714"/>
              <a:gd name="connsiteY6" fmla="*/ 1814693 h 68411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704714" h="6841154">
                <a:moveTo>
                  <a:pt x="2756259" y="0"/>
                </a:moveTo>
                <a:lnTo>
                  <a:pt x="8704714" y="0"/>
                </a:lnTo>
                <a:lnTo>
                  <a:pt x="8704714" y="2314108"/>
                </a:lnTo>
                <a:lnTo>
                  <a:pt x="3993297" y="6841154"/>
                </a:lnTo>
                <a:lnTo>
                  <a:pt x="0" y="6841154"/>
                </a:lnTo>
                <a:lnTo>
                  <a:pt x="12006" y="3826853"/>
                </a:lnTo>
                <a:cubicBezTo>
                  <a:pt x="12006" y="3170397"/>
                  <a:pt x="400384" y="2270082"/>
                  <a:pt x="872739" y="1814693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algn="ctr">
              <a:defRPr sz="1800" b="0">
                <a:solidFill>
                  <a:schemeClr val="tx1"/>
                </a:solidFill>
              </a:defRPr>
            </a:lvl1pPr>
          </a:lstStyle>
          <a:p>
            <a:endParaRPr lang="en-GB"/>
          </a:p>
        </p:txBody>
      </p:sp>
      <p:sp>
        <p:nvSpPr>
          <p:cNvPr id="24" name="Picture Placeholder 23">
            <a:extLst>
              <a:ext uri="{FF2B5EF4-FFF2-40B4-BE49-F238E27FC236}">
                <a16:creationId xmlns:a16="http://schemas.microsoft.com/office/drawing/2014/main" id="{F2B89C08-3145-4E61-F74B-4EC92B6D5D5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399802"/>
            <a:ext cx="4700424" cy="6458199"/>
          </a:xfrm>
          <a:custGeom>
            <a:avLst/>
            <a:gdLst>
              <a:gd name="connsiteX0" fmla="*/ 4516707 w 4700424"/>
              <a:gd name="connsiteY0" fmla="*/ 55 h 6458199"/>
              <a:gd name="connsiteX1" fmla="*/ 4700424 w 4700424"/>
              <a:gd name="connsiteY1" fmla="*/ 302944 h 6458199"/>
              <a:gd name="connsiteX2" fmla="*/ 4700424 w 4700424"/>
              <a:gd name="connsiteY2" fmla="*/ 3068743 h 6458199"/>
              <a:gd name="connsiteX3" fmla="*/ 4283117 w 4700424"/>
              <a:gd name="connsiteY3" fmla="*/ 4048499 h 6458199"/>
              <a:gd name="connsiteX4" fmla="*/ 1775277 w 4700424"/>
              <a:gd name="connsiteY4" fmla="*/ 6458199 h 6458199"/>
              <a:gd name="connsiteX5" fmla="*/ 0 w 4700424"/>
              <a:gd name="connsiteY5" fmla="*/ 6458199 h 6458199"/>
              <a:gd name="connsiteX6" fmla="*/ 0 w 4700424"/>
              <a:gd name="connsiteY6" fmla="*/ 4252532 h 6458199"/>
              <a:gd name="connsiteX7" fmla="*/ 4283508 w 4700424"/>
              <a:gd name="connsiteY7" fmla="*/ 125551 h 6458199"/>
              <a:gd name="connsiteX8" fmla="*/ 4516707 w 4700424"/>
              <a:gd name="connsiteY8" fmla="*/ 55 h 64581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700424" h="6458199">
                <a:moveTo>
                  <a:pt x="4516707" y="55"/>
                </a:moveTo>
                <a:cubicBezTo>
                  <a:pt x="4627597" y="-2741"/>
                  <a:pt x="4700424" y="103085"/>
                  <a:pt x="4700424" y="302944"/>
                </a:cubicBezTo>
                <a:lnTo>
                  <a:pt x="4700424" y="3068743"/>
                </a:lnTo>
                <a:cubicBezTo>
                  <a:pt x="4700424" y="3388516"/>
                  <a:pt x="4513595" y="3827058"/>
                  <a:pt x="4283117" y="4048499"/>
                </a:cubicBezTo>
                <a:lnTo>
                  <a:pt x="1775277" y="6458199"/>
                </a:lnTo>
                <a:lnTo>
                  <a:pt x="0" y="6458199"/>
                </a:lnTo>
                <a:lnTo>
                  <a:pt x="0" y="4252532"/>
                </a:lnTo>
                <a:lnTo>
                  <a:pt x="4283508" y="125551"/>
                </a:lnTo>
                <a:cubicBezTo>
                  <a:pt x="4369937" y="42514"/>
                  <a:pt x="4450173" y="1733"/>
                  <a:pt x="4516707" y="55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</p:spPr>
        <p:txBody>
          <a:bodyPr wrap="square" anchor="ctr">
            <a:noAutofit/>
          </a:bodyPr>
          <a:lstStyle>
            <a:lvl1pPr algn="ctr">
              <a:defRPr sz="1800" b="0">
                <a:solidFill>
                  <a:schemeClr val="tx1"/>
                </a:solidFill>
              </a:defRPr>
            </a:lvl1pPr>
          </a:lstStyle>
          <a:p>
            <a:endParaRPr lang="en-GB"/>
          </a:p>
        </p:txBody>
      </p:sp>
      <p:sp>
        <p:nvSpPr>
          <p:cNvPr id="119" name="Text Placeholder 118">
            <a:extLst>
              <a:ext uri="{FF2B5EF4-FFF2-40B4-BE49-F238E27FC236}">
                <a16:creationId xmlns:a16="http://schemas.microsoft.com/office/drawing/2014/main" id="{3498E6CF-EFC3-5EDD-E98E-8BBCE25C4EA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759187" y="1992797"/>
            <a:ext cx="1885144" cy="2856036"/>
          </a:xfrm>
          <a:custGeom>
            <a:avLst/>
            <a:gdLst>
              <a:gd name="connsiteX0" fmla="*/ 1828265 w 1885144"/>
              <a:gd name="connsiteY0" fmla="*/ 17 h 2856036"/>
              <a:gd name="connsiteX1" fmla="*/ 1885144 w 1885144"/>
              <a:gd name="connsiteY1" fmla="*/ 93791 h 2856036"/>
              <a:gd name="connsiteX2" fmla="*/ 1885144 w 1885144"/>
              <a:gd name="connsiteY2" fmla="*/ 950086 h 2856036"/>
              <a:gd name="connsiteX3" fmla="*/ 1755945 w 1885144"/>
              <a:gd name="connsiteY3" fmla="*/ 1253419 h 2856036"/>
              <a:gd name="connsiteX4" fmla="*/ 128470 w 1885144"/>
              <a:gd name="connsiteY4" fmla="*/ 2817207 h 2856036"/>
              <a:gd name="connsiteX5" fmla="*/ 2 w 1885144"/>
              <a:gd name="connsiteY5" fmla="*/ 2762165 h 2856036"/>
              <a:gd name="connsiteX6" fmla="*/ 3413 w 1885144"/>
              <a:gd name="connsiteY6" fmla="*/ 1905868 h 2856036"/>
              <a:gd name="connsiteX7" fmla="*/ 133219 w 1885144"/>
              <a:gd name="connsiteY7" fmla="*/ 1602417 h 2856036"/>
              <a:gd name="connsiteX8" fmla="*/ 1756066 w 1885144"/>
              <a:gd name="connsiteY8" fmla="*/ 38871 h 2856036"/>
              <a:gd name="connsiteX9" fmla="*/ 1828265 w 1885144"/>
              <a:gd name="connsiteY9" fmla="*/ 17 h 28560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885144" h="2856036">
                <a:moveTo>
                  <a:pt x="1828265" y="17"/>
                </a:moveTo>
                <a:cubicBezTo>
                  <a:pt x="1862597" y="-849"/>
                  <a:pt x="1885144" y="31915"/>
                  <a:pt x="1885144" y="93791"/>
                </a:cubicBezTo>
                <a:lnTo>
                  <a:pt x="1885144" y="950086"/>
                </a:lnTo>
                <a:cubicBezTo>
                  <a:pt x="1885144" y="1049088"/>
                  <a:pt x="1827302" y="1184861"/>
                  <a:pt x="1755945" y="1253419"/>
                </a:cubicBezTo>
                <a:lnTo>
                  <a:pt x="128470" y="2817207"/>
                </a:lnTo>
                <a:cubicBezTo>
                  <a:pt x="57113" y="2885762"/>
                  <a:pt x="-364" y="2861164"/>
                  <a:pt x="2" y="2762165"/>
                </a:cubicBezTo>
                <a:lnTo>
                  <a:pt x="3413" y="1905868"/>
                </a:lnTo>
                <a:cubicBezTo>
                  <a:pt x="3413" y="1806869"/>
                  <a:pt x="61983" y="1671093"/>
                  <a:pt x="133219" y="1602417"/>
                </a:cubicBezTo>
                <a:lnTo>
                  <a:pt x="1756066" y="38871"/>
                </a:lnTo>
                <a:cubicBezTo>
                  <a:pt x="1782825" y="13162"/>
                  <a:pt x="1807666" y="536"/>
                  <a:pt x="1828265" y="17"/>
                </a:cubicBezTo>
                <a:close/>
              </a:path>
            </a:pathLst>
          </a:custGeom>
          <a:solidFill>
            <a:srgbClr val="F07E26">
              <a:alpha val="40000"/>
            </a:srgbClr>
          </a:solidFill>
        </p:spPr>
        <p:txBody>
          <a:bodyPr wrap="square" anchor="ctr">
            <a:noAutofit/>
          </a:bodyPr>
          <a:lstStyle>
            <a:lvl1pPr algn="ctr">
              <a:defRPr sz="100">
                <a:solidFill>
                  <a:srgbClr val="F07E26">
                    <a:alpha val="0"/>
                  </a:srgbClr>
                </a:solidFill>
              </a:defRPr>
            </a:lvl1pPr>
            <a:lvl2pPr algn="ctr">
              <a:defRPr>
                <a:solidFill>
                  <a:srgbClr val="F07E26"/>
                </a:solidFill>
              </a:defRPr>
            </a:lvl2pPr>
            <a:lvl3pPr algn="ctr">
              <a:defRPr>
                <a:solidFill>
                  <a:srgbClr val="F07E26"/>
                </a:solidFill>
              </a:defRPr>
            </a:lvl3pPr>
            <a:lvl4pPr algn="ctr">
              <a:defRPr>
                <a:solidFill>
                  <a:srgbClr val="F07E26"/>
                </a:solidFill>
              </a:defRPr>
            </a:lvl4pPr>
            <a:lvl5pPr algn="ctr">
              <a:defRPr>
                <a:solidFill>
                  <a:srgbClr val="F07E26"/>
                </a:solidFill>
              </a:defRPr>
            </a:lvl5pPr>
          </a:lstStyle>
          <a:p>
            <a:pPr lvl="0"/>
            <a:endParaRPr lang="en-GB"/>
          </a:p>
        </p:txBody>
      </p:sp>
      <p:sp>
        <p:nvSpPr>
          <p:cNvPr id="122" name="Text Placeholder 121">
            <a:extLst>
              <a:ext uri="{FF2B5EF4-FFF2-40B4-BE49-F238E27FC236}">
                <a16:creationId xmlns:a16="http://schemas.microsoft.com/office/drawing/2014/main" id="{1699D606-9738-C9EC-FC65-6F6AD95EE2D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404620" y="1269298"/>
            <a:ext cx="4260152" cy="5588702"/>
          </a:xfrm>
          <a:custGeom>
            <a:avLst/>
            <a:gdLst>
              <a:gd name="connsiteX0" fmla="*/ 128617 w 4260152"/>
              <a:gd name="connsiteY0" fmla="*/ 38 h 5588702"/>
              <a:gd name="connsiteX1" fmla="*/ 291876 w 4260152"/>
              <a:gd name="connsiteY1" fmla="*/ 87896 h 5588702"/>
              <a:gd name="connsiteX2" fmla="*/ 3961534 w 4260152"/>
              <a:gd name="connsiteY2" fmla="*/ 3623459 h 5588702"/>
              <a:gd name="connsiteX3" fmla="*/ 4255058 w 4260152"/>
              <a:gd name="connsiteY3" fmla="*/ 4309638 h 5588702"/>
              <a:gd name="connsiteX4" fmla="*/ 4260152 w 4260152"/>
              <a:gd name="connsiteY4" fmla="*/ 5588702 h 5588702"/>
              <a:gd name="connsiteX5" fmla="*/ 3158741 w 4260152"/>
              <a:gd name="connsiteY5" fmla="*/ 5588702 h 5588702"/>
              <a:gd name="connsiteX6" fmla="*/ 292149 w 4260152"/>
              <a:gd name="connsiteY6" fmla="*/ 2834289 h 5588702"/>
              <a:gd name="connsiteX7" fmla="*/ 0 w 4260152"/>
              <a:gd name="connsiteY7" fmla="*/ 2148378 h 5588702"/>
              <a:gd name="connsiteX8" fmla="*/ 0 w 4260152"/>
              <a:gd name="connsiteY8" fmla="*/ 212086 h 5588702"/>
              <a:gd name="connsiteX9" fmla="*/ 128617 w 4260152"/>
              <a:gd name="connsiteY9" fmla="*/ 38 h 55887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4260152" h="5588702">
                <a:moveTo>
                  <a:pt x="128617" y="38"/>
                </a:moveTo>
                <a:cubicBezTo>
                  <a:pt x="175196" y="1213"/>
                  <a:pt x="231368" y="29763"/>
                  <a:pt x="291876" y="87896"/>
                </a:cubicBezTo>
                <a:lnTo>
                  <a:pt x="3961534" y="3623459"/>
                </a:lnTo>
                <a:cubicBezTo>
                  <a:pt x="4122615" y="3778754"/>
                  <a:pt x="4255058" y="4085775"/>
                  <a:pt x="4255058" y="4309638"/>
                </a:cubicBezTo>
                <a:lnTo>
                  <a:pt x="4260152" y="5588702"/>
                </a:lnTo>
                <a:lnTo>
                  <a:pt x="3158741" y="5588702"/>
                </a:lnTo>
                <a:lnTo>
                  <a:pt x="292149" y="2834289"/>
                </a:lnTo>
                <a:cubicBezTo>
                  <a:pt x="130795" y="2679262"/>
                  <a:pt x="0" y="2372246"/>
                  <a:pt x="0" y="2148378"/>
                </a:cubicBezTo>
                <a:lnTo>
                  <a:pt x="0" y="212086"/>
                </a:lnTo>
                <a:cubicBezTo>
                  <a:pt x="0" y="72168"/>
                  <a:pt x="50985" y="-1919"/>
                  <a:pt x="128617" y="38"/>
                </a:cubicBezTo>
                <a:close/>
              </a:path>
            </a:pathLst>
          </a:custGeom>
          <a:solidFill>
            <a:srgbClr val="27257A">
              <a:alpha val="50000"/>
            </a:srgbClr>
          </a:solidFill>
        </p:spPr>
        <p:txBody>
          <a:bodyPr wrap="square" anchor="ctr">
            <a:noAutofit/>
          </a:bodyPr>
          <a:lstStyle>
            <a:lvl1pPr algn="ctr">
              <a:defRPr sz="100">
                <a:solidFill>
                  <a:srgbClr val="27257A">
                    <a:alpha val="0"/>
                  </a:srgbClr>
                </a:solidFill>
              </a:defRPr>
            </a:lvl1pPr>
          </a:lstStyle>
          <a:p>
            <a:pPr lvl="0"/>
            <a:endParaRPr lang="en-GB"/>
          </a:p>
        </p:txBody>
      </p:sp>
      <p:sp>
        <p:nvSpPr>
          <p:cNvPr id="26" name="Text Placeholder 16">
            <a:extLst>
              <a:ext uri="{FF2B5EF4-FFF2-40B4-BE49-F238E27FC236}">
                <a16:creationId xmlns:a16="http://schemas.microsoft.com/office/drawing/2014/main" id="{7B0E17D5-868C-E89F-DA74-17A32A61D9A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23889" y="2636913"/>
            <a:ext cx="10944224" cy="1584176"/>
          </a:xfrm>
        </p:spPr>
        <p:txBody>
          <a:bodyPr anchor="ctr">
            <a:noAutofit/>
          </a:bodyPr>
          <a:lstStyle>
            <a:lvl1pPr algn="ctr">
              <a:defRPr sz="6600">
                <a:solidFill>
                  <a:schemeClr val="bg1"/>
                </a:solidFill>
              </a:defRPr>
            </a:lvl1pPr>
            <a:lvl2pPr algn="ctr">
              <a:defRPr sz="8000" b="1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1"/>
            <a:r>
              <a:rPr lang="en-US"/>
              <a:t>Enter title he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3220846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2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8" decel="10000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3" decel="10000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9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119">
                                            <p:bg/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119">
                                            <p:bg/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3" decel="100000" fill="hold" grpId="0" nodeType="withEffect" nodePh="1">
                                  <p:stCondLst>
                                    <p:cond delay="500"/>
                                  </p:stCondLst>
                                  <p:endCondLst>
                                    <p:cond evt="begin" delay="0">
                                      <p:tn val="17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1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1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2" presetClass="entr" presetSubtype="4" decel="10000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2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122">
                                            <p:bg/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122">
                                            <p:bg/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2" presetClass="entr" presetSubtype="4" decel="100000" fill="hold" grpId="0" nodeType="withEffect" nodePh="1">
                                  <p:stCondLst>
                                    <p:cond delay="750"/>
                                  </p:stCondLst>
                                  <p:endCondLst>
                                    <p:cond evt="begin" delay="0">
                                      <p:tn val="25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12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12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9" fill="hold">
                            <p:stCondLst>
                              <p:cond delay="1250"/>
                            </p:stCondLst>
                            <p:childTnLst>
                              <p:par>
                                <p:cTn id="30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iterate type="lt">
                                    <p:tmPct val="5000"/>
                                  </p:iterate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1" grpId="0" animBg="1"/>
      <p:bldP spid="24" grpId="0" animBg="1"/>
      <p:bldP spid="119" grpId="0" build="p" animBg="1">
        <p:tmplLst>
          <p:tmpl>
            <p:tnLst>
              <p:par>
                <p:cTn presetID="2" presetClass="entr" presetSubtype="3" decel="10000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119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119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0-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  <p:tmpl lvl="1">
            <p:tnLst>
              <p:par>
                <p:cTn presetID="2" presetClass="entr" presetSubtype="3" decel="100000" fill="hold" nodeType="withEffect" nodePh="1">
                  <p:stCondLst>
                    <p:cond delay="500"/>
                  </p:stCondLst>
                  <p:endCondLst>
                    <p:cond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119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119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0-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22" grpId="0" uiExpand="1" build="p" animBg="1">
        <p:tmplLst>
          <p:tmpl>
            <p:tnLst>
              <p:par>
                <p:cTn presetID="2" presetClass="entr" presetSubtype="4" decel="10000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122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122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  <p:tmpl lvl="1">
            <p:tnLst>
              <p:par>
                <p:cTn presetID="2" presetClass="entr" presetSubtype="4" decel="100000" fill="hold" nodeType="withEffect" nodePh="1">
                  <p:stCondLst>
                    <p:cond delay="750"/>
                  </p:stCondLst>
                  <p:endCondLst>
                    <p:cond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122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122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26" grpId="0" build="p">
        <p:tmplLst>
          <p:tmpl lvl="2"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iterate type="lt">
                    <p:tmPct val="5000"/>
                  </p:iterate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6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1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2" name="Text Placeholder 141">
            <a:extLst>
              <a:ext uri="{FF2B5EF4-FFF2-40B4-BE49-F238E27FC236}">
                <a16:creationId xmlns:a16="http://schemas.microsoft.com/office/drawing/2014/main" id="{BF2379A6-416F-A243-1DD7-9276A2B5D9B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466262" y="0"/>
            <a:ext cx="5725739" cy="6858000"/>
          </a:xfrm>
          <a:custGeom>
            <a:avLst/>
            <a:gdLst>
              <a:gd name="connsiteX0" fmla="*/ 5117570 w 5725739"/>
              <a:gd name="connsiteY0" fmla="*/ 0 h 6858000"/>
              <a:gd name="connsiteX1" fmla="*/ 5725739 w 5725739"/>
              <a:gd name="connsiteY1" fmla="*/ 0 h 6858000"/>
              <a:gd name="connsiteX2" fmla="*/ 5725739 w 5725739"/>
              <a:gd name="connsiteY2" fmla="*/ 3401607 h 6858000"/>
              <a:gd name="connsiteX3" fmla="*/ 2128578 w 5725739"/>
              <a:gd name="connsiteY3" fmla="*/ 6858000 h 6858000"/>
              <a:gd name="connsiteX4" fmla="*/ 0 w 5725739"/>
              <a:gd name="connsiteY4" fmla="*/ 6858000 h 6858000"/>
              <a:gd name="connsiteX5" fmla="*/ 5365 w 5725739"/>
              <a:gd name="connsiteY5" fmla="*/ 5511145 h 6858000"/>
              <a:gd name="connsiteX6" fmla="*/ 431589 w 5725739"/>
              <a:gd name="connsiteY6" fmla="*/ 4514748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725739" h="6858000">
                <a:moveTo>
                  <a:pt x="5117570" y="0"/>
                </a:moveTo>
                <a:lnTo>
                  <a:pt x="5725739" y="0"/>
                </a:lnTo>
                <a:lnTo>
                  <a:pt x="5725739" y="3401607"/>
                </a:lnTo>
                <a:lnTo>
                  <a:pt x="2128578" y="6858000"/>
                </a:lnTo>
                <a:lnTo>
                  <a:pt x="0" y="6858000"/>
                </a:lnTo>
                <a:lnTo>
                  <a:pt x="5365" y="5511145"/>
                </a:lnTo>
                <a:cubicBezTo>
                  <a:pt x="5365" y="5186076"/>
                  <a:pt x="197685" y="4740251"/>
                  <a:pt x="431589" y="4514748"/>
                </a:cubicBezTo>
                <a:close/>
              </a:path>
            </a:pathLst>
          </a:custGeom>
          <a:solidFill>
            <a:srgbClr val="38B6AB">
              <a:alpha val="20000"/>
            </a:srgbClr>
          </a:solidFill>
        </p:spPr>
        <p:txBody>
          <a:bodyPr wrap="square" anchor="ctr">
            <a:noAutofit/>
          </a:bodyPr>
          <a:lstStyle>
            <a:lvl1pPr algn="ctr">
              <a:defRPr sz="100" b="0">
                <a:solidFill>
                  <a:schemeClr val="accent2">
                    <a:alpha val="0"/>
                  </a:schemeClr>
                </a:solidFill>
              </a:defRPr>
            </a:lvl1pPr>
          </a:lstStyle>
          <a:p>
            <a:pPr lvl="0"/>
            <a:endParaRPr lang="en-GB"/>
          </a:p>
        </p:txBody>
      </p:sp>
      <p:sp>
        <p:nvSpPr>
          <p:cNvPr id="145" name="Text Placeholder 144">
            <a:extLst>
              <a:ext uri="{FF2B5EF4-FFF2-40B4-BE49-F238E27FC236}">
                <a16:creationId xmlns:a16="http://schemas.microsoft.com/office/drawing/2014/main" id="{47136838-D8CD-1DE4-55C8-249715F1441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7550874" y="1"/>
            <a:ext cx="3878381" cy="3539155"/>
          </a:xfrm>
          <a:custGeom>
            <a:avLst/>
            <a:gdLst>
              <a:gd name="connsiteX0" fmla="*/ 0 w 3878381"/>
              <a:gd name="connsiteY0" fmla="*/ 0 h 3539155"/>
              <a:gd name="connsiteX1" fmla="*/ 2792543 w 3878381"/>
              <a:gd name="connsiteY1" fmla="*/ 0 h 3539155"/>
              <a:gd name="connsiteX2" fmla="*/ 3583241 w 3878381"/>
              <a:gd name="connsiteY2" fmla="*/ 761805 h 3539155"/>
              <a:gd name="connsiteX3" fmla="*/ 3870822 w 3878381"/>
              <a:gd name="connsiteY3" fmla="*/ 1434091 h 3539155"/>
              <a:gd name="connsiteX4" fmla="*/ 3878378 w 3878381"/>
              <a:gd name="connsiteY4" fmla="*/ 3331185 h 3539155"/>
              <a:gd name="connsiteX5" fmla="*/ 3593763 w 3878381"/>
              <a:gd name="connsiteY5" fmla="*/ 3453128 h 35391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878381" h="3539155">
                <a:moveTo>
                  <a:pt x="0" y="0"/>
                </a:moveTo>
                <a:lnTo>
                  <a:pt x="2792543" y="0"/>
                </a:lnTo>
                <a:lnTo>
                  <a:pt x="3583241" y="761805"/>
                </a:lnTo>
                <a:cubicBezTo>
                  <a:pt x="3741061" y="913955"/>
                  <a:pt x="3870822" y="1214761"/>
                  <a:pt x="3870822" y="1434091"/>
                </a:cubicBezTo>
                <a:lnTo>
                  <a:pt x="3878378" y="3331185"/>
                </a:lnTo>
                <a:cubicBezTo>
                  <a:pt x="3879188" y="3550515"/>
                  <a:pt x="3751850" y="3605011"/>
                  <a:pt x="3593763" y="3453128"/>
                </a:cubicBezTo>
                <a:close/>
              </a:path>
            </a:pathLst>
          </a:custGeom>
          <a:solidFill>
            <a:srgbClr val="750D68">
              <a:alpha val="40000"/>
            </a:srgbClr>
          </a:solidFill>
        </p:spPr>
        <p:txBody>
          <a:bodyPr wrap="square" anchor="ctr">
            <a:noAutofit/>
          </a:bodyPr>
          <a:lstStyle>
            <a:lvl1pPr algn="ctr">
              <a:defRPr sz="100">
                <a:solidFill>
                  <a:srgbClr val="750D68">
                    <a:alpha val="0"/>
                  </a:srgbClr>
                </a:solidFill>
              </a:defRPr>
            </a:lvl1pPr>
          </a:lstStyle>
          <a:p>
            <a:pPr lvl="0"/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D9A5370-F19F-35AB-0B59-17D1B69F462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DB84476-BC29-4407-9D57-B2E562B8968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4" name="Picture Placeholder 23">
            <a:extLst>
              <a:ext uri="{FF2B5EF4-FFF2-40B4-BE49-F238E27FC236}">
                <a16:creationId xmlns:a16="http://schemas.microsoft.com/office/drawing/2014/main" id="{4E52AA2E-72C8-26E5-69FC-B43BCA87D96F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9397584" y="2"/>
            <a:ext cx="2794416" cy="3055719"/>
          </a:xfrm>
          <a:custGeom>
            <a:avLst/>
            <a:gdLst>
              <a:gd name="connsiteX0" fmla="*/ 1289861 w 2794416"/>
              <a:gd name="connsiteY0" fmla="*/ 0 h 3055719"/>
              <a:gd name="connsiteX1" fmla="*/ 2794416 w 2794416"/>
              <a:gd name="connsiteY1" fmla="*/ 0 h 3055719"/>
              <a:gd name="connsiteX2" fmla="*/ 2794416 w 2794416"/>
              <a:gd name="connsiteY2" fmla="*/ 506981 h 3055719"/>
              <a:gd name="connsiteX3" fmla="*/ 206986 w 2794416"/>
              <a:gd name="connsiteY3" fmla="*/ 2993158 h 3055719"/>
              <a:gd name="connsiteX4" fmla="*/ 3 w 2794416"/>
              <a:gd name="connsiteY4" fmla="*/ 2904476 h 3055719"/>
              <a:gd name="connsiteX5" fmla="*/ 5498 w 2794416"/>
              <a:gd name="connsiteY5" fmla="*/ 1524843 h 3055719"/>
              <a:gd name="connsiteX6" fmla="*/ 214637 w 2794416"/>
              <a:gd name="connsiteY6" fmla="*/ 1035934 h 30557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794416" h="3055719">
                <a:moveTo>
                  <a:pt x="1289861" y="0"/>
                </a:moveTo>
                <a:lnTo>
                  <a:pt x="2794416" y="0"/>
                </a:lnTo>
                <a:lnTo>
                  <a:pt x="2794416" y="506981"/>
                </a:lnTo>
                <a:lnTo>
                  <a:pt x="206986" y="2993158"/>
                </a:lnTo>
                <a:cubicBezTo>
                  <a:pt x="92019" y="3103612"/>
                  <a:pt x="-586" y="3063981"/>
                  <a:pt x="3" y="2904476"/>
                </a:cubicBezTo>
                <a:lnTo>
                  <a:pt x="5498" y="1524843"/>
                </a:lnTo>
                <a:cubicBezTo>
                  <a:pt x="5498" y="1365339"/>
                  <a:pt x="99866" y="1146583"/>
                  <a:pt x="214637" y="1035934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algn="ctr">
              <a:defRPr sz="1200" b="0">
                <a:solidFill>
                  <a:schemeClr val="tx1"/>
                </a:solidFill>
              </a:defRPr>
            </a:lvl1pPr>
          </a:lstStyle>
          <a:p>
            <a:endParaRPr lang="en-GB"/>
          </a:p>
        </p:txBody>
      </p:sp>
      <p:sp>
        <p:nvSpPr>
          <p:cNvPr id="27" name="Picture Placeholder 26">
            <a:extLst>
              <a:ext uri="{FF2B5EF4-FFF2-40B4-BE49-F238E27FC236}">
                <a16:creationId xmlns:a16="http://schemas.microsoft.com/office/drawing/2014/main" id="{64B5F9CE-D3E8-3BD0-08E1-F1E5FC20BF1D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9395146" y="2837674"/>
            <a:ext cx="2796853" cy="4020327"/>
          </a:xfrm>
          <a:custGeom>
            <a:avLst/>
            <a:gdLst>
              <a:gd name="connsiteX0" fmla="*/ 2796853 w 2796853"/>
              <a:gd name="connsiteY0" fmla="*/ 0 h 4020327"/>
              <a:gd name="connsiteX1" fmla="*/ 2796853 w 2796853"/>
              <a:gd name="connsiteY1" fmla="*/ 2233857 h 4020327"/>
              <a:gd name="connsiteX2" fmla="*/ 937626 w 2796853"/>
              <a:gd name="connsiteY2" fmla="*/ 4020327 h 4020327"/>
              <a:gd name="connsiteX3" fmla="*/ 0 w 2796853"/>
              <a:gd name="connsiteY3" fmla="*/ 4020327 h 4020327"/>
              <a:gd name="connsiteX4" fmla="*/ 3988 w 2796853"/>
              <a:gd name="connsiteY4" fmla="*/ 3019106 h 4020327"/>
              <a:gd name="connsiteX5" fmla="*/ 242877 w 2796853"/>
              <a:gd name="connsiteY5" fmla="*/ 2460649 h 4020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796853" h="4020327">
                <a:moveTo>
                  <a:pt x="2796853" y="0"/>
                </a:moveTo>
                <a:lnTo>
                  <a:pt x="2796853" y="2233857"/>
                </a:lnTo>
                <a:lnTo>
                  <a:pt x="937626" y="4020327"/>
                </a:lnTo>
                <a:lnTo>
                  <a:pt x="0" y="4020327"/>
                </a:lnTo>
                <a:lnTo>
                  <a:pt x="3988" y="3019106"/>
                </a:lnTo>
                <a:cubicBezTo>
                  <a:pt x="3988" y="2836913"/>
                  <a:pt x="111779" y="2587038"/>
                  <a:pt x="242877" y="2460649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algn="ctr">
              <a:defRPr sz="1200" b="0">
                <a:solidFill>
                  <a:schemeClr val="tx1"/>
                </a:solidFill>
              </a:defRPr>
            </a:lvl1pPr>
          </a:lstStyle>
          <a:p>
            <a:endParaRPr lang="en-GB"/>
          </a:p>
        </p:txBody>
      </p:sp>
      <p:sp>
        <p:nvSpPr>
          <p:cNvPr id="138" name="Text Placeholder 16">
            <a:extLst>
              <a:ext uri="{FF2B5EF4-FFF2-40B4-BE49-F238E27FC236}">
                <a16:creationId xmlns:a16="http://schemas.microsoft.com/office/drawing/2014/main" id="{C988D38C-4ACE-4EBE-659A-4DABA52F915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35823" y="1764973"/>
            <a:ext cx="6972345" cy="447231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39" name="Title 6">
            <a:extLst>
              <a:ext uri="{FF2B5EF4-FFF2-40B4-BE49-F238E27FC236}">
                <a16:creationId xmlns:a16="http://schemas.microsoft.com/office/drawing/2014/main" id="{81A7BADE-6A14-3A6C-FD8E-B3FC5E42D4F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6257" y="332657"/>
            <a:ext cx="6971875" cy="126248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3104919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1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8" name="Text Placeholder 137">
            <a:extLst>
              <a:ext uri="{FF2B5EF4-FFF2-40B4-BE49-F238E27FC236}">
                <a16:creationId xmlns:a16="http://schemas.microsoft.com/office/drawing/2014/main" id="{AF655483-0C24-4907-8772-5DE2404EA80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0" y="2"/>
            <a:ext cx="4950288" cy="6841155"/>
          </a:xfrm>
          <a:custGeom>
            <a:avLst/>
            <a:gdLst>
              <a:gd name="connsiteX0" fmla="*/ 2470295 w 4950288"/>
              <a:gd name="connsiteY0" fmla="*/ 0 h 6841155"/>
              <a:gd name="connsiteX1" fmla="*/ 4950288 w 4950288"/>
              <a:gd name="connsiteY1" fmla="*/ 0 h 6841155"/>
              <a:gd name="connsiteX2" fmla="*/ 4950288 w 4950288"/>
              <a:gd name="connsiteY2" fmla="*/ 2199465 h 6841155"/>
              <a:gd name="connsiteX3" fmla="*/ 4377784 w 4950288"/>
              <a:gd name="connsiteY3" fmla="*/ 3543592 h 6841155"/>
              <a:gd name="connsiteX4" fmla="*/ 945922 w 4950288"/>
              <a:gd name="connsiteY4" fmla="*/ 6841155 h 6841155"/>
              <a:gd name="connsiteX5" fmla="*/ 0 w 4950288"/>
              <a:gd name="connsiteY5" fmla="*/ 6841155 h 6841155"/>
              <a:gd name="connsiteX6" fmla="*/ 0 w 4950288"/>
              <a:gd name="connsiteY6" fmla="*/ 2380026 h 68411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950288" h="6841155">
                <a:moveTo>
                  <a:pt x="2470295" y="0"/>
                </a:moveTo>
                <a:lnTo>
                  <a:pt x="4950288" y="0"/>
                </a:lnTo>
                <a:lnTo>
                  <a:pt x="4950288" y="2199465"/>
                </a:lnTo>
                <a:cubicBezTo>
                  <a:pt x="4950288" y="2638162"/>
                  <a:pt x="4693977" y="3239797"/>
                  <a:pt x="4377784" y="3543592"/>
                </a:cubicBezTo>
                <a:lnTo>
                  <a:pt x="945922" y="6841155"/>
                </a:lnTo>
                <a:lnTo>
                  <a:pt x="0" y="6841155"/>
                </a:lnTo>
                <a:lnTo>
                  <a:pt x="0" y="2380026"/>
                </a:lnTo>
                <a:close/>
              </a:path>
            </a:pathLst>
          </a:custGeom>
          <a:solidFill>
            <a:schemeClr val="accent2">
              <a:alpha val="40000"/>
            </a:schemeClr>
          </a:solidFill>
        </p:spPr>
        <p:txBody>
          <a:bodyPr wrap="square" anchor="ctr">
            <a:noAutofit/>
          </a:bodyPr>
          <a:lstStyle>
            <a:lvl1pPr algn="ctr">
              <a:defRPr sz="100">
                <a:solidFill>
                  <a:schemeClr val="accent2">
                    <a:alpha val="0"/>
                  </a:schemeClr>
                </a:solidFill>
              </a:defRPr>
            </a:lvl1pPr>
          </a:lstStyle>
          <a:p>
            <a:pPr lvl="0"/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D9A5370-F19F-35AB-0B59-17D1B69F462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DB84476-BC29-4407-9D57-B2E562B8968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0" name="Picture Placeholder 19">
            <a:extLst>
              <a:ext uri="{FF2B5EF4-FFF2-40B4-BE49-F238E27FC236}">
                <a16:creationId xmlns:a16="http://schemas.microsoft.com/office/drawing/2014/main" id="{E891FE4E-F382-C0D6-872B-B4A28FB7025D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711385"/>
            <a:ext cx="2949628" cy="5539194"/>
          </a:xfrm>
          <a:custGeom>
            <a:avLst/>
            <a:gdLst>
              <a:gd name="connsiteX0" fmla="*/ 2813384 w 2949628"/>
              <a:gd name="connsiteY0" fmla="*/ 41 h 5539194"/>
              <a:gd name="connsiteX1" fmla="*/ 2949628 w 2949628"/>
              <a:gd name="connsiteY1" fmla="*/ 224663 h 5539194"/>
              <a:gd name="connsiteX2" fmla="*/ 2949628 w 2949628"/>
              <a:gd name="connsiteY2" fmla="*/ 2275772 h 5539194"/>
              <a:gd name="connsiteX3" fmla="*/ 2640154 w 2949628"/>
              <a:gd name="connsiteY3" fmla="*/ 3002357 h 5539194"/>
              <a:gd name="connsiteX4" fmla="*/ 0 w 2949628"/>
              <a:gd name="connsiteY4" fmla="*/ 5539194 h 5539194"/>
              <a:gd name="connsiteX5" fmla="*/ 0 w 2949628"/>
              <a:gd name="connsiteY5" fmla="*/ 2637067 h 5539194"/>
              <a:gd name="connsiteX6" fmla="*/ 2640444 w 2949628"/>
              <a:gd name="connsiteY6" fmla="*/ 93109 h 5539194"/>
              <a:gd name="connsiteX7" fmla="*/ 2813384 w 2949628"/>
              <a:gd name="connsiteY7" fmla="*/ 41 h 55391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949628" h="5539194">
                <a:moveTo>
                  <a:pt x="2813384" y="41"/>
                </a:moveTo>
                <a:cubicBezTo>
                  <a:pt x="2895620" y="-2032"/>
                  <a:pt x="2949628" y="76448"/>
                  <a:pt x="2949628" y="224663"/>
                </a:cubicBezTo>
                <a:lnTo>
                  <a:pt x="2949628" y="2275772"/>
                </a:lnTo>
                <a:cubicBezTo>
                  <a:pt x="2949628" y="2512915"/>
                  <a:pt x="2811076" y="2838136"/>
                  <a:pt x="2640154" y="3002357"/>
                </a:cubicBezTo>
                <a:lnTo>
                  <a:pt x="0" y="5539194"/>
                </a:lnTo>
                <a:lnTo>
                  <a:pt x="0" y="2637067"/>
                </a:lnTo>
                <a:lnTo>
                  <a:pt x="2640444" y="93109"/>
                </a:lnTo>
                <a:cubicBezTo>
                  <a:pt x="2704540" y="31529"/>
                  <a:pt x="2764043" y="1286"/>
                  <a:pt x="2813384" y="41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algn="ctr">
              <a:defRPr sz="1200" b="0"/>
            </a:lvl1pPr>
          </a:lstStyle>
          <a:p>
            <a:endParaRPr lang="en-GB"/>
          </a:p>
        </p:txBody>
      </p:sp>
      <p:sp>
        <p:nvSpPr>
          <p:cNvPr id="131" name="Text Placeholder 16">
            <a:extLst>
              <a:ext uri="{FF2B5EF4-FFF2-40B4-BE49-F238E27FC236}">
                <a16:creationId xmlns:a16="http://schemas.microsoft.com/office/drawing/2014/main" id="{F59625D9-6BB4-4109-AC45-89E806A187D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575720" y="1764973"/>
            <a:ext cx="7992393" cy="447231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32" name="Title 6">
            <a:extLst>
              <a:ext uri="{FF2B5EF4-FFF2-40B4-BE49-F238E27FC236}">
                <a16:creationId xmlns:a16="http://schemas.microsoft.com/office/drawing/2014/main" id="{783F3316-1F89-DBDA-5FEE-D86A5796B7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76259" y="332657"/>
            <a:ext cx="7991854" cy="126248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35" name="Text Placeholder 134">
            <a:extLst>
              <a:ext uri="{FF2B5EF4-FFF2-40B4-BE49-F238E27FC236}">
                <a16:creationId xmlns:a16="http://schemas.microsoft.com/office/drawing/2014/main" id="{315CD7DB-182D-5366-1F14-F32CECBABF1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940141" y="3501440"/>
            <a:ext cx="3407492" cy="3356558"/>
          </a:xfrm>
          <a:custGeom>
            <a:avLst/>
            <a:gdLst>
              <a:gd name="connsiteX0" fmla="*/ 103347 w 3407492"/>
              <a:gd name="connsiteY0" fmla="*/ 31 h 3356558"/>
              <a:gd name="connsiteX1" fmla="*/ 234529 w 3407492"/>
              <a:gd name="connsiteY1" fmla="*/ 70627 h 3356558"/>
              <a:gd name="connsiteX2" fmla="*/ 3183188 w 3407492"/>
              <a:gd name="connsiteY2" fmla="*/ 2911537 h 3356558"/>
              <a:gd name="connsiteX3" fmla="*/ 3400391 w 3407492"/>
              <a:gd name="connsiteY3" fmla="*/ 3318409 h 3356558"/>
              <a:gd name="connsiteX4" fmla="*/ 3407492 w 3407492"/>
              <a:gd name="connsiteY4" fmla="*/ 3356558 h 3356558"/>
              <a:gd name="connsiteX5" fmla="*/ 1357837 w 3407492"/>
              <a:gd name="connsiteY5" fmla="*/ 3356558 h 3356558"/>
              <a:gd name="connsiteX6" fmla="*/ 234749 w 3407492"/>
              <a:gd name="connsiteY6" fmla="*/ 2277420 h 3356558"/>
              <a:gd name="connsiteX7" fmla="*/ 0 w 3407492"/>
              <a:gd name="connsiteY7" fmla="*/ 1726274 h 3356558"/>
              <a:gd name="connsiteX8" fmla="*/ 0 w 3407492"/>
              <a:gd name="connsiteY8" fmla="*/ 170416 h 3356558"/>
              <a:gd name="connsiteX9" fmla="*/ 103347 w 3407492"/>
              <a:gd name="connsiteY9" fmla="*/ 31 h 33565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407492" h="3356558">
                <a:moveTo>
                  <a:pt x="103347" y="31"/>
                </a:moveTo>
                <a:cubicBezTo>
                  <a:pt x="140774" y="975"/>
                  <a:pt x="185910" y="23916"/>
                  <a:pt x="234529" y="70627"/>
                </a:cubicBezTo>
                <a:lnTo>
                  <a:pt x="3183188" y="2911537"/>
                </a:lnTo>
                <a:cubicBezTo>
                  <a:pt x="3280262" y="3005125"/>
                  <a:pt x="3364393" y="3167290"/>
                  <a:pt x="3400391" y="3318409"/>
                </a:cubicBezTo>
                <a:lnTo>
                  <a:pt x="3407492" y="3356558"/>
                </a:lnTo>
                <a:lnTo>
                  <a:pt x="1357837" y="3356558"/>
                </a:lnTo>
                <a:lnTo>
                  <a:pt x="234749" y="2277420"/>
                </a:lnTo>
                <a:cubicBezTo>
                  <a:pt x="105098" y="2152852"/>
                  <a:pt x="0" y="1906157"/>
                  <a:pt x="0" y="1726274"/>
                </a:cubicBezTo>
                <a:lnTo>
                  <a:pt x="0" y="170416"/>
                </a:lnTo>
                <a:cubicBezTo>
                  <a:pt x="0" y="57989"/>
                  <a:pt x="40968" y="-1542"/>
                  <a:pt x="103347" y="31"/>
                </a:cubicBezTo>
                <a:close/>
              </a:path>
            </a:pathLst>
          </a:custGeom>
          <a:solidFill>
            <a:srgbClr val="F07E26">
              <a:alpha val="50000"/>
            </a:srgbClr>
          </a:solidFill>
        </p:spPr>
        <p:txBody>
          <a:bodyPr wrap="square" anchor="ctr">
            <a:noAutofit/>
          </a:bodyPr>
          <a:lstStyle>
            <a:lvl1pPr algn="ctr">
              <a:defRPr sz="100">
                <a:solidFill>
                  <a:srgbClr val="F07E26">
                    <a:alpha val="0"/>
                  </a:srgbClr>
                </a:solidFill>
              </a:defRPr>
            </a:lvl1pPr>
          </a:lstStyle>
          <a:p>
            <a:pPr lvl="0"/>
            <a:endParaRPr lang="en-GB"/>
          </a:p>
        </p:txBody>
      </p:sp>
      <p:sp>
        <p:nvSpPr>
          <p:cNvPr id="141" name="Text Placeholder 140">
            <a:extLst>
              <a:ext uri="{FF2B5EF4-FFF2-40B4-BE49-F238E27FC236}">
                <a16:creationId xmlns:a16="http://schemas.microsoft.com/office/drawing/2014/main" id="{778B168F-4EED-21A2-E736-EB00F72A905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944586" y="1"/>
            <a:ext cx="2780826" cy="2612989"/>
          </a:xfrm>
          <a:custGeom>
            <a:avLst/>
            <a:gdLst>
              <a:gd name="connsiteX0" fmla="*/ 946876 w 2780826"/>
              <a:gd name="connsiteY0" fmla="*/ 0 h 2612989"/>
              <a:gd name="connsiteX1" fmla="*/ 2780826 w 2780826"/>
              <a:gd name="connsiteY1" fmla="*/ 0 h 2612989"/>
              <a:gd name="connsiteX2" fmla="*/ 2729916 w 2780826"/>
              <a:gd name="connsiteY2" fmla="*/ 96513 h 2612989"/>
              <a:gd name="connsiteX3" fmla="*/ 2653907 w 2780826"/>
              <a:gd name="connsiteY3" fmla="*/ 190819 h 2612989"/>
              <a:gd name="connsiteX4" fmla="*/ 194167 w 2780826"/>
              <a:gd name="connsiteY4" fmla="*/ 2554302 h 2612989"/>
              <a:gd name="connsiteX5" fmla="*/ 3 w 2780826"/>
              <a:gd name="connsiteY5" fmla="*/ 2471113 h 2612989"/>
              <a:gd name="connsiteX6" fmla="*/ 5158 w 2780826"/>
              <a:gd name="connsiteY6" fmla="*/ 1176920 h 2612989"/>
              <a:gd name="connsiteX7" fmla="*/ 201345 w 2780826"/>
              <a:gd name="connsiteY7" fmla="*/ 718288 h 26129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780826" h="2612989">
                <a:moveTo>
                  <a:pt x="946876" y="0"/>
                </a:moveTo>
                <a:lnTo>
                  <a:pt x="2780826" y="0"/>
                </a:lnTo>
                <a:lnTo>
                  <a:pt x="2729916" y="96513"/>
                </a:lnTo>
                <a:cubicBezTo>
                  <a:pt x="2706554" y="132660"/>
                  <a:pt x="2680869" y="164914"/>
                  <a:pt x="2653907" y="190819"/>
                </a:cubicBezTo>
                <a:lnTo>
                  <a:pt x="194167" y="2554302"/>
                </a:lnTo>
                <a:cubicBezTo>
                  <a:pt x="86320" y="2657916"/>
                  <a:pt x="-549" y="2620739"/>
                  <a:pt x="3" y="2471113"/>
                </a:cubicBezTo>
                <a:lnTo>
                  <a:pt x="5158" y="1176920"/>
                </a:lnTo>
                <a:cubicBezTo>
                  <a:pt x="5158" y="1027293"/>
                  <a:pt x="93681" y="822085"/>
                  <a:pt x="201345" y="718288"/>
                </a:cubicBezTo>
                <a:close/>
              </a:path>
            </a:pathLst>
          </a:custGeom>
          <a:solidFill>
            <a:schemeClr val="accent4">
              <a:alpha val="40000"/>
            </a:schemeClr>
          </a:solidFill>
        </p:spPr>
        <p:txBody>
          <a:bodyPr wrap="square" anchor="ctr">
            <a:noAutofit/>
          </a:bodyPr>
          <a:lstStyle>
            <a:lvl1pPr algn="ctr">
              <a:defRPr sz="100">
                <a:solidFill>
                  <a:schemeClr val="accent4">
                    <a:alpha val="0"/>
                  </a:schemeClr>
                </a:solidFill>
              </a:defRPr>
            </a:lvl1pPr>
          </a:lstStyle>
          <a:p>
            <a:pPr lvl="0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5505361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7" name="Text Placeholder 146">
            <a:extLst>
              <a:ext uri="{FF2B5EF4-FFF2-40B4-BE49-F238E27FC236}">
                <a16:creationId xmlns:a16="http://schemas.microsoft.com/office/drawing/2014/main" id="{201D88E4-56DF-0AA6-46D1-411796C5138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168009" y="997575"/>
            <a:ext cx="6023991" cy="5860425"/>
          </a:xfrm>
          <a:custGeom>
            <a:avLst/>
            <a:gdLst>
              <a:gd name="connsiteX0" fmla="*/ 6023991 w 6023991"/>
              <a:gd name="connsiteY0" fmla="*/ 0 h 5860425"/>
              <a:gd name="connsiteX1" fmla="*/ 6023991 w 6023991"/>
              <a:gd name="connsiteY1" fmla="*/ 5860425 h 5860425"/>
              <a:gd name="connsiteX2" fmla="*/ 0 w 6023991"/>
              <a:gd name="connsiteY2" fmla="*/ 5860425 h 58604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6023991" h="5860425">
                <a:moveTo>
                  <a:pt x="6023991" y="0"/>
                </a:moveTo>
                <a:lnTo>
                  <a:pt x="6023991" y="5860425"/>
                </a:lnTo>
                <a:lnTo>
                  <a:pt x="0" y="5860425"/>
                </a:lnTo>
                <a:close/>
              </a:path>
            </a:pathLst>
          </a:custGeom>
          <a:solidFill>
            <a:schemeClr val="tx2">
              <a:alpha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 sz="100">
                <a:solidFill>
                  <a:schemeClr val="tx2">
                    <a:alpha val="0"/>
                  </a:schemeClr>
                </a:solidFill>
              </a:defRPr>
            </a:lvl1pPr>
          </a:lstStyle>
          <a:p>
            <a:pPr lvl="0"/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D9A5370-F19F-35AB-0B59-17D1B69F462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DB84476-BC29-4407-9D57-B2E562B8968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38" name="Text Placeholder 16">
            <a:extLst>
              <a:ext uri="{FF2B5EF4-FFF2-40B4-BE49-F238E27FC236}">
                <a16:creationId xmlns:a16="http://schemas.microsoft.com/office/drawing/2014/main" id="{24696413-086A-CF84-AD7F-61BE2151802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35823" y="1764973"/>
            <a:ext cx="6972345" cy="447231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39" name="Title 6">
            <a:extLst>
              <a:ext uri="{FF2B5EF4-FFF2-40B4-BE49-F238E27FC236}">
                <a16:creationId xmlns:a16="http://schemas.microsoft.com/office/drawing/2014/main" id="{901F54B5-3F7C-0C3C-06B5-160E68DC42C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6257" y="332657"/>
            <a:ext cx="6971875" cy="126248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42" name="Text Placeholder 141">
            <a:extLst>
              <a:ext uri="{FF2B5EF4-FFF2-40B4-BE49-F238E27FC236}">
                <a16:creationId xmlns:a16="http://schemas.microsoft.com/office/drawing/2014/main" id="{6B191277-17B0-6D43-372E-9466D2D4431C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966579" y="3582252"/>
            <a:ext cx="3439851" cy="3275748"/>
          </a:xfrm>
          <a:custGeom>
            <a:avLst/>
            <a:gdLst>
              <a:gd name="connsiteX0" fmla="*/ 105769 w 3439851"/>
              <a:gd name="connsiteY0" fmla="*/ 32 h 3275748"/>
              <a:gd name="connsiteX1" fmla="*/ 240027 w 3439851"/>
              <a:gd name="connsiteY1" fmla="*/ 72283 h 3275748"/>
              <a:gd name="connsiteX2" fmla="*/ 3257802 w 3439851"/>
              <a:gd name="connsiteY2" fmla="*/ 2979783 h 3275748"/>
              <a:gd name="connsiteX3" fmla="*/ 3428167 w 3439851"/>
              <a:gd name="connsiteY3" fmla="*/ 3240781 h 3275748"/>
              <a:gd name="connsiteX4" fmla="*/ 3439851 w 3439851"/>
              <a:gd name="connsiteY4" fmla="*/ 3275748 h 3275748"/>
              <a:gd name="connsiteX5" fmla="*/ 1223682 w 3439851"/>
              <a:gd name="connsiteY5" fmla="*/ 3275748 h 3275748"/>
              <a:gd name="connsiteX6" fmla="*/ 240252 w 3439851"/>
              <a:gd name="connsiteY6" fmla="*/ 2330803 h 3275748"/>
              <a:gd name="connsiteX7" fmla="*/ 0 w 3439851"/>
              <a:gd name="connsiteY7" fmla="*/ 1766737 h 3275748"/>
              <a:gd name="connsiteX8" fmla="*/ 0 w 3439851"/>
              <a:gd name="connsiteY8" fmla="*/ 174411 h 3275748"/>
              <a:gd name="connsiteX9" fmla="*/ 105769 w 3439851"/>
              <a:gd name="connsiteY9" fmla="*/ 32 h 32757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439851" h="3275748">
                <a:moveTo>
                  <a:pt x="105769" y="32"/>
                </a:moveTo>
                <a:cubicBezTo>
                  <a:pt x="144074" y="998"/>
                  <a:pt x="190268" y="24477"/>
                  <a:pt x="240027" y="72283"/>
                </a:cubicBezTo>
                <a:lnTo>
                  <a:pt x="3257802" y="2979783"/>
                </a:lnTo>
                <a:cubicBezTo>
                  <a:pt x="3324035" y="3043637"/>
                  <a:pt x="3384380" y="3138685"/>
                  <a:pt x="3428167" y="3240781"/>
                </a:cubicBezTo>
                <a:lnTo>
                  <a:pt x="3439851" y="3275748"/>
                </a:lnTo>
                <a:lnTo>
                  <a:pt x="1223682" y="3275748"/>
                </a:lnTo>
                <a:lnTo>
                  <a:pt x="240252" y="2330803"/>
                </a:lnTo>
                <a:cubicBezTo>
                  <a:pt x="107561" y="2203315"/>
                  <a:pt x="0" y="1950837"/>
                  <a:pt x="0" y="1766737"/>
                </a:cubicBezTo>
                <a:lnTo>
                  <a:pt x="0" y="174411"/>
                </a:lnTo>
                <a:cubicBezTo>
                  <a:pt x="0" y="59349"/>
                  <a:pt x="41928" y="-1578"/>
                  <a:pt x="105769" y="32"/>
                </a:cubicBezTo>
                <a:close/>
              </a:path>
            </a:pathLst>
          </a:custGeom>
          <a:solidFill>
            <a:srgbClr val="27257A">
              <a:alpha val="40000"/>
            </a:srgb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 sz="100">
                <a:solidFill>
                  <a:srgbClr val="27257A">
                    <a:alpha val="0"/>
                  </a:srgbClr>
                </a:solidFill>
              </a:defRPr>
            </a:lvl1pPr>
          </a:lstStyle>
          <a:p>
            <a:pPr lvl="0"/>
            <a:endParaRPr lang="en-GB"/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08E03413-6338-5E7A-B5D1-13E6D8643C31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6549430" y="3824580"/>
            <a:ext cx="3306404" cy="3033420"/>
          </a:xfrm>
          <a:custGeom>
            <a:avLst/>
            <a:gdLst>
              <a:gd name="connsiteX0" fmla="*/ 3200634 w 3306404"/>
              <a:gd name="connsiteY0" fmla="*/ 32 h 3033420"/>
              <a:gd name="connsiteX1" fmla="*/ 3306404 w 3306404"/>
              <a:gd name="connsiteY1" fmla="*/ 174411 h 3033420"/>
              <a:gd name="connsiteX2" fmla="*/ 3306404 w 3306404"/>
              <a:gd name="connsiteY2" fmla="*/ 1766737 h 3033420"/>
              <a:gd name="connsiteX3" fmla="*/ 3066152 w 3306404"/>
              <a:gd name="connsiteY3" fmla="*/ 2330803 h 3033420"/>
              <a:gd name="connsiteX4" fmla="*/ 2334919 w 3306404"/>
              <a:gd name="connsiteY4" fmla="*/ 3033420 h 3033420"/>
              <a:gd name="connsiteX5" fmla="*/ 0 w 3306404"/>
              <a:gd name="connsiteY5" fmla="*/ 3033420 h 3033420"/>
              <a:gd name="connsiteX6" fmla="*/ 198 w 3306404"/>
              <a:gd name="connsiteY6" fmla="*/ 3033145 h 3033420"/>
              <a:gd name="connsiteX7" fmla="*/ 48602 w 3306404"/>
              <a:gd name="connsiteY7" fmla="*/ 2979783 h 3033420"/>
              <a:gd name="connsiteX8" fmla="*/ 3066377 w 3306404"/>
              <a:gd name="connsiteY8" fmla="*/ 72283 h 3033420"/>
              <a:gd name="connsiteX9" fmla="*/ 3200634 w 3306404"/>
              <a:gd name="connsiteY9" fmla="*/ 32 h 30334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306404" h="3033420">
                <a:moveTo>
                  <a:pt x="3200634" y="32"/>
                </a:moveTo>
                <a:cubicBezTo>
                  <a:pt x="3264476" y="-1578"/>
                  <a:pt x="3306404" y="59349"/>
                  <a:pt x="3306404" y="174411"/>
                </a:cubicBezTo>
                <a:lnTo>
                  <a:pt x="3306404" y="1766737"/>
                </a:lnTo>
                <a:cubicBezTo>
                  <a:pt x="3306404" y="1950837"/>
                  <a:pt x="3198843" y="2203315"/>
                  <a:pt x="3066152" y="2330803"/>
                </a:cubicBezTo>
                <a:lnTo>
                  <a:pt x="2334919" y="3033420"/>
                </a:lnTo>
                <a:lnTo>
                  <a:pt x="0" y="3033420"/>
                </a:lnTo>
                <a:lnTo>
                  <a:pt x="198" y="3033145"/>
                </a:lnTo>
                <a:cubicBezTo>
                  <a:pt x="15854" y="3013660"/>
                  <a:pt x="32044" y="2995747"/>
                  <a:pt x="48602" y="2979783"/>
                </a:cubicBezTo>
                <a:lnTo>
                  <a:pt x="3066377" y="72283"/>
                </a:lnTo>
                <a:cubicBezTo>
                  <a:pt x="3116136" y="24477"/>
                  <a:pt x="3162330" y="998"/>
                  <a:pt x="3200634" y="32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algn="ctr">
              <a:defRPr sz="1200" b="0">
                <a:solidFill>
                  <a:schemeClr val="tx1"/>
                </a:solidFill>
              </a:defRPr>
            </a:lvl1pPr>
          </a:lstStyle>
          <a:p>
            <a:endParaRPr lang="en-GB"/>
          </a:p>
        </p:txBody>
      </p:sp>
      <p:sp>
        <p:nvSpPr>
          <p:cNvPr id="27" name="Picture Placeholder 26">
            <a:extLst>
              <a:ext uri="{FF2B5EF4-FFF2-40B4-BE49-F238E27FC236}">
                <a16:creationId xmlns:a16="http://schemas.microsoft.com/office/drawing/2014/main" id="{9C89B243-2F97-EFE0-7F5A-0D7B82D55933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9403639" y="2520239"/>
            <a:ext cx="2788363" cy="4337761"/>
          </a:xfrm>
          <a:custGeom>
            <a:avLst/>
            <a:gdLst>
              <a:gd name="connsiteX0" fmla="*/ 2788363 w 2788363"/>
              <a:gd name="connsiteY0" fmla="*/ 0 h 4337761"/>
              <a:gd name="connsiteX1" fmla="*/ 2788363 w 2788363"/>
              <a:gd name="connsiteY1" fmla="*/ 2257070 h 4337761"/>
              <a:gd name="connsiteX2" fmla="*/ 622932 w 2788363"/>
              <a:gd name="connsiteY2" fmla="*/ 4337761 h 4337761"/>
              <a:gd name="connsiteX3" fmla="*/ 0 w 2788363"/>
              <a:gd name="connsiteY3" fmla="*/ 4337761 h 4337761"/>
              <a:gd name="connsiteX4" fmla="*/ 5277 w 2788363"/>
              <a:gd name="connsiteY4" fmla="*/ 3013111 h 4337761"/>
              <a:gd name="connsiteX5" fmla="*/ 246658 w 2788363"/>
              <a:gd name="connsiteY5" fmla="*/ 2448826 h 43377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788363" h="4337761">
                <a:moveTo>
                  <a:pt x="2788363" y="0"/>
                </a:moveTo>
                <a:lnTo>
                  <a:pt x="2788363" y="2257070"/>
                </a:lnTo>
                <a:lnTo>
                  <a:pt x="622932" y="4337761"/>
                </a:lnTo>
                <a:lnTo>
                  <a:pt x="0" y="4337761"/>
                </a:lnTo>
                <a:lnTo>
                  <a:pt x="5277" y="3013111"/>
                </a:lnTo>
                <a:cubicBezTo>
                  <a:pt x="5277" y="2829016"/>
                  <a:pt x="114192" y="2576534"/>
                  <a:pt x="246658" y="2448826"/>
                </a:cubicBezTo>
                <a:close/>
              </a:path>
            </a:pathLst>
          </a:custGeom>
          <a:solidFill>
            <a:schemeClr val="bg2">
              <a:lumMod val="90000"/>
            </a:schemeClr>
          </a:solidFill>
        </p:spPr>
        <p:txBody>
          <a:bodyPr wrap="square" anchor="ctr">
            <a:noAutofit/>
          </a:bodyPr>
          <a:lstStyle>
            <a:lvl1pPr algn="ctr">
              <a:defRPr sz="1200" b="0">
                <a:solidFill>
                  <a:schemeClr val="tx1"/>
                </a:solidFill>
              </a:defRPr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2833676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1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2" name="Text Placeholder 131">
            <a:extLst>
              <a:ext uri="{FF2B5EF4-FFF2-40B4-BE49-F238E27FC236}">
                <a16:creationId xmlns:a16="http://schemas.microsoft.com/office/drawing/2014/main" id="{EFC71865-06BE-A4E3-2B04-E70CE51DB33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2515316"/>
            <a:ext cx="4476959" cy="4342684"/>
          </a:xfrm>
          <a:custGeom>
            <a:avLst/>
            <a:gdLst>
              <a:gd name="connsiteX0" fmla="*/ 0 w 4476959"/>
              <a:gd name="connsiteY0" fmla="*/ 0 h 4342684"/>
              <a:gd name="connsiteX1" fmla="*/ 4265976 w 4476959"/>
              <a:gd name="connsiteY1" fmla="*/ 4110090 h 4342684"/>
              <a:gd name="connsiteX2" fmla="*/ 4476959 w 4476959"/>
              <a:gd name="connsiteY2" fmla="*/ 4342684 h 4342684"/>
              <a:gd name="connsiteX3" fmla="*/ 0 w 4476959"/>
              <a:gd name="connsiteY3" fmla="*/ 4342684 h 43426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476959" h="4342684">
                <a:moveTo>
                  <a:pt x="0" y="0"/>
                </a:moveTo>
                <a:lnTo>
                  <a:pt x="4265976" y="4110090"/>
                </a:lnTo>
                <a:lnTo>
                  <a:pt x="4476959" y="4342684"/>
                </a:lnTo>
                <a:lnTo>
                  <a:pt x="0" y="4342684"/>
                </a:lnTo>
                <a:close/>
              </a:path>
            </a:pathLst>
          </a:custGeom>
          <a:solidFill>
            <a:schemeClr val="tx2">
              <a:alpha val="30000"/>
            </a:schemeClr>
          </a:solidFill>
        </p:spPr>
        <p:txBody>
          <a:bodyPr wrap="square" anchor="ctr">
            <a:noAutofit/>
          </a:bodyPr>
          <a:lstStyle>
            <a:lvl1pPr algn="ctr">
              <a:defRPr sz="100">
                <a:solidFill>
                  <a:schemeClr val="tx2">
                    <a:alpha val="0"/>
                  </a:schemeClr>
                </a:solidFill>
              </a:defRPr>
            </a:lvl1pPr>
          </a:lstStyle>
          <a:p>
            <a:pPr lvl="0"/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D9A5370-F19F-35AB-0B59-17D1B69F462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DB84476-BC29-4407-9D57-B2E562B8968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5" name="Text Placeholder 16">
            <a:extLst>
              <a:ext uri="{FF2B5EF4-FFF2-40B4-BE49-F238E27FC236}">
                <a16:creationId xmlns:a16="http://schemas.microsoft.com/office/drawing/2014/main" id="{A205015B-D9D2-4C2E-8ADD-D765DE1120E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369769" y="1764973"/>
            <a:ext cx="6198344" cy="447231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26" name="Title 6">
            <a:extLst>
              <a:ext uri="{FF2B5EF4-FFF2-40B4-BE49-F238E27FC236}">
                <a16:creationId xmlns:a16="http://schemas.microsoft.com/office/drawing/2014/main" id="{F47342DE-2AF2-7209-DD6B-B5B02D4754E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70187" y="332657"/>
            <a:ext cx="6197926" cy="126248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29" name="Text Placeholder 128">
            <a:extLst>
              <a:ext uri="{FF2B5EF4-FFF2-40B4-BE49-F238E27FC236}">
                <a16:creationId xmlns:a16="http://schemas.microsoft.com/office/drawing/2014/main" id="{0568114B-1607-9400-3EE7-3120123CEDBC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0" y="1"/>
            <a:ext cx="2863438" cy="6285957"/>
          </a:xfrm>
          <a:custGeom>
            <a:avLst/>
            <a:gdLst>
              <a:gd name="connsiteX0" fmla="*/ 0 w 2863438"/>
              <a:gd name="connsiteY0" fmla="*/ 0 h 6285957"/>
              <a:gd name="connsiteX1" fmla="*/ 834528 w 2863438"/>
              <a:gd name="connsiteY1" fmla="*/ 0 h 6285957"/>
              <a:gd name="connsiteX2" fmla="*/ 2350678 w 2863438"/>
              <a:gd name="connsiteY2" fmla="*/ 1460747 h 6285957"/>
              <a:gd name="connsiteX3" fmla="*/ 2850304 w 2863438"/>
              <a:gd name="connsiteY3" fmla="*/ 2628739 h 6285957"/>
              <a:gd name="connsiteX4" fmla="*/ 2863432 w 2863438"/>
              <a:gd name="connsiteY4" fmla="*/ 5924642 h 6285957"/>
              <a:gd name="connsiteX5" fmla="*/ 2368957 w 2863438"/>
              <a:gd name="connsiteY5" fmla="*/ 6136499 h 6285957"/>
              <a:gd name="connsiteX6" fmla="*/ 0 w 2863438"/>
              <a:gd name="connsiteY6" fmla="*/ 3860246 h 62859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863438" h="6285957">
                <a:moveTo>
                  <a:pt x="0" y="0"/>
                </a:moveTo>
                <a:lnTo>
                  <a:pt x="834528" y="0"/>
                </a:lnTo>
                <a:lnTo>
                  <a:pt x="2350678" y="1460747"/>
                </a:lnTo>
                <a:cubicBezTo>
                  <a:pt x="2624864" y="1725085"/>
                  <a:pt x="2850304" y="2247688"/>
                  <a:pt x="2850304" y="2628739"/>
                </a:cubicBezTo>
                <a:lnTo>
                  <a:pt x="2863432" y="5924642"/>
                </a:lnTo>
                <a:cubicBezTo>
                  <a:pt x="2864839" y="6305693"/>
                  <a:pt x="2643609" y="6400372"/>
                  <a:pt x="2368957" y="6136499"/>
                </a:cubicBezTo>
                <a:lnTo>
                  <a:pt x="0" y="3860246"/>
                </a:lnTo>
                <a:close/>
              </a:path>
            </a:pathLst>
          </a:custGeom>
          <a:solidFill>
            <a:srgbClr val="FFDC00">
              <a:alpha val="40000"/>
            </a:srgbClr>
          </a:solidFill>
        </p:spPr>
        <p:txBody>
          <a:bodyPr wrap="square" anchor="ctr">
            <a:noAutofit/>
          </a:bodyPr>
          <a:lstStyle>
            <a:lvl1pPr algn="ctr">
              <a:defRPr sz="100">
                <a:solidFill>
                  <a:srgbClr val="FFDC00">
                    <a:alpha val="0"/>
                  </a:srgbClr>
                </a:solidFill>
              </a:defRPr>
            </a:lvl1pPr>
          </a:lstStyle>
          <a:p>
            <a:pPr lvl="0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1880206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3" name="Text Placeholder 122">
            <a:extLst>
              <a:ext uri="{FF2B5EF4-FFF2-40B4-BE49-F238E27FC236}">
                <a16:creationId xmlns:a16="http://schemas.microsoft.com/office/drawing/2014/main" id="{75D1C29E-CD31-88C7-C4B4-E2C662F8B7D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967288" y="0"/>
            <a:ext cx="6224712" cy="6858000"/>
          </a:xfrm>
          <a:custGeom>
            <a:avLst/>
            <a:gdLst>
              <a:gd name="connsiteX0" fmla="*/ 4864803 w 6224712"/>
              <a:gd name="connsiteY0" fmla="*/ 0 h 6858000"/>
              <a:gd name="connsiteX1" fmla="*/ 6224712 w 6224712"/>
              <a:gd name="connsiteY1" fmla="*/ 0 h 6858000"/>
              <a:gd name="connsiteX2" fmla="*/ 6224712 w 6224712"/>
              <a:gd name="connsiteY2" fmla="*/ 4020623 h 6858000"/>
              <a:gd name="connsiteX3" fmla="*/ 3271778 w 6224712"/>
              <a:gd name="connsiteY3" fmla="*/ 6858000 h 6858000"/>
              <a:gd name="connsiteX4" fmla="*/ 0 w 6224712"/>
              <a:gd name="connsiteY4" fmla="*/ 6858000 h 6858000"/>
              <a:gd name="connsiteX5" fmla="*/ 5547 w 6224712"/>
              <a:gd name="connsiteY5" fmla="*/ 5465306 h 6858000"/>
              <a:gd name="connsiteX6" fmla="*/ 575750 w 6224712"/>
              <a:gd name="connsiteY6" fmla="*/ 4132325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224712" h="6858000">
                <a:moveTo>
                  <a:pt x="4864803" y="0"/>
                </a:moveTo>
                <a:lnTo>
                  <a:pt x="6224712" y="0"/>
                </a:lnTo>
                <a:lnTo>
                  <a:pt x="6224712" y="4020623"/>
                </a:lnTo>
                <a:lnTo>
                  <a:pt x="3271778" y="6858000"/>
                </a:lnTo>
                <a:lnTo>
                  <a:pt x="0" y="6858000"/>
                </a:lnTo>
                <a:lnTo>
                  <a:pt x="5547" y="5465306"/>
                </a:lnTo>
                <a:cubicBezTo>
                  <a:pt x="5547" y="5030428"/>
                  <a:pt x="262832" y="4434003"/>
                  <a:pt x="575750" y="4132325"/>
                </a:cubicBezTo>
                <a:close/>
              </a:path>
            </a:pathLst>
          </a:custGeom>
          <a:solidFill>
            <a:srgbClr val="97BE0D">
              <a:alpha val="30000"/>
            </a:srgbClr>
          </a:solidFill>
        </p:spPr>
        <p:txBody>
          <a:bodyPr wrap="square" anchor="ctr">
            <a:noAutofit/>
          </a:bodyPr>
          <a:lstStyle>
            <a:lvl1pPr algn="ctr">
              <a:defRPr sz="100">
                <a:solidFill>
                  <a:srgbClr val="97BE0D">
                    <a:alpha val="0"/>
                  </a:srgbClr>
                </a:solidFill>
              </a:defRPr>
            </a:lvl1pPr>
          </a:lstStyle>
          <a:p>
            <a:pPr lvl="0"/>
            <a:endParaRPr lang="en-GB"/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39FA2495-A1D5-359D-3A4C-B8E3D877936D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8164444" y="485524"/>
            <a:ext cx="3406083" cy="5160295"/>
          </a:xfrm>
          <a:custGeom>
            <a:avLst/>
            <a:gdLst>
              <a:gd name="connsiteX0" fmla="*/ 3303314 w 3406083"/>
              <a:gd name="connsiteY0" fmla="*/ 31 h 5160295"/>
              <a:gd name="connsiteX1" fmla="*/ 3406083 w 3406083"/>
              <a:gd name="connsiteY1" fmla="*/ 169464 h 5160295"/>
              <a:gd name="connsiteX2" fmla="*/ 3406083 w 3406083"/>
              <a:gd name="connsiteY2" fmla="*/ 1716618 h 5160295"/>
              <a:gd name="connsiteX3" fmla="*/ 3172646 w 3406083"/>
              <a:gd name="connsiteY3" fmla="*/ 2264681 h 5160295"/>
              <a:gd name="connsiteX4" fmla="*/ 232119 w 3406083"/>
              <a:gd name="connsiteY4" fmla="*/ 5090137 h 5160295"/>
              <a:gd name="connsiteX5" fmla="*/ 4 w 3406083"/>
              <a:gd name="connsiteY5" fmla="*/ 4990687 h 5160295"/>
              <a:gd name="connsiteX6" fmla="*/ 6166 w 3406083"/>
              <a:gd name="connsiteY6" fmla="*/ 3443528 h 5160295"/>
              <a:gd name="connsiteX7" fmla="*/ 240700 w 3406083"/>
              <a:gd name="connsiteY7" fmla="*/ 2895251 h 5160295"/>
              <a:gd name="connsiteX8" fmla="*/ 3172865 w 3406083"/>
              <a:gd name="connsiteY8" fmla="*/ 70233 h 5160295"/>
              <a:gd name="connsiteX9" fmla="*/ 3303314 w 3406083"/>
              <a:gd name="connsiteY9" fmla="*/ 31 h 51602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406083" h="5160295">
                <a:moveTo>
                  <a:pt x="3303314" y="31"/>
                </a:moveTo>
                <a:cubicBezTo>
                  <a:pt x="3365344" y="-1533"/>
                  <a:pt x="3406083" y="57665"/>
                  <a:pt x="3406083" y="169464"/>
                </a:cubicBezTo>
                <a:lnTo>
                  <a:pt x="3406083" y="1716618"/>
                </a:lnTo>
                <a:cubicBezTo>
                  <a:pt x="3406083" y="1895495"/>
                  <a:pt x="3301573" y="2140810"/>
                  <a:pt x="3172646" y="2264681"/>
                </a:cubicBezTo>
                <a:lnTo>
                  <a:pt x="232119" y="5090137"/>
                </a:lnTo>
                <a:cubicBezTo>
                  <a:pt x="103193" y="5214003"/>
                  <a:pt x="-657" y="5169560"/>
                  <a:pt x="4" y="4990687"/>
                </a:cubicBezTo>
                <a:lnTo>
                  <a:pt x="6166" y="3443528"/>
                </a:lnTo>
                <a:cubicBezTo>
                  <a:pt x="6166" y="3264656"/>
                  <a:pt x="111992" y="3019336"/>
                  <a:pt x="240700" y="2895251"/>
                </a:cubicBezTo>
                <a:lnTo>
                  <a:pt x="3172865" y="70233"/>
                </a:lnTo>
                <a:cubicBezTo>
                  <a:pt x="3221213" y="23783"/>
                  <a:pt x="3266096" y="970"/>
                  <a:pt x="3303314" y="31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algn="ctr">
              <a:defRPr sz="1200" b="0">
                <a:solidFill>
                  <a:schemeClr val="tx1"/>
                </a:solidFill>
              </a:defRPr>
            </a:lvl1pPr>
          </a:lstStyle>
          <a:p>
            <a:endParaRPr lang="en-GB"/>
          </a:p>
        </p:txBody>
      </p:sp>
      <p:sp>
        <p:nvSpPr>
          <p:cNvPr id="18" name="Picture Placeholder 17">
            <a:extLst>
              <a:ext uri="{FF2B5EF4-FFF2-40B4-BE49-F238E27FC236}">
                <a16:creationId xmlns:a16="http://schemas.microsoft.com/office/drawing/2014/main" id="{D1D6D523-EADE-F210-3F75-A6B0EFC0B13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10491370" y="2460289"/>
            <a:ext cx="1700630" cy="3671626"/>
          </a:xfrm>
          <a:custGeom>
            <a:avLst/>
            <a:gdLst>
              <a:gd name="connsiteX0" fmla="*/ 1700630 w 1700630"/>
              <a:gd name="connsiteY0" fmla="*/ 0 h 3671626"/>
              <a:gd name="connsiteX1" fmla="*/ 1700630 w 1700630"/>
              <a:gd name="connsiteY1" fmla="*/ 2190424 h 3671626"/>
              <a:gd name="connsiteX2" fmla="*/ 232119 w 1700630"/>
              <a:gd name="connsiteY2" fmla="*/ 3601468 h 3671626"/>
              <a:gd name="connsiteX3" fmla="*/ 4 w 1700630"/>
              <a:gd name="connsiteY3" fmla="*/ 3502018 h 3671626"/>
              <a:gd name="connsiteX4" fmla="*/ 6166 w 1700630"/>
              <a:gd name="connsiteY4" fmla="*/ 1954859 h 3671626"/>
              <a:gd name="connsiteX5" fmla="*/ 240700 w 1700630"/>
              <a:gd name="connsiteY5" fmla="*/ 1406582 h 36716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700630" h="3671626">
                <a:moveTo>
                  <a:pt x="1700630" y="0"/>
                </a:moveTo>
                <a:lnTo>
                  <a:pt x="1700630" y="2190424"/>
                </a:lnTo>
                <a:lnTo>
                  <a:pt x="232119" y="3601468"/>
                </a:lnTo>
                <a:cubicBezTo>
                  <a:pt x="103193" y="3725334"/>
                  <a:pt x="-657" y="3680891"/>
                  <a:pt x="4" y="3502018"/>
                </a:cubicBezTo>
                <a:lnTo>
                  <a:pt x="6166" y="1954859"/>
                </a:lnTo>
                <a:cubicBezTo>
                  <a:pt x="6166" y="1775987"/>
                  <a:pt x="111992" y="1530667"/>
                  <a:pt x="240700" y="1406582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algn="ctr">
              <a:defRPr sz="1200" b="0">
                <a:solidFill>
                  <a:schemeClr val="tx1"/>
                </a:solidFill>
              </a:defRPr>
            </a:lvl1pPr>
          </a:lstStyle>
          <a:p>
            <a:endParaRPr lang="en-GB"/>
          </a:p>
        </p:txBody>
      </p:sp>
      <p:sp>
        <p:nvSpPr>
          <p:cNvPr id="121" name="Text Placeholder 16">
            <a:extLst>
              <a:ext uri="{FF2B5EF4-FFF2-40B4-BE49-F238E27FC236}">
                <a16:creationId xmlns:a16="http://schemas.microsoft.com/office/drawing/2014/main" id="{CCF577C4-D10B-FC22-6AFC-EC87A21D9B9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38631" y="1764973"/>
            <a:ext cx="7085111" cy="447231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22" name="Title 6">
            <a:extLst>
              <a:ext uri="{FF2B5EF4-FFF2-40B4-BE49-F238E27FC236}">
                <a16:creationId xmlns:a16="http://schemas.microsoft.com/office/drawing/2014/main" id="{7FE99AF3-5C6C-E5CD-E0DD-63B9AEBD90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9066" y="332657"/>
            <a:ext cx="8121230" cy="126248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26" name="Text Placeholder 125">
            <a:extLst>
              <a:ext uri="{FF2B5EF4-FFF2-40B4-BE49-F238E27FC236}">
                <a16:creationId xmlns:a16="http://schemas.microsoft.com/office/drawing/2014/main" id="{C359EBD3-8738-6B0B-29FD-C84B5ECD727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9251122" y="3675471"/>
            <a:ext cx="2940879" cy="3182529"/>
          </a:xfrm>
          <a:custGeom>
            <a:avLst/>
            <a:gdLst>
              <a:gd name="connsiteX0" fmla="*/ 107145 w 2940879"/>
              <a:gd name="connsiteY0" fmla="*/ 32 h 3182529"/>
              <a:gd name="connsiteX1" fmla="*/ 243149 w 2940879"/>
              <a:gd name="connsiteY1" fmla="*/ 73223 h 3182529"/>
              <a:gd name="connsiteX2" fmla="*/ 2940879 w 2940879"/>
              <a:gd name="connsiteY2" fmla="*/ 2672374 h 3182529"/>
              <a:gd name="connsiteX3" fmla="*/ 2940879 w 2940879"/>
              <a:gd name="connsiteY3" fmla="*/ 3182529 h 3182529"/>
              <a:gd name="connsiteX4" fmla="*/ 1098241 w 2940879"/>
              <a:gd name="connsiteY4" fmla="*/ 3182529 h 3182529"/>
              <a:gd name="connsiteX5" fmla="*/ 243376 w 2940879"/>
              <a:gd name="connsiteY5" fmla="*/ 2361118 h 3182529"/>
              <a:gd name="connsiteX6" fmla="*/ 0 w 2940879"/>
              <a:gd name="connsiteY6" fmla="*/ 1789717 h 3182529"/>
              <a:gd name="connsiteX7" fmla="*/ 0 w 2940879"/>
              <a:gd name="connsiteY7" fmla="*/ 176679 h 3182529"/>
              <a:gd name="connsiteX8" fmla="*/ 107145 w 2940879"/>
              <a:gd name="connsiteY8" fmla="*/ 32 h 31825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940879" h="3182529">
                <a:moveTo>
                  <a:pt x="107145" y="32"/>
                </a:moveTo>
                <a:cubicBezTo>
                  <a:pt x="145948" y="1011"/>
                  <a:pt x="192743" y="24795"/>
                  <a:pt x="243149" y="73223"/>
                </a:cubicBezTo>
                <a:lnTo>
                  <a:pt x="2940879" y="2672374"/>
                </a:lnTo>
                <a:lnTo>
                  <a:pt x="2940879" y="3182529"/>
                </a:lnTo>
                <a:lnTo>
                  <a:pt x="1098241" y="3182529"/>
                </a:lnTo>
                <a:lnTo>
                  <a:pt x="243376" y="2361118"/>
                </a:lnTo>
                <a:cubicBezTo>
                  <a:pt x="108960" y="2231972"/>
                  <a:pt x="0" y="1976211"/>
                  <a:pt x="0" y="1789717"/>
                </a:cubicBezTo>
                <a:lnTo>
                  <a:pt x="0" y="176679"/>
                </a:lnTo>
                <a:cubicBezTo>
                  <a:pt x="0" y="60120"/>
                  <a:pt x="42474" y="-1599"/>
                  <a:pt x="107145" y="32"/>
                </a:cubicBezTo>
                <a:close/>
              </a:path>
            </a:pathLst>
          </a:custGeom>
          <a:solidFill>
            <a:schemeClr val="accent1">
              <a:alpha val="20000"/>
            </a:schemeClr>
          </a:solidFill>
        </p:spPr>
        <p:txBody>
          <a:bodyPr wrap="square" anchor="ctr">
            <a:noAutofit/>
          </a:bodyPr>
          <a:lstStyle>
            <a:lvl1pPr algn="ctr">
              <a:defRPr sz="100">
                <a:solidFill>
                  <a:schemeClr val="tx2">
                    <a:alpha val="0"/>
                  </a:schemeClr>
                </a:solidFill>
              </a:defRPr>
            </a:lvl1pPr>
            <a:lvl2pPr algn="ctr">
              <a:defRPr sz="100">
                <a:solidFill>
                  <a:schemeClr val="tx2">
                    <a:alpha val="0"/>
                  </a:schemeClr>
                </a:solidFill>
              </a:defRPr>
            </a:lvl2pPr>
            <a:lvl3pPr algn="ctr">
              <a:defRPr sz="100">
                <a:solidFill>
                  <a:schemeClr val="tx2">
                    <a:alpha val="0"/>
                  </a:schemeClr>
                </a:solidFill>
              </a:defRPr>
            </a:lvl3pPr>
            <a:lvl4pPr algn="ctr">
              <a:defRPr sz="100">
                <a:solidFill>
                  <a:schemeClr val="tx2">
                    <a:alpha val="0"/>
                  </a:schemeClr>
                </a:solidFill>
              </a:defRPr>
            </a:lvl4pPr>
            <a:lvl5pPr algn="ctr">
              <a:defRPr sz="100">
                <a:solidFill>
                  <a:schemeClr val="tx2">
                    <a:alpha val="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703AE73-0813-1AD7-3E72-C71BFF01092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DB84476-BC29-4407-9D57-B2E562B8968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7144361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lex Colour ">
    <p:bg>
      <p:bgPr>
        <a:solidFill>
          <a:srgbClr val="00508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1417DF1-F875-3053-8A46-A378A33AD56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D9A5370-F19F-35AB-0B59-17D1B69F462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DB84476-BC29-4407-9D57-B2E562B8968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Isosceles Triangle 3">
            <a:extLst>
              <a:ext uri="{FF2B5EF4-FFF2-40B4-BE49-F238E27FC236}">
                <a16:creationId xmlns:a16="http://schemas.microsoft.com/office/drawing/2014/main" id="{96EE3D58-6377-D571-44D9-7DAF1F32C144}"/>
              </a:ext>
            </a:extLst>
          </p:cNvPr>
          <p:cNvSpPr/>
          <p:nvPr userDrawn="1"/>
        </p:nvSpPr>
        <p:spPr>
          <a:xfrm>
            <a:off x="0" y="3284984"/>
            <a:ext cx="3719736" cy="3573016"/>
          </a:xfrm>
          <a:prstGeom prst="triangle">
            <a:avLst>
              <a:gd name="adj" fmla="val 0"/>
            </a:avLst>
          </a:prstGeom>
          <a:solidFill>
            <a:schemeClr val="accent3">
              <a:alpha val="39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" name="Freeform: Shape 7">
            <a:extLst>
              <a:ext uri="{FF2B5EF4-FFF2-40B4-BE49-F238E27FC236}">
                <a16:creationId xmlns:a16="http://schemas.microsoft.com/office/drawing/2014/main" id="{CAC1B317-FFB1-4AF9-B3D7-2FC2CEF09CF1}"/>
              </a:ext>
            </a:extLst>
          </p:cNvPr>
          <p:cNvSpPr/>
          <p:nvPr userDrawn="1"/>
        </p:nvSpPr>
        <p:spPr>
          <a:xfrm>
            <a:off x="7035756" y="0"/>
            <a:ext cx="4634708" cy="4221744"/>
          </a:xfrm>
          <a:custGeom>
            <a:avLst/>
            <a:gdLst>
              <a:gd name="connsiteX0" fmla="*/ 1185027 w 4634708"/>
              <a:gd name="connsiteY0" fmla="*/ 0 h 4221744"/>
              <a:gd name="connsiteX1" fmla="*/ 4634708 w 4634708"/>
              <a:gd name="connsiteY1" fmla="*/ 0 h 4221744"/>
              <a:gd name="connsiteX2" fmla="*/ 351638 w 4634708"/>
              <a:gd name="connsiteY2" fmla="*/ 4115461 h 4221744"/>
              <a:gd name="connsiteX3" fmla="*/ 5 w 4634708"/>
              <a:gd name="connsiteY3" fmla="*/ 3964804 h 4221744"/>
              <a:gd name="connsiteX4" fmla="*/ 9340 w 4634708"/>
              <a:gd name="connsiteY4" fmla="*/ 1621000 h 4221744"/>
              <a:gd name="connsiteX5" fmla="*/ 364638 w 4634708"/>
              <a:gd name="connsiteY5" fmla="*/ 790411 h 42217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634708" h="4221744">
                <a:moveTo>
                  <a:pt x="1185027" y="0"/>
                </a:moveTo>
                <a:lnTo>
                  <a:pt x="4634708" y="0"/>
                </a:lnTo>
                <a:lnTo>
                  <a:pt x="351638" y="4115461"/>
                </a:lnTo>
                <a:cubicBezTo>
                  <a:pt x="156326" y="4303107"/>
                  <a:pt x="-996" y="4235779"/>
                  <a:pt x="5" y="3964804"/>
                </a:cubicBezTo>
                <a:lnTo>
                  <a:pt x="9340" y="1621000"/>
                </a:lnTo>
                <a:cubicBezTo>
                  <a:pt x="9340" y="1350025"/>
                  <a:pt x="169657" y="978388"/>
                  <a:pt x="364638" y="790411"/>
                </a:cubicBezTo>
                <a:close/>
              </a:path>
            </a:pathLst>
          </a:custGeom>
          <a:solidFill>
            <a:schemeClr val="accent6">
              <a:alpha val="39000"/>
            </a:schemeClr>
          </a:solidFill>
          <a:ln w="4630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GB"/>
          </a:p>
        </p:txBody>
      </p:sp>
      <p:sp>
        <p:nvSpPr>
          <p:cNvPr id="17" name="Freeform: Shape 16">
            <a:extLst>
              <a:ext uri="{FF2B5EF4-FFF2-40B4-BE49-F238E27FC236}">
                <a16:creationId xmlns:a16="http://schemas.microsoft.com/office/drawing/2014/main" id="{09CCE8B8-D6FD-916E-7AE1-0514DC85C383}"/>
              </a:ext>
            </a:extLst>
          </p:cNvPr>
          <p:cNvSpPr/>
          <p:nvPr userDrawn="1"/>
        </p:nvSpPr>
        <p:spPr>
          <a:xfrm>
            <a:off x="1574997" y="1354583"/>
            <a:ext cx="4809036" cy="5517250"/>
          </a:xfrm>
          <a:custGeom>
            <a:avLst/>
            <a:gdLst>
              <a:gd name="connsiteX0" fmla="*/ 5103820 w 5262813"/>
              <a:gd name="connsiteY0" fmla="*/ 47 h 6037853"/>
              <a:gd name="connsiteX1" fmla="*/ 5262813 w 5262813"/>
              <a:gd name="connsiteY1" fmla="*/ 262175 h 6037853"/>
              <a:gd name="connsiteX2" fmla="*/ 5262813 w 5262813"/>
              <a:gd name="connsiteY2" fmla="*/ 2655765 h 6037853"/>
              <a:gd name="connsiteX3" fmla="*/ 4901666 w 5262813"/>
              <a:gd name="connsiteY3" fmla="*/ 3503669 h 6037853"/>
              <a:gd name="connsiteX4" fmla="*/ 2264273 w 5262813"/>
              <a:gd name="connsiteY4" fmla="*/ 6037853 h 6037853"/>
              <a:gd name="connsiteX5" fmla="*/ 0 w 5262813"/>
              <a:gd name="connsiteY5" fmla="*/ 6037853 h 6037853"/>
              <a:gd name="connsiteX6" fmla="*/ 2829 w 5262813"/>
              <a:gd name="connsiteY6" fmla="*/ 5327454 h 6037853"/>
              <a:gd name="connsiteX7" fmla="*/ 365675 w 5262813"/>
              <a:gd name="connsiteY7" fmla="*/ 4479218 h 6037853"/>
              <a:gd name="connsiteX8" fmla="*/ 4902004 w 5262813"/>
              <a:gd name="connsiteY8" fmla="*/ 108655 h 6037853"/>
              <a:gd name="connsiteX9" fmla="*/ 5103820 w 5262813"/>
              <a:gd name="connsiteY9" fmla="*/ 47 h 60378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5262813" h="6037853">
                <a:moveTo>
                  <a:pt x="5103820" y="47"/>
                </a:moveTo>
                <a:cubicBezTo>
                  <a:pt x="5199787" y="-2372"/>
                  <a:pt x="5262813" y="89212"/>
                  <a:pt x="5262813" y="262175"/>
                </a:cubicBezTo>
                <a:lnTo>
                  <a:pt x="5262813" y="2655765"/>
                </a:lnTo>
                <a:cubicBezTo>
                  <a:pt x="5262813" y="2932504"/>
                  <a:pt x="5101127" y="3312029"/>
                  <a:pt x="4901666" y="3503669"/>
                </a:cubicBezTo>
                <a:lnTo>
                  <a:pt x="2264273" y="6037853"/>
                </a:lnTo>
                <a:lnTo>
                  <a:pt x="0" y="6037853"/>
                </a:lnTo>
                <a:lnTo>
                  <a:pt x="2829" y="5327454"/>
                </a:lnTo>
                <a:cubicBezTo>
                  <a:pt x="2829" y="5050722"/>
                  <a:pt x="166552" y="4671190"/>
                  <a:pt x="365675" y="4479218"/>
                </a:cubicBezTo>
                <a:lnTo>
                  <a:pt x="4902004" y="108655"/>
                </a:lnTo>
                <a:cubicBezTo>
                  <a:pt x="4976802" y="36793"/>
                  <a:pt x="5046240" y="1499"/>
                  <a:pt x="5103820" y="47"/>
                </a:cubicBezTo>
                <a:close/>
              </a:path>
            </a:pathLst>
          </a:custGeom>
          <a:solidFill>
            <a:schemeClr val="tx2">
              <a:alpha val="39000"/>
            </a:schemeClr>
          </a:solidFill>
          <a:ln w="4630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GB"/>
          </a:p>
        </p:txBody>
      </p:sp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A64CD0EB-91EF-7CDA-A593-6A48E2E128AA}"/>
              </a:ext>
            </a:extLst>
          </p:cNvPr>
          <p:cNvSpPr/>
          <p:nvPr userDrawn="1"/>
        </p:nvSpPr>
        <p:spPr>
          <a:xfrm>
            <a:off x="2924512" y="117600"/>
            <a:ext cx="7307022" cy="6740401"/>
          </a:xfrm>
          <a:custGeom>
            <a:avLst/>
            <a:gdLst>
              <a:gd name="connsiteX0" fmla="*/ 7075761 w 7307022"/>
              <a:gd name="connsiteY0" fmla="*/ 69 h 6740401"/>
              <a:gd name="connsiteX1" fmla="*/ 7307022 w 7307022"/>
              <a:gd name="connsiteY1" fmla="*/ 381343 h 6740401"/>
              <a:gd name="connsiteX2" fmla="*/ 7307022 w 7307022"/>
              <a:gd name="connsiteY2" fmla="*/ 3862913 h 6740401"/>
              <a:gd name="connsiteX3" fmla="*/ 6781719 w 7307022"/>
              <a:gd name="connsiteY3" fmla="*/ 5096222 h 6740401"/>
              <a:gd name="connsiteX4" fmla="*/ 5070578 w 7307022"/>
              <a:gd name="connsiteY4" fmla="*/ 6740401 h 6740401"/>
              <a:gd name="connsiteX5" fmla="*/ 0 w 7307022"/>
              <a:gd name="connsiteY5" fmla="*/ 6740401 h 6740401"/>
              <a:gd name="connsiteX6" fmla="*/ 78111 w 7307022"/>
              <a:gd name="connsiteY6" fmla="*/ 6631871 h 6740401"/>
              <a:gd name="connsiteX7" fmla="*/ 183945 w 7307022"/>
              <a:gd name="connsiteY7" fmla="*/ 6515197 h 6740401"/>
              <a:gd name="connsiteX8" fmla="*/ 6782211 w 7307022"/>
              <a:gd name="connsiteY8" fmla="*/ 158043 h 6740401"/>
              <a:gd name="connsiteX9" fmla="*/ 7075761 w 7307022"/>
              <a:gd name="connsiteY9" fmla="*/ 69 h 67404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7307022" h="6740401">
                <a:moveTo>
                  <a:pt x="7075761" y="69"/>
                </a:moveTo>
                <a:cubicBezTo>
                  <a:pt x="7215348" y="-3451"/>
                  <a:pt x="7307022" y="129763"/>
                  <a:pt x="7307022" y="381343"/>
                </a:cubicBezTo>
                <a:lnTo>
                  <a:pt x="7307022" y="3862913"/>
                </a:lnTo>
                <a:cubicBezTo>
                  <a:pt x="7307022" y="4265441"/>
                  <a:pt x="7071844" y="4817474"/>
                  <a:pt x="6781719" y="5096222"/>
                </a:cubicBezTo>
                <a:lnTo>
                  <a:pt x="5070578" y="6740401"/>
                </a:lnTo>
                <a:lnTo>
                  <a:pt x="0" y="6740401"/>
                </a:lnTo>
                <a:lnTo>
                  <a:pt x="78111" y="6631871"/>
                </a:lnTo>
                <a:cubicBezTo>
                  <a:pt x="112342" y="6589267"/>
                  <a:pt x="147741" y="6550100"/>
                  <a:pt x="183945" y="6515197"/>
                </a:cubicBezTo>
                <a:lnTo>
                  <a:pt x="6782211" y="158043"/>
                </a:lnTo>
                <a:cubicBezTo>
                  <a:pt x="6891008" y="53516"/>
                  <a:pt x="6992009" y="2181"/>
                  <a:pt x="7075761" y="69"/>
                </a:cubicBezTo>
                <a:close/>
              </a:path>
            </a:pathLst>
          </a:custGeom>
          <a:solidFill>
            <a:schemeClr val="accent4">
              <a:alpha val="39000"/>
            </a:schemeClr>
          </a:solidFill>
          <a:ln w="4630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6617961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ic Colour 5">
    <p:bg>
      <p:bgPr>
        <a:solidFill>
          <a:srgbClr val="005191">
            <a:alpha val="62000"/>
          </a:srgb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: Shape 6">
            <a:extLst>
              <a:ext uri="{FF2B5EF4-FFF2-40B4-BE49-F238E27FC236}">
                <a16:creationId xmlns:a16="http://schemas.microsoft.com/office/drawing/2014/main" id="{7133A99E-B18C-C194-FBD8-725541014CB0}"/>
              </a:ext>
            </a:extLst>
          </p:cNvPr>
          <p:cNvSpPr/>
          <p:nvPr userDrawn="1"/>
        </p:nvSpPr>
        <p:spPr>
          <a:xfrm>
            <a:off x="1559496" y="0"/>
            <a:ext cx="10632504" cy="6858000"/>
          </a:xfrm>
          <a:custGeom>
            <a:avLst/>
            <a:gdLst>
              <a:gd name="connsiteX0" fmla="*/ 7056784 w 10632504"/>
              <a:gd name="connsiteY0" fmla="*/ 0 h 6858000"/>
              <a:gd name="connsiteX1" fmla="*/ 10632504 w 10632504"/>
              <a:gd name="connsiteY1" fmla="*/ 0 h 6858000"/>
              <a:gd name="connsiteX2" fmla="*/ 10632504 w 10632504"/>
              <a:gd name="connsiteY2" fmla="*/ 6857999 h 6858000"/>
              <a:gd name="connsiteX3" fmla="*/ 7110269 w 10632504"/>
              <a:gd name="connsiteY3" fmla="*/ 6857999 h 6858000"/>
              <a:gd name="connsiteX4" fmla="*/ 7110269 w 10632504"/>
              <a:gd name="connsiteY4" fmla="*/ 6858000 h 6858000"/>
              <a:gd name="connsiteX5" fmla="*/ 0 w 10632504"/>
              <a:gd name="connsiteY5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632504" h="6858000">
                <a:moveTo>
                  <a:pt x="7056784" y="0"/>
                </a:moveTo>
                <a:lnTo>
                  <a:pt x="10632504" y="0"/>
                </a:lnTo>
                <a:lnTo>
                  <a:pt x="10632504" y="6857999"/>
                </a:lnTo>
                <a:lnTo>
                  <a:pt x="7110269" y="6857999"/>
                </a:lnTo>
                <a:lnTo>
                  <a:pt x="7110269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27257A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D9A5370-F19F-35AB-0B59-17D1B69F462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3DB84476-BC29-4407-9D57-B2E562B8968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42FA33CC-AA75-4355-0A4E-69961250982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495870" y="251460"/>
            <a:ext cx="1283569" cy="1038859"/>
          </a:xfrm>
          <a:prstGeom prst="rect">
            <a:avLst/>
          </a:prstGeom>
        </p:spPr>
      </p:pic>
      <p:pic>
        <p:nvPicPr>
          <p:cNvPr id="11" name="Graphic 10">
            <a:extLst>
              <a:ext uri="{FF2B5EF4-FFF2-40B4-BE49-F238E27FC236}">
                <a16:creationId xmlns:a16="http://schemas.microsoft.com/office/drawing/2014/main" id="{137CAE3D-CA63-D669-E471-86E0A20FA7AC}"/>
              </a:ext>
            </a:extLst>
          </p:cNvPr>
          <p:cNvPicPr>
            <a:picLocks noChangeAspect="1"/>
          </p:cNvPicPr>
          <p:nvPr userDrawn="1"/>
        </p:nvPicPr>
        <p:blipFill>
          <a:blip cstate="hqprint">
            <a:lum bright="100000"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27202" y="334561"/>
            <a:ext cx="1667613" cy="10078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0991654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asic Title Onl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9">
            <a:extLst>
              <a:ext uri="{FF2B5EF4-FFF2-40B4-BE49-F238E27FC236}">
                <a16:creationId xmlns:a16="http://schemas.microsoft.com/office/drawing/2014/main" id="{FEAA0D65-B41D-04C4-56F7-20C1EF0ADF4C}"/>
              </a:ext>
            </a:extLst>
          </p:cNvPr>
          <p:cNvSpPr/>
          <p:nvPr userDrawn="1"/>
        </p:nvSpPr>
        <p:spPr>
          <a:xfrm>
            <a:off x="0" y="-8812"/>
            <a:ext cx="1535656" cy="2213675"/>
          </a:xfrm>
          <a:custGeom>
            <a:avLst/>
            <a:gdLst>
              <a:gd name="connsiteX0" fmla="*/ 607467 w 1472820"/>
              <a:gd name="connsiteY0" fmla="*/ 0 h 2123096"/>
              <a:gd name="connsiteX1" fmla="*/ 674998 w 1472820"/>
              <a:gd name="connsiteY1" fmla="*/ 606672 h 2123096"/>
              <a:gd name="connsiteX2" fmla="*/ 1010564 w 1472820"/>
              <a:gd name="connsiteY2" fmla="*/ 969533 h 2123096"/>
              <a:gd name="connsiteX3" fmla="*/ 1472820 w 1472820"/>
              <a:gd name="connsiteY3" fmla="*/ 1061548 h 2123096"/>
              <a:gd name="connsiteX4" fmla="*/ 1010564 w 1472820"/>
              <a:gd name="connsiteY4" fmla="*/ 1153563 h 2123096"/>
              <a:gd name="connsiteX5" fmla="*/ 674998 w 1472820"/>
              <a:gd name="connsiteY5" fmla="*/ 1516423 h 2123096"/>
              <a:gd name="connsiteX6" fmla="*/ 607467 w 1472820"/>
              <a:gd name="connsiteY6" fmla="*/ 2123096 h 2123096"/>
              <a:gd name="connsiteX7" fmla="*/ 539936 w 1472820"/>
              <a:gd name="connsiteY7" fmla="*/ 1516423 h 2123096"/>
              <a:gd name="connsiteX8" fmla="*/ 204370 w 1472820"/>
              <a:gd name="connsiteY8" fmla="*/ 1153563 h 2123096"/>
              <a:gd name="connsiteX9" fmla="*/ 0 w 1472820"/>
              <a:gd name="connsiteY9" fmla="*/ 1112882 h 2123096"/>
              <a:gd name="connsiteX10" fmla="*/ 0 w 1472820"/>
              <a:gd name="connsiteY10" fmla="*/ 1010214 h 2123096"/>
              <a:gd name="connsiteX11" fmla="*/ 204370 w 1472820"/>
              <a:gd name="connsiteY11" fmla="*/ 969533 h 2123096"/>
              <a:gd name="connsiteX12" fmla="*/ 539936 w 1472820"/>
              <a:gd name="connsiteY12" fmla="*/ 606672 h 21230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472820" h="2123096">
                <a:moveTo>
                  <a:pt x="607467" y="0"/>
                </a:moveTo>
                <a:lnTo>
                  <a:pt x="674998" y="606672"/>
                </a:lnTo>
                <a:cubicBezTo>
                  <a:pt x="695413" y="787064"/>
                  <a:pt x="831004" y="934184"/>
                  <a:pt x="1010564" y="969533"/>
                </a:cubicBezTo>
                <a:lnTo>
                  <a:pt x="1472820" y="1061548"/>
                </a:lnTo>
                <a:lnTo>
                  <a:pt x="1010564" y="1153563"/>
                </a:lnTo>
                <a:cubicBezTo>
                  <a:pt x="831004" y="1188912"/>
                  <a:pt x="695413" y="1336032"/>
                  <a:pt x="674998" y="1516423"/>
                </a:cubicBezTo>
                <a:lnTo>
                  <a:pt x="607467" y="2123096"/>
                </a:lnTo>
                <a:lnTo>
                  <a:pt x="539936" y="1516423"/>
                </a:lnTo>
                <a:cubicBezTo>
                  <a:pt x="519516" y="1336032"/>
                  <a:pt x="383930" y="1188912"/>
                  <a:pt x="204370" y="1153563"/>
                </a:cubicBezTo>
                <a:lnTo>
                  <a:pt x="0" y="1112882"/>
                </a:lnTo>
                <a:lnTo>
                  <a:pt x="0" y="1010214"/>
                </a:lnTo>
                <a:lnTo>
                  <a:pt x="204370" y="969533"/>
                </a:lnTo>
                <a:cubicBezTo>
                  <a:pt x="383930" y="934184"/>
                  <a:pt x="519516" y="787064"/>
                  <a:pt x="539936" y="606672"/>
                </a:cubicBezTo>
                <a:close/>
              </a:path>
            </a:pathLst>
          </a:custGeom>
          <a:solidFill>
            <a:srgbClr val="FFDD00">
              <a:alpha val="70152"/>
            </a:srgbClr>
          </a:solidFill>
          <a:ln w="11029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65A8F828-EA8C-44F9-8CE3-BF6A6E5A9C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2457" y="1052736"/>
            <a:ext cx="10944225" cy="1080120"/>
          </a:xfrm>
        </p:spPr>
        <p:txBody>
          <a:bodyPr anchor="t"/>
          <a:lstStyle>
            <a:lvl1pPr>
              <a:lnSpc>
                <a:spcPct val="90000"/>
              </a:lnSpc>
              <a:defRPr sz="3000" cap="all" baseline="0">
                <a:solidFill>
                  <a:srgbClr val="00519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6297398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2" orient="horz" pos="890">
          <p15:clr>
            <a:srgbClr val="FBAE40"/>
          </p15:clr>
        </p15:guide>
        <p15:guide id="3" orient="horz" pos="3612">
          <p15:clr>
            <a:srgbClr val="FBAE40"/>
          </p15:clr>
        </p15:guide>
        <p15:guide id="4" orient="horz" pos="1026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title" preserve="1" userDrawn="1">
  <p:cSld name="Diapositive de titre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pic>
        <p:nvPicPr>
          <p:cNvPr id="1526751053" name="Image 7" descr="An image containing Graphic, Screenshot, Colored Character, Design&#10;&#10;Auto-generated description"/>
          <p:cNvPicPr>
            <a:picLocks noChangeAspect="1"/>
          </p:cNvPicPr>
          <p:nvPr userDrawn="1"/>
        </p:nvPicPr>
        <p:blipFill>
          <a:blip r:embed="rId2"/>
          <a:stretch/>
        </p:blipFill>
        <p:spPr bwMode="auto">
          <a:xfrm>
            <a:off x="-4820294" y="-2478732"/>
            <a:ext cx="13202294" cy="13202294"/>
          </a:xfrm>
          <a:prstGeom prst="rect">
            <a:avLst/>
          </a:prstGeom>
        </p:spPr>
      </p:pic>
      <p:sp>
        <p:nvSpPr>
          <p:cNvPr id="1870509271" name="Titre 1"/>
          <p:cNvSpPr>
            <a:spLocks noGrp="1"/>
          </p:cNvSpPr>
          <p:nvPr>
            <p:ph type="ctrTitle"/>
          </p:nvPr>
        </p:nvSpPr>
        <p:spPr bwMode="auto">
          <a:xfrm>
            <a:off x="5740400" y="1122363"/>
            <a:ext cx="4927600" cy="2387600"/>
          </a:xfrm>
        </p:spPr>
        <p:txBody>
          <a:bodyPr anchor="b">
            <a:normAutofit/>
          </a:bodyPr>
          <a:lstStyle>
            <a:lvl1pPr algn="ctr">
              <a:defRPr sz="4400"/>
            </a:lvl1pPr>
          </a:lstStyle>
          <a:p>
            <a:pPr>
              <a:defRPr/>
            </a:pPr>
            <a:r>
              <a:rPr lang="en"/>
              <a:t>Change the style of the title</a:t>
            </a:r>
            <a:endParaRPr/>
          </a:p>
        </p:txBody>
      </p:sp>
      <p:sp>
        <p:nvSpPr>
          <p:cNvPr id="547128254" name="Sous-titre 2"/>
          <p:cNvSpPr>
            <a:spLocks noGrp="1"/>
          </p:cNvSpPr>
          <p:nvPr>
            <p:ph type="subTitle" idx="1"/>
          </p:nvPr>
        </p:nvSpPr>
        <p:spPr bwMode="auto">
          <a:xfrm>
            <a:off x="5740398" y="3602038"/>
            <a:ext cx="4927601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>
              <a:defRPr/>
            </a:pPr>
            <a:r>
              <a:rPr lang="en"/>
              <a:t>Change the style of the mask's captions</a:t>
            </a:r>
            <a:endParaRPr/>
          </a:p>
        </p:txBody>
      </p:sp>
      <p:sp>
        <p:nvSpPr>
          <p:cNvPr id="474537293" name="Espace réservé de la date 3"/>
          <p:cNvSpPr>
            <a:spLocks noGrp="1"/>
          </p:cNvSpPr>
          <p:nvPr>
            <p:ph type="dt" sz="half" idx="10"/>
          </p:nvPr>
        </p:nvSpPr>
        <p:spPr bwMode="auto"/>
        <p:txBody>
          <a:bodyPr/>
          <a:lstStyle/>
          <a:p>
            <a:pPr>
              <a:defRPr/>
            </a:pPr>
            <a:fld id="{6A65543E-75B9-484F-BE71-23411CEBAC7E}" type="datetimeFigureOut">
              <a:rPr lang="fr-FR"/>
              <a:t>26/05/2026</a:t>
            </a:fld>
            <a:endParaRPr lang="fr-FR"/>
          </a:p>
        </p:txBody>
      </p:sp>
      <p:sp>
        <p:nvSpPr>
          <p:cNvPr id="209925357" name="Espace réservé du numéro de diapositive 5"/>
          <p:cNvSpPr>
            <a:spLocks noGrp="1"/>
          </p:cNvSpPr>
          <p:nvPr>
            <p:ph type="sldNum" sz="quarter" idx="12"/>
          </p:nvPr>
        </p:nvSpPr>
        <p:spPr bwMode="auto"/>
        <p:txBody>
          <a:bodyPr/>
          <a:lstStyle/>
          <a:p>
            <a:pPr>
              <a:defRPr/>
            </a:pPr>
            <a:fld id="{54E9A060-BB2C-9D41-B263-FE666F464037}" type="slidenum">
              <a:rPr lang="fr-FR"/>
              <a:t>‹#›</a:t>
            </a:fld>
            <a:endParaRPr lang="fr-FR"/>
          </a:p>
        </p:txBody>
      </p:sp>
      <p:pic>
        <p:nvPicPr>
          <p:cNvPr id="1895259860" name="Image 9" descr="An image containing Font, Graphic, Logo, Graphic Design&#10;&#10;Auto-generated description"/>
          <p:cNvPicPr>
            <a:picLocks noChangeAspect="1"/>
          </p:cNvPicPr>
          <p:nvPr userDrawn="1"/>
        </p:nvPicPr>
        <p:blipFill>
          <a:blip r:embed="rId3"/>
          <a:stretch/>
        </p:blipFill>
        <p:spPr bwMode="auto">
          <a:xfrm>
            <a:off x="7207883" y="6243758"/>
            <a:ext cx="1992630" cy="5018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67315797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obj" preserve="1" userDrawn="1">
  <p:cSld name="Titre et contenu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pSp>
        <p:nvGrpSpPr>
          <p:cNvPr id="1596323447" name="Groupe 11"/>
          <p:cNvGrpSpPr/>
          <p:nvPr userDrawn="1"/>
        </p:nvGrpSpPr>
        <p:grpSpPr bwMode="auto">
          <a:xfrm>
            <a:off x="-95255" y="-1136968"/>
            <a:ext cx="2937510" cy="8985064"/>
            <a:chOff x="-95255" y="-1136968"/>
            <a:chExt cx="2937510" cy="8985064"/>
          </a:xfrm>
        </p:grpSpPr>
        <p:pic>
          <p:nvPicPr>
            <p:cNvPr id="13" name="Image 12" descr="An image containing Rectangle, Screenshot, Line, Colored Character&#10;&#10;Auto-generated description"/>
            <p:cNvPicPr>
              <a:picLocks noChangeAspect="1"/>
            </p:cNvPicPr>
            <p:nvPr userDrawn="1"/>
          </p:nvPicPr>
          <p:blipFill>
            <a:blip r:embed="rId2"/>
            <a:stretch/>
          </p:blipFill>
          <p:spPr bwMode="auto">
            <a:xfrm rot="5400000">
              <a:off x="-1018800" y="6112641"/>
              <a:ext cx="2750820" cy="720090"/>
            </a:xfrm>
            <a:prstGeom prst="rect">
              <a:avLst/>
            </a:prstGeom>
          </p:spPr>
        </p:pic>
        <p:pic>
          <p:nvPicPr>
            <p:cNvPr id="14" name="Image 13" descr="An image containing Rectangle, Screenshot, Line, Colored Character&#10;&#10;Auto-generated description"/>
            <p:cNvPicPr>
              <a:picLocks noChangeAspect="1"/>
            </p:cNvPicPr>
            <p:nvPr userDrawn="1"/>
          </p:nvPicPr>
          <p:blipFill>
            <a:blip r:embed="rId2"/>
            <a:stretch/>
          </p:blipFill>
          <p:spPr bwMode="auto">
            <a:xfrm rot="5400000">
              <a:off x="-1018800" y="3504882"/>
              <a:ext cx="2750820" cy="720090"/>
            </a:xfrm>
            <a:prstGeom prst="rect">
              <a:avLst/>
            </a:prstGeom>
          </p:spPr>
        </p:pic>
        <p:pic>
          <p:nvPicPr>
            <p:cNvPr id="15" name="Image 14" descr="An image containing screenshot, graphic, graphics, design&#10;&#10;Auto-generated description"/>
            <p:cNvPicPr>
              <a:picLocks noChangeAspect="1"/>
            </p:cNvPicPr>
            <p:nvPr userDrawn="1"/>
          </p:nvPicPr>
          <p:blipFill>
            <a:blip r:embed="rId3"/>
            <a:stretch/>
          </p:blipFill>
          <p:spPr bwMode="auto">
            <a:xfrm rot="5400000">
              <a:off x="-444505" y="-787718"/>
              <a:ext cx="3636010" cy="2937510"/>
            </a:xfrm>
            <a:prstGeom prst="rect">
              <a:avLst/>
            </a:prstGeom>
          </p:spPr>
        </p:pic>
      </p:grpSp>
      <p:sp>
        <p:nvSpPr>
          <p:cNvPr id="26770652" name="Titre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 lang="en"/>
              <a:t>Change the style of the title</a:t>
            </a:r>
            <a:endParaRPr/>
          </a:p>
        </p:txBody>
      </p:sp>
      <p:sp>
        <p:nvSpPr>
          <p:cNvPr id="803061548" name="Espace réservé du contenu 2"/>
          <p:cNvSpPr>
            <a:spLocks noGrp="1"/>
          </p:cNvSpPr>
          <p:nvPr>
            <p:ph idx="1"/>
          </p:nvPr>
        </p:nvSpPr>
        <p:spPr bwMode="auto"/>
        <p:txBody>
          <a:bodyPr/>
          <a:lstStyle/>
          <a:p>
            <a:pPr lvl="0">
              <a:defRPr/>
            </a:pPr>
            <a:r>
              <a:rPr lang="en"/>
              <a:t>Click to change the styles of the mask text</a:t>
            </a:r>
            <a:endParaRPr/>
          </a:p>
          <a:p>
            <a:pPr lvl="1">
              <a:defRPr/>
            </a:pPr>
            <a:r>
              <a:rPr lang="en"/>
              <a:t>Second level</a:t>
            </a:r>
            <a:endParaRPr/>
          </a:p>
          <a:p>
            <a:pPr lvl="2">
              <a:defRPr/>
            </a:pPr>
            <a:r>
              <a:rPr lang="en"/>
              <a:t>Third level</a:t>
            </a:r>
            <a:endParaRPr/>
          </a:p>
          <a:p>
            <a:pPr lvl="3">
              <a:defRPr/>
            </a:pPr>
            <a:r>
              <a:rPr lang="en"/>
              <a:t>Fourth level</a:t>
            </a:r>
            <a:endParaRPr/>
          </a:p>
          <a:p>
            <a:pPr lvl="4">
              <a:defRPr/>
            </a:pPr>
            <a:r>
              <a:rPr lang="en"/>
              <a:t>Fifth Level</a:t>
            </a:r>
            <a:endParaRPr/>
          </a:p>
        </p:txBody>
      </p:sp>
      <p:sp>
        <p:nvSpPr>
          <p:cNvPr id="1519444250" name="Espace réservé de la date 3"/>
          <p:cNvSpPr>
            <a:spLocks noGrp="1"/>
          </p:cNvSpPr>
          <p:nvPr>
            <p:ph type="dt" sz="half" idx="10"/>
          </p:nvPr>
        </p:nvSpPr>
        <p:spPr bwMode="auto"/>
        <p:txBody>
          <a:bodyPr/>
          <a:lstStyle/>
          <a:p>
            <a:pPr>
              <a:defRPr/>
            </a:pPr>
            <a:fld id="{6A65543E-75B9-484F-BE71-23411CEBAC7E}" type="datetimeFigureOut">
              <a:rPr lang="fr-FR"/>
              <a:t>26/05/2026</a:t>
            </a:fld>
            <a:endParaRPr lang="fr-FR"/>
          </a:p>
        </p:txBody>
      </p:sp>
      <p:sp>
        <p:nvSpPr>
          <p:cNvPr id="1017177325" name="Espace réservé du numéro de diapositive 5"/>
          <p:cNvSpPr>
            <a:spLocks noGrp="1"/>
          </p:cNvSpPr>
          <p:nvPr>
            <p:ph type="sldNum" sz="quarter" idx="12"/>
          </p:nvPr>
        </p:nvSpPr>
        <p:spPr bwMode="auto"/>
        <p:txBody>
          <a:bodyPr/>
          <a:lstStyle/>
          <a:p>
            <a:pPr>
              <a:defRPr/>
            </a:pPr>
            <a:fld id="{54E9A060-BB2C-9D41-B263-FE666F464037}" type="slidenum">
              <a:rPr lang="fr-FR"/>
              <a:t>‹#›</a:t>
            </a:fld>
            <a:endParaRPr lang="fr-FR"/>
          </a:p>
        </p:txBody>
      </p:sp>
      <p:pic>
        <p:nvPicPr>
          <p:cNvPr id="1806668082" name="Image 6" descr="An image containing Font, Graphic, Logo, Graphic Design&#10;&#10;Auto-generated description"/>
          <p:cNvPicPr>
            <a:picLocks noChangeAspect="1"/>
          </p:cNvPicPr>
          <p:nvPr userDrawn="1"/>
        </p:nvPicPr>
        <p:blipFill>
          <a:blip r:embed="rId4"/>
          <a:stretch/>
        </p:blipFill>
        <p:spPr bwMode="auto">
          <a:xfrm>
            <a:off x="5099685" y="6243758"/>
            <a:ext cx="1992630" cy="5018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19257998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titleOnly" preserve="1" userDrawn="1">
  <p:cSld name="Titre seul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pSp>
        <p:nvGrpSpPr>
          <p:cNvPr id="955651471" name="Groupe 6"/>
          <p:cNvGrpSpPr/>
          <p:nvPr userDrawn="1"/>
        </p:nvGrpSpPr>
        <p:grpSpPr bwMode="auto">
          <a:xfrm>
            <a:off x="-95255" y="-1136968"/>
            <a:ext cx="2937510" cy="8985064"/>
            <a:chOff x="-95255" y="-1136968"/>
            <a:chExt cx="2937510" cy="8985064"/>
          </a:xfrm>
        </p:grpSpPr>
        <p:pic>
          <p:nvPicPr>
            <p:cNvPr id="8" name="Image 7" descr="An image containing Rectangle, Screenshot, Line, Colored Character&#10;&#10;Auto-generated description"/>
            <p:cNvPicPr>
              <a:picLocks noChangeAspect="1"/>
            </p:cNvPicPr>
            <p:nvPr userDrawn="1"/>
          </p:nvPicPr>
          <p:blipFill>
            <a:blip r:embed="rId2"/>
            <a:stretch/>
          </p:blipFill>
          <p:spPr bwMode="auto">
            <a:xfrm rot="5400000">
              <a:off x="-1018800" y="6112641"/>
              <a:ext cx="2750820" cy="720090"/>
            </a:xfrm>
            <a:prstGeom prst="rect">
              <a:avLst/>
            </a:prstGeom>
          </p:spPr>
        </p:pic>
        <p:pic>
          <p:nvPicPr>
            <p:cNvPr id="9" name="Image 8" descr="An image containing Rectangle, Screenshot, Line, Colored Character&#10;&#10;Auto-generated description"/>
            <p:cNvPicPr>
              <a:picLocks noChangeAspect="1"/>
            </p:cNvPicPr>
            <p:nvPr userDrawn="1"/>
          </p:nvPicPr>
          <p:blipFill>
            <a:blip r:embed="rId2"/>
            <a:stretch/>
          </p:blipFill>
          <p:spPr bwMode="auto">
            <a:xfrm rot="5400000">
              <a:off x="-1018800" y="3504882"/>
              <a:ext cx="2750820" cy="720090"/>
            </a:xfrm>
            <a:prstGeom prst="rect">
              <a:avLst/>
            </a:prstGeom>
          </p:spPr>
        </p:pic>
        <p:pic>
          <p:nvPicPr>
            <p:cNvPr id="10" name="Image 9" descr="An image containing screenshot, graphic, graphics, design&#10;&#10;Auto-generated description"/>
            <p:cNvPicPr>
              <a:picLocks noChangeAspect="1"/>
            </p:cNvPicPr>
            <p:nvPr userDrawn="1"/>
          </p:nvPicPr>
          <p:blipFill>
            <a:blip r:embed="rId3"/>
            <a:stretch/>
          </p:blipFill>
          <p:spPr bwMode="auto">
            <a:xfrm rot="5400000">
              <a:off x="-444505" y="-787718"/>
              <a:ext cx="3636010" cy="2937510"/>
            </a:xfrm>
            <a:prstGeom prst="rect">
              <a:avLst/>
            </a:prstGeom>
          </p:spPr>
        </p:pic>
      </p:grpSp>
      <p:sp>
        <p:nvSpPr>
          <p:cNvPr id="453875148" name="Titre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 lang="en"/>
              <a:t>Change the style of the title</a:t>
            </a:r>
            <a:endParaRPr/>
          </a:p>
        </p:txBody>
      </p:sp>
      <p:sp>
        <p:nvSpPr>
          <p:cNvPr id="1068313342" name="Espace réservé de la date 2"/>
          <p:cNvSpPr>
            <a:spLocks noGrp="1"/>
          </p:cNvSpPr>
          <p:nvPr>
            <p:ph type="dt" sz="half" idx="10"/>
          </p:nvPr>
        </p:nvSpPr>
        <p:spPr bwMode="auto"/>
        <p:txBody>
          <a:bodyPr/>
          <a:lstStyle/>
          <a:p>
            <a:pPr>
              <a:defRPr/>
            </a:pPr>
            <a:fld id="{6A65543E-75B9-484F-BE71-23411CEBAC7E}" type="datetimeFigureOut">
              <a:rPr lang="fr-FR"/>
              <a:t>26/05/2026</a:t>
            </a:fld>
            <a:endParaRPr lang="fr-FR"/>
          </a:p>
        </p:txBody>
      </p:sp>
      <p:sp>
        <p:nvSpPr>
          <p:cNvPr id="1359130006" name="Espace réservé du numéro de diapositive 4"/>
          <p:cNvSpPr>
            <a:spLocks noGrp="1"/>
          </p:cNvSpPr>
          <p:nvPr>
            <p:ph type="sldNum" sz="quarter" idx="12"/>
          </p:nvPr>
        </p:nvSpPr>
        <p:spPr bwMode="auto"/>
        <p:txBody>
          <a:bodyPr/>
          <a:lstStyle/>
          <a:p>
            <a:pPr>
              <a:defRPr/>
            </a:pPr>
            <a:fld id="{54E9A060-BB2C-9D41-B263-FE666F464037}" type="slidenum">
              <a:rPr lang="fr-FR"/>
              <a:t>‹#›</a:t>
            </a:fld>
            <a:endParaRPr lang="fr-FR"/>
          </a:p>
        </p:txBody>
      </p:sp>
      <p:pic>
        <p:nvPicPr>
          <p:cNvPr id="702774674" name="Image 5" descr="An image containing Font, Graphic, Logo, Graphic Design&#10;&#10;Auto-generated description"/>
          <p:cNvPicPr>
            <a:picLocks noChangeAspect="1"/>
          </p:cNvPicPr>
          <p:nvPr userDrawn="1"/>
        </p:nvPicPr>
        <p:blipFill>
          <a:blip r:embed="rId4"/>
          <a:stretch/>
        </p:blipFill>
        <p:spPr bwMode="auto">
          <a:xfrm>
            <a:off x="5099685" y="6243758"/>
            <a:ext cx="1992630" cy="5018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57235789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twoObj" preserve="1" userDrawn="1">
  <p:cSld name="Deux contenus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pSp>
        <p:nvGrpSpPr>
          <p:cNvPr id="1683494988" name="Groupe 8"/>
          <p:cNvGrpSpPr/>
          <p:nvPr userDrawn="1"/>
        </p:nvGrpSpPr>
        <p:grpSpPr bwMode="auto">
          <a:xfrm>
            <a:off x="-95255" y="-1136968"/>
            <a:ext cx="2937510" cy="8985064"/>
            <a:chOff x="-95255" y="-1136968"/>
            <a:chExt cx="2937510" cy="8985064"/>
          </a:xfrm>
        </p:grpSpPr>
        <p:pic>
          <p:nvPicPr>
            <p:cNvPr id="10" name="Image 9" descr="An image containing Rectangle, Screenshot, Line, Colored Character&#10;&#10;Auto-generated description"/>
            <p:cNvPicPr>
              <a:picLocks noChangeAspect="1"/>
            </p:cNvPicPr>
            <p:nvPr userDrawn="1"/>
          </p:nvPicPr>
          <p:blipFill>
            <a:blip r:embed="rId2"/>
            <a:stretch/>
          </p:blipFill>
          <p:spPr bwMode="auto">
            <a:xfrm rot="5400000">
              <a:off x="-1018800" y="6112641"/>
              <a:ext cx="2750820" cy="720090"/>
            </a:xfrm>
            <a:prstGeom prst="rect">
              <a:avLst/>
            </a:prstGeom>
          </p:spPr>
        </p:pic>
        <p:pic>
          <p:nvPicPr>
            <p:cNvPr id="11" name="Image 10" descr="An image containing Rectangle, Screenshot, Line, Colored Character&#10;&#10;Auto-generated description"/>
            <p:cNvPicPr>
              <a:picLocks noChangeAspect="1"/>
            </p:cNvPicPr>
            <p:nvPr userDrawn="1"/>
          </p:nvPicPr>
          <p:blipFill>
            <a:blip r:embed="rId2"/>
            <a:stretch/>
          </p:blipFill>
          <p:spPr bwMode="auto">
            <a:xfrm rot="5400000">
              <a:off x="-1018800" y="3504882"/>
              <a:ext cx="2750820" cy="720090"/>
            </a:xfrm>
            <a:prstGeom prst="rect">
              <a:avLst/>
            </a:prstGeom>
          </p:spPr>
        </p:pic>
        <p:pic>
          <p:nvPicPr>
            <p:cNvPr id="12" name="Image 11" descr="An image containing screenshot, graphic, graphics, design&#10;&#10;Auto-generated description"/>
            <p:cNvPicPr>
              <a:picLocks noChangeAspect="1"/>
            </p:cNvPicPr>
            <p:nvPr userDrawn="1"/>
          </p:nvPicPr>
          <p:blipFill>
            <a:blip r:embed="rId3"/>
            <a:stretch/>
          </p:blipFill>
          <p:spPr bwMode="auto">
            <a:xfrm rot="5400000">
              <a:off x="-444505" y="-787718"/>
              <a:ext cx="3636010" cy="2937510"/>
            </a:xfrm>
            <a:prstGeom prst="rect">
              <a:avLst/>
            </a:prstGeom>
          </p:spPr>
        </p:pic>
      </p:grpSp>
      <p:sp>
        <p:nvSpPr>
          <p:cNvPr id="2075673288" name="Titre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 lang="en"/>
              <a:t>Change the style of the title</a:t>
            </a:r>
            <a:endParaRPr/>
          </a:p>
        </p:txBody>
      </p:sp>
      <p:sp>
        <p:nvSpPr>
          <p:cNvPr id="1002185262" name="Espace réservé du contenu 2"/>
          <p:cNvSpPr>
            <a:spLocks noGrp="1"/>
          </p:cNvSpPr>
          <p:nvPr>
            <p:ph sz="half" idx="1"/>
          </p:nvPr>
        </p:nvSpPr>
        <p:spPr bwMode="auto">
          <a:xfrm>
            <a:off x="838200" y="1825625"/>
            <a:ext cx="5181600" cy="4351338"/>
          </a:xfrm>
        </p:spPr>
        <p:txBody>
          <a:bodyPr/>
          <a:lstStyle/>
          <a:p>
            <a:pPr lvl="0">
              <a:defRPr/>
            </a:pPr>
            <a:r>
              <a:rPr lang="en"/>
              <a:t>Click to change the styles of the mask text</a:t>
            </a:r>
            <a:endParaRPr/>
          </a:p>
          <a:p>
            <a:pPr lvl="1">
              <a:defRPr/>
            </a:pPr>
            <a:r>
              <a:rPr lang="en"/>
              <a:t>Second level</a:t>
            </a:r>
            <a:endParaRPr/>
          </a:p>
          <a:p>
            <a:pPr lvl="2">
              <a:defRPr/>
            </a:pPr>
            <a:r>
              <a:rPr lang="en"/>
              <a:t>Third level</a:t>
            </a:r>
            <a:endParaRPr/>
          </a:p>
          <a:p>
            <a:pPr lvl="3">
              <a:defRPr/>
            </a:pPr>
            <a:r>
              <a:rPr lang="en"/>
              <a:t>Fourth level</a:t>
            </a:r>
            <a:endParaRPr/>
          </a:p>
          <a:p>
            <a:pPr lvl="4">
              <a:defRPr/>
            </a:pPr>
            <a:r>
              <a:rPr lang="en"/>
              <a:t>Fifth Level</a:t>
            </a:r>
            <a:endParaRPr/>
          </a:p>
        </p:txBody>
      </p:sp>
      <p:sp>
        <p:nvSpPr>
          <p:cNvPr id="1102596412" name="Espace réservé du contenu 3"/>
          <p:cNvSpPr>
            <a:spLocks noGrp="1"/>
          </p:cNvSpPr>
          <p:nvPr>
            <p:ph sz="half" idx="2"/>
          </p:nvPr>
        </p:nvSpPr>
        <p:spPr bwMode="auto">
          <a:xfrm>
            <a:off x="6172200" y="1825625"/>
            <a:ext cx="5181600" cy="4351338"/>
          </a:xfrm>
        </p:spPr>
        <p:txBody>
          <a:bodyPr/>
          <a:lstStyle/>
          <a:p>
            <a:pPr lvl="0">
              <a:defRPr/>
            </a:pPr>
            <a:r>
              <a:rPr lang="en"/>
              <a:t>Click to change the styles of the mask text</a:t>
            </a:r>
            <a:endParaRPr/>
          </a:p>
          <a:p>
            <a:pPr lvl="1">
              <a:defRPr/>
            </a:pPr>
            <a:r>
              <a:rPr lang="en"/>
              <a:t>Second level</a:t>
            </a:r>
            <a:endParaRPr/>
          </a:p>
          <a:p>
            <a:pPr lvl="2">
              <a:defRPr/>
            </a:pPr>
            <a:r>
              <a:rPr lang="en"/>
              <a:t>Third level</a:t>
            </a:r>
            <a:endParaRPr/>
          </a:p>
          <a:p>
            <a:pPr lvl="3">
              <a:defRPr/>
            </a:pPr>
            <a:r>
              <a:rPr lang="en"/>
              <a:t>Fourth level</a:t>
            </a:r>
            <a:endParaRPr/>
          </a:p>
          <a:p>
            <a:pPr lvl="4">
              <a:defRPr/>
            </a:pPr>
            <a:r>
              <a:rPr lang="en"/>
              <a:t>Fifth Level</a:t>
            </a:r>
            <a:endParaRPr/>
          </a:p>
        </p:txBody>
      </p:sp>
      <p:sp>
        <p:nvSpPr>
          <p:cNvPr id="955152062" name="Espace réservé de la date 4"/>
          <p:cNvSpPr>
            <a:spLocks noGrp="1"/>
          </p:cNvSpPr>
          <p:nvPr>
            <p:ph type="dt" sz="half" idx="10"/>
          </p:nvPr>
        </p:nvSpPr>
        <p:spPr bwMode="auto"/>
        <p:txBody>
          <a:bodyPr/>
          <a:lstStyle/>
          <a:p>
            <a:pPr>
              <a:defRPr/>
            </a:pPr>
            <a:fld id="{6A65543E-75B9-484F-BE71-23411CEBAC7E}" type="datetimeFigureOut">
              <a:rPr lang="fr-FR"/>
              <a:t>26/05/2026</a:t>
            </a:fld>
            <a:endParaRPr lang="fr-FR"/>
          </a:p>
        </p:txBody>
      </p:sp>
      <p:sp>
        <p:nvSpPr>
          <p:cNvPr id="775677909" name="Espace réservé du numéro de diapositive 6"/>
          <p:cNvSpPr>
            <a:spLocks noGrp="1"/>
          </p:cNvSpPr>
          <p:nvPr>
            <p:ph type="sldNum" sz="quarter" idx="12"/>
          </p:nvPr>
        </p:nvSpPr>
        <p:spPr bwMode="auto"/>
        <p:txBody>
          <a:bodyPr/>
          <a:lstStyle/>
          <a:p>
            <a:pPr>
              <a:defRPr/>
            </a:pPr>
            <a:fld id="{54E9A060-BB2C-9D41-B263-FE666F464037}" type="slidenum">
              <a:rPr lang="fr-FR"/>
              <a:t>‹#›</a:t>
            </a:fld>
            <a:endParaRPr lang="fr-FR"/>
          </a:p>
        </p:txBody>
      </p:sp>
      <p:pic>
        <p:nvPicPr>
          <p:cNvPr id="1332254008" name="Image 7" descr="An image containing Font, Graphic, Logo, Graphic Design&#10;&#10;Auto-generated description"/>
          <p:cNvPicPr>
            <a:picLocks noChangeAspect="1"/>
          </p:cNvPicPr>
          <p:nvPr userDrawn="1"/>
        </p:nvPicPr>
        <p:blipFill>
          <a:blip r:embed="rId4"/>
          <a:stretch/>
        </p:blipFill>
        <p:spPr bwMode="auto">
          <a:xfrm>
            <a:off x="5099685" y="6243758"/>
            <a:ext cx="1992630" cy="5018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48634564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twoTxTwoObj" preserve="1" userDrawn="1">
  <p:cSld name="Comparaison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pSp>
        <p:nvGrpSpPr>
          <p:cNvPr id="1350127696" name="Groupe 10"/>
          <p:cNvGrpSpPr/>
          <p:nvPr userDrawn="1"/>
        </p:nvGrpSpPr>
        <p:grpSpPr bwMode="auto">
          <a:xfrm>
            <a:off x="-95255" y="-1136968"/>
            <a:ext cx="2937510" cy="8985064"/>
            <a:chOff x="-95255" y="-1136968"/>
            <a:chExt cx="2937510" cy="8985064"/>
          </a:xfrm>
        </p:grpSpPr>
        <p:pic>
          <p:nvPicPr>
            <p:cNvPr id="12" name="Image 11" descr="An image containing Rectangle, Screenshot, Line, Colored Character&#10;&#10;Auto-generated description"/>
            <p:cNvPicPr>
              <a:picLocks noChangeAspect="1"/>
            </p:cNvPicPr>
            <p:nvPr userDrawn="1"/>
          </p:nvPicPr>
          <p:blipFill>
            <a:blip r:embed="rId2"/>
            <a:stretch/>
          </p:blipFill>
          <p:spPr bwMode="auto">
            <a:xfrm rot="5400000">
              <a:off x="-1018800" y="6112641"/>
              <a:ext cx="2750820" cy="720090"/>
            </a:xfrm>
            <a:prstGeom prst="rect">
              <a:avLst/>
            </a:prstGeom>
          </p:spPr>
        </p:pic>
        <p:pic>
          <p:nvPicPr>
            <p:cNvPr id="13" name="Image 12" descr="An image containing Rectangle, Screenshot, Line, Colored Character&#10;&#10;Auto-generated description"/>
            <p:cNvPicPr>
              <a:picLocks noChangeAspect="1"/>
            </p:cNvPicPr>
            <p:nvPr userDrawn="1"/>
          </p:nvPicPr>
          <p:blipFill>
            <a:blip r:embed="rId2"/>
            <a:stretch/>
          </p:blipFill>
          <p:spPr bwMode="auto">
            <a:xfrm rot="5400000">
              <a:off x="-1018800" y="3504882"/>
              <a:ext cx="2750820" cy="720090"/>
            </a:xfrm>
            <a:prstGeom prst="rect">
              <a:avLst/>
            </a:prstGeom>
          </p:spPr>
        </p:pic>
        <p:pic>
          <p:nvPicPr>
            <p:cNvPr id="14" name="Image 13" descr="An image containing screenshot, graphic, graphics, design&#10;&#10;Auto-generated description"/>
            <p:cNvPicPr>
              <a:picLocks noChangeAspect="1"/>
            </p:cNvPicPr>
            <p:nvPr userDrawn="1"/>
          </p:nvPicPr>
          <p:blipFill>
            <a:blip r:embed="rId3"/>
            <a:stretch/>
          </p:blipFill>
          <p:spPr bwMode="auto">
            <a:xfrm rot="5400000">
              <a:off x="-444505" y="-787718"/>
              <a:ext cx="3636010" cy="2937510"/>
            </a:xfrm>
            <a:prstGeom prst="rect">
              <a:avLst/>
            </a:prstGeom>
          </p:spPr>
        </p:pic>
      </p:grpSp>
      <p:sp>
        <p:nvSpPr>
          <p:cNvPr id="288375073" name="Titre 1"/>
          <p:cNvSpPr>
            <a:spLocks noGrp="1"/>
          </p:cNvSpPr>
          <p:nvPr>
            <p:ph type="title"/>
          </p:nvPr>
        </p:nvSpPr>
        <p:spPr bwMode="auto">
          <a:xfrm>
            <a:off x="839788" y="365125"/>
            <a:ext cx="10515600" cy="1325563"/>
          </a:xfrm>
        </p:spPr>
        <p:txBody>
          <a:bodyPr/>
          <a:lstStyle/>
          <a:p>
            <a:pPr>
              <a:defRPr/>
            </a:pPr>
            <a:r>
              <a:rPr lang="en"/>
              <a:t>Change the style of the title</a:t>
            </a:r>
            <a:endParaRPr/>
          </a:p>
        </p:txBody>
      </p:sp>
      <p:sp>
        <p:nvSpPr>
          <p:cNvPr id="920257657" name="Espace réservé du texte 2"/>
          <p:cNvSpPr>
            <a:spLocks noGrp="1"/>
          </p:cNvSpPr>
          <p:nvPr>
            <p:ph type="body" idx="1"/>
          </p:nvPr>
        </p:nvSpPr>
        <p:spPr bwMode="auto"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 i="0">
                <a:latin typeface="Futura PT Demi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>
              <a:defRPr/>
            </a:pPr>
            <a:r>
              <a:rPr lang="en"/>
              <a:t>Click to change the styles of the mask text</a:t>
            </a:r>
            <a:endParaRPr/>
          </a:p>
        </p:txBody>
      </p:sp>
      <p:sp>
        <p:nvSpPr>
          <p:cNvPr id="1235088633" name="Espace réservé du contenu 3"/>
          <p:cNvSpPr>
            <a:spLocks noGrp="1"/>
          </p:cNvSpPr>
          <p:nvPr>
            <p:ph sz="half" idx="2"/>
          </p:nvPr>
        </p:nvSpPr>
        <p:spPr bwMode="auto">
          <a:xfrm>
            <a:off x="839788" y="2505074"/>
            <a:ext cx="5157787" cy="3684588"/>
          </a:xfrm>
        </p:spPr>
        <p:txBody>
          <a:bodyPr/>
          <a:lstStyle/>
          <a:p>
            <a:pPr lvl="0">
              <a:defRPr/>
            </a:pPr>
            <a:r>
              <a:rPr lang="en"/>
              <a:t>Click to change the styles of the mask text</a:t>
            </a:r>
            <a:endParaRPr/>
          </a:p>
          <a:p>
            <a:pPr lvl="1">
              <a:defRPr/>
            </a:pPr>
            <a:r>
              <a:rPr lang="en"/>
              <a:t>Second level</a:t>
            </a:r>
            <a:endParaRPr/>
          </a:p>
          <a:p>
            <a:pPr lvl="2">
              <a:defRPr/>
            </a:pPr>
            <a:r>
              <a:rPr lang="en"/>
              <a:t>Third level</a:t>
            </a:r>
            <a:endParaRPr/>
          </a:p>
          <a:p>
            <a:pPr lvl="3">
              <a:defRPr/>
            </a:pPr>
            <a:r>
              <a:rPr lang="en"/>
              <a:t>Fourth level</a:t>
            </a:r>
            <a:endParaRPr/>
          </a:p>
          <a:p>
            <a:pPr lvl="4">
              <a:defRPr/>
            </a:pPr>
            <a:r>
              <a:rPr lang="en"/>
              <a:t>Fifth Level</a:t>
            </a:r>
            <a:endParaRPr/>
          </a:p>
        </p:txBody>
      </p:sp>
      <p:sp>
        <p:nvSpPr>
          <p:cNvPr id="2120125379" name="Espace réservé du texte 4"/>
          <p:cNvSpPr>
            <a:spLocks noGrp="1"/>
          </p:cNvSpPr>
          <p:nvPr>
            <p:ph type="body" sz="quarter" idx="3"/>
          </p:nvPr>
        </p:nvSpPr>
        <p:spPr bwMode="auto"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 i="0">
                <a:latin typeface="Futura PT Demi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>
              <a:defRPr/>
            </a:pPr>
            <a:r>
              <a:rPr lang="en"/>
              <a:t>Click to change the styles of the mask text</a:t>
            </a:r>
            <a:endParaRPr/>
          </a:p>
        </p:txBody>
      </p:sp>
      <p:sp>
        <p:nvSpPr>
          <p:cNvPr id="692260129" name="Espace réservé du contenu 5"/>
          <p:cNvSpPr>
            <a:spLocks noGrp="1"/>
          </p:cNvSpPr>
          <p:nvPr>
            <p:ph sz="quarter" idx="4"/>
          </p:nvPr>
        </p:nvSpPr>
        <p:spPr bwMode="auto">
          <a:xfrm>
            <a:off x="6172200" y="2505074"/>
            <a:ext cx="5183188" cy="3684588"/>
          </a:xfrm>
        </p:spPr>
        <p:txBody>
          <a:bodyPr/>
          <a:lstStyle/>
          <a:p>
            <a:pPr lvl="0">
              <a:defRPr/>
            </a:pPr>
            <a:r>
              <a:rPr lang="en"/>
              <a:t>Click to change the styles of the mask text</a:t>
            </a:r>
            <a:endParaRPr/>
          </a:p>
          <a:p>
            <a:pPr lvl="1">
              <a:defRPr/>
            </a:pPr>
            <a:r>
              <a:rPr lang="en"/>
              <a:t>Second level</a:t>
            </a:r>
            <a:endParaRPr/>
          </a:p>
          <a:p>
            <a:pPr lvl="2">
              <a:defRPr/>
            </a:pPr>
            <a:r>
              <a:rPr lang="en"/>
              <a:t>Third level</a:t>
            </a:r>
            <a:endParaRPr/>
          </a:p>
          <a:p>
            <a:pPr lvl="3">
              <a:defRPr/>
            </a:pPr>
            <a:r>
              <a:rPr lang="en"/>
              <a:t>Fourth level</a:t>
            </a:r>
            <a:endParaRPr/>
          </a:p>
          <a:p>
            <a:pPr lvl="4">
              <a:defRPr/>
            </a:pPr>
            <a:r>
              <a:rPr lang="en"/>
              <a:t>Fifth Level</a:t>
            </a:r>
            <a:endParaRPr/>
          </a:p>
        </p:txBody>
      </p:sp>
      <p:sp>
        <p:nvSpPr>
          <p:cNvPr id="1738780180" name="Espace réservé de la date 6"/>
          <p:cNvSpPr>
            <a:spLocks noGrp="1"/>
          </p:cNvSpPr>
          <p:nvPr>
            <p:ph type="dt" sz="half" idx="10"/>
          </p:nvPr>
        </p:nvSpPr>
        <p:spPr bwMode="auto"/>
        <p:txBody>
          <a:bodyPr/>
          <a:lstStyle/>
          <a:p>
            <a:pPr>
              <a:defRPr/>
            </a:pPr>
            <a:fld id="{6A65543E-75B9-484F-BE71-23411CEBAC7E}" type="datetimeFigureOut">
              <a:rPr lang="fr-FR"/>
              <a:t>26/05/2026</a:t>
            </a:fld>
            <a:endParaRPr lang="fr-FR"/>
          </a:p>
        </p:txBody>
      </p:sp>
      <p:sp>
        <p:nvSpPr>
          <p:cNvPr id="1972358087" name="Espace réservé du numéro de diapositive 8"/>
          <p:cNvSpPr>
            <a:spLocks noGrp="1"/>
          </p:cNvSpPr>
          <p:nvPr>
            <p:ph type="sldNum" sz="quarter" idx="12"/>
          </p:nvPr>
        </p:nvSpPr>
        <p:spPr bwMode="auto"/>
        <p:txBody>
          <a:bodyPr/>
          <a:lstStyle/>
          <a:p>
            <a:pPr>
              <a:defRPr/>
            </a:pPr>
            <a:fld id="{54E9A060-BB2C-9D41-B263-FE666F464037}" type="slidenum">
              <a:rPr lang="fr-FR"/>
              <a:t>‹#›</a:t>
            </a:fld>
            <a:endParaRPr lang="fr-FR"/>
          </a:p>
        </p:txBody>
      </p:sp>
      <p:pic>
        <p:nvPicPr>
          <p:cNvPr id="1395834544" name="Image 9" descr="An image containing Font, Graphic, Logo, Graphic Design&#10;&#10;Auto-generated description"/>
          <p:cNvPicPr>
            <a:picLocks noChangeAspect="1"/>
          </p:cNvPicPr>
          <p:nvPr userDrawn="1"/>
        </p:nvPicPr>
        <p:blipFill>
          <a:blip r:embed="rId4"/>
          <a:stretch/>
        </p:blipFill>
        <p:spPr bwMode="auto">
          <a:xfrm>
            <a:off x="5099685" y="6243758"/>
            <a:ext cx="1992630" cy="5018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01348497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secHead" preserve="1" userDrawn="1">
  <p:cSld name="Titre de section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pSp>
        <p:nvGrpSpPr>
          <p:cNvPr id="1948897084" name="Groupe 7"/>
          <p:cNvGrpSpPr/>
          <p:nvPr userDrawn="1"/>
        </p:nvGrpSpPr>
        <p:grpSpPr bwMode="auto">
          <a:xfrm>
            <a:off x="-95255" y="-1136968"/>
            <a:ext cx="2937510" cy="8985064"/>
            <a:chOff x="-95255" y="-1136968"/>
            <a:chExt cx="2937510" cy="8985064"/>
          </a:xfrm>
        </p:grpSpPr>
        <p:pic>
          <p:nvPicPr>
            <p:cNvPr id="9" name="Image 8" descr="An image containing Rectangle, Screenshot, Line, Colored Character&#10;&#10;Auto-generated description"/>
            <p:cNvPicPr>
              <a:picLocks noChangeAspect="1"/>
            </p:cNvPicPr>
            <p:nvPr userDrawn="1"/>
          </p:nvPicPr>
          <p:blipFill>
            <a:blip r:embed="rId2"/>
            <a:stretch/>
          </p:blipFill>
          <p:spPr bwMode="auto">
            <a:xfrm rot="5400000">
              <a:off x="-1018800" y="6112641"/>
              <a:ext cx="2750820" cy="720090"/>
            </a:xfrm>
            <a:prstGeom prst="rect">
              <a:avLst/>
            </a:prstGeom>
          </p:spPr>
        </p:pic>
        <p:pic>
          <p:nvPicPr>
            <p:cNvPr id="10" name="Image 9" descr="An image containing Rectangle, Screenshot, Line, Colored Character&#10;&#10;Auto-generated description"/>
            <p:cNvPicPr>
              <a:picLocks noChangeAspect="1"/>
            </p:cNvPicPr>
            <p:nvPr userDrawn="1"/>
          </p:nvPicPr>
          <p:blipFill>
            <a:blip r:embed="rId2"/>
            <a:stretch/>
          </p:blipFill>
          <p:spPr bwMode="auto">
            <a:xfrm rot="5400000">
              <a:off x="-1018800" y="3504882"/>
              <a:ext cx="2750820" cy="720090"/>
            </a:xfrm>
            <a:prstGeom prst="rect">
              <a:avLst/>
            </a:prstGeom>
          </p:spPr>
        </p:pic>
        <p:pic>
          <p:nvPicPr>
            <p:cNvPr id="11" name="Image 10" descr="An image containing screenshot, graphic, graphics, design&#10;&#10;Auto-generated description"/>
            <p:cNvPicPr>
              <a:picLocks noChangeAspect="1"/>
            </p:cNvPicPr>
            <p:nvPr userDrawn="1"/>
          </p:nvPicPr>
          <p:blipFill>
            <a:blip r:embed="rId3"/>
            <a:stretch/>
          </p:blipFill>
          <p:spPr bwMode="auto">
            <a:xfrm rot="5400000">
              <a:off x="-444505" y="-787718"/>
              <a:ext cx="3636010" cy="2937510"/>
            </a:xfrm>
            <a:prstGeom prst="rect">
              <a:avLst/>
            </a:prstGeom>
          </p:spPr>
        </p:pic>
      </p:grpSp>
      <p:sp>
        <p:nvSpPr>
          <p:cNvPr id="823099113" name="Titre 1"/>
          <p:cNvSpPr>
            <a:spLocks noGrp="1"/>
          </p:cNvSpPr>
          <p:nvPr>
            <p:ph type="title"/>
          </p:nvPr>
        </p:nvSpPr>
        <p:spPr bwMode="auto"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pPr>
              <a:defRPr/>
            </a:pPr>
            <a:r>
              <a:rPr lang="en"/>
              <a:t>Change the style of the title</a:t>
            </a:r>
            <a:endParaRPr/>
          </a:p>
        </p:txBody>
      </p:sp>
      <p:sp>
        <p:nvSpPr>
          <p:cNvPr id="469128293" name="Espace réservé du texte 2"/>
          <p:cNvSpPr>
            <a:spLocks noGrp="1"/>
          </p:cNvSpPr>
          <p:nvPr>
            <p:ph type="body" idx="1"/>
          </p:nvPr>
        </p:nvSpPr>
        <p:spPr bwMode="auto"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rgbClr val="064C68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>
              <a:defRPr/>
            </a:pPr>
            <a:r>
              <a:rPr lang="en"/>
              <a:t>Click to change the styles of the mask text</a:t>
            </a:r>
            <a:endParaRPr/>
          </a:p>
        </p:txBody>
      </p:sp>
      <p:sp>
        <p:nvSpPr>
          <p:cNvPr id="1439756505" name="Espace réservé de la date 3"/>
          <p:cNvSpPr>
            <a:spLocks noGrp="1"/>
          </p:cNvSpPr>
          <p:nvPr>
            <p:ph type="dt" sz="half" idx="10"/>
          </p:nvPr>
        </p:nvSpPr>
        <p:spPr bwMode="auto"/>
        <p:txBody>
          <a:bodyPr/>
          <a:lstStyle/>
          <a:p>
            <a:pPr>
              <a:defRPr/>
            </a:pPr>
            <a:fld id="{6A65543E-75B9-484F-BE71-23411CEBAC7E}" type="datetimeFigureOut">
              <a:rPr lang="fr-FR"/>
              <a:t>26/05/2026</a:t>
            </a:fld>
            <a:endParaRPr lang="fr-FR"/>
          </a:p>
        </p:txBody>
      </p:sp>
      <p:sp>
        <p:nvSpPr>
          <p:cNvPr id="935029039" name="Espace réservé du numéro de diapositive 5"/>
          <p:cNvSpPr>
            <a:spLocks noGrp="1"/>
          </p:cNvSpPr>
          <p:nvPr>
            <p:ph type="sldNum" sz="quarter" idx="12"/>
          </p:nvPr>
        </p:nvSpPr>
        <p:spPr bwMode="auto"/>
        <p:txBody>
          <a:bodyPr/>
          <a:lstStyle/>
          <a:p>
            <a:pPr>
              <a:defRPr/>
            </a:pPr>
            <a:fld id="{54E9A060-BB2C-9D41-B263-FE666F464037}" type="slidenum">
              <a:rPr lang="fr-FR"/>
              <a:t>‹#›</a:t>
            </a:fld>
            <a:endParaRPr lang="fr-FR"/>
          </a:p>
        </p:txBody>
      </p:sp>
      <p:pic>
        <p:nvPicPr>
          <p:cNvPr id="2046693850" name="Image 6" descr="An image containing Font, Graphic, Logo, Graphic Design&#10;&#10;Auto-generated description"/>
          <p:cNvPicPr>
            <a:picLocks noChangeAspect="1"/>
          </p:cNvPicPr>
          <p:nvPr userDrawn="1"/>
        </p:nvPicPr>
        <p:blipFill>
          <a:blip r:embed="rId4"/>
          <a:stretch/>
        </p:blipFill>
        <p:spPr bwMode="auto">
          <a:xfrm>
            <a:off x="5099685" y="6243758"/>
            <a:ext cx="1992630" cy="5018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6218709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9" name="Text Placeholder 128">
            <a:extLst>
              <a:ext uri="{FF2B5EF4-FFF2-40B4-BE49-F238E27FC236}">
                <a16:creationId xmlns:a16="http://schemas.microsoft.com/office/drawing/2014/main" id="{60A12CD6-1AE5-31AC-6CBD-D78E36BEC36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0" y="0"/>
            <a:ext cx="4615856" cy="6618150"/>
          </a:xfrm>
          <a:custGeom>
            <a:avLst/>
            <a:gdLst>
              <a:gd name="connsiteX0" fmla="*/ 1344078 w 4615856"/>
              <a:gd name="connsiteY0" fmla="*/ 0 h 6618150"/>
              <a:gd name="connsiteX1" fmla="*/ 4615856 w 4615856"/>
              <a:gd name="connsiteY1" fmla="*/ 0 h 6618150"/>
              <a:gd name="connsiteX2" fmla="*/ 4610309 w 4615856"/>
              <a:gd name="connsiteY2" fmla="*/ 1392694 h 6618150"/>
              <a:gd name="connsiteX3" fmla="*/ 4040106 w 4615856"/>
              <a:gd name="connsiteY3" fmla="*/ 2725675 h 6618150"/>
              <a:gd name="connsiteX4" fmla="*/ 0 w 4615856"/>
              <a:gd name="connsiteY4" fmla="*/ 6618150 h 6618150"/>
              <a:gd name="connsiteX5" fmla="*/ 0 w 4615856"/>
              <a:gd name="connsiteY5" fmla="*/ 1291480 h 66181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615856" h="6618150">
                <a:moveTo>
                  <a:pt x="1344078" y="0"/>
                </a:moveTo>
                <a:lnTo>
                  <a:pt x="4615856" y="0"/>
                </a:lnTo>
                <a:lnTo>
                  <a:pt x="4610309" y="1392694"/>
                </a:lnTo>
                <a:cubicBezTo>
                  <a:pt x="4610309" y="1827572"/>
                  <a:pt x="4353024" y="2423997"/>
                  <a:pt x="4040106" y="2725675"/>
                </a:cubicBezTo>
                <a:lnTo>
                  <a:pt x="0" y="6618150"/>
                </a:lnTo>
                <a:lnTo>
                  <a:pt x="0" y="1291480"/>
                </a:lnTo>
                <a:close/>
              </a:path>
            </a:pathLst>
          </a:custGeom>
          <a:solidFill>
            <a:srgbClr val="E9473D">
              <a:alpha val="40000"/>
            </a:srgbClr>
          </a:solidFill>
        </p:spPr>
        <p:txBody>
          <a:bodyPr wrap="square" anchor="ctr">
            <a:noAutofit/>
          </a:bodyPr>
          <a:lstStyle>
            <a:lvl1pPr algn="ctr">
              <a:defRPr sz="100">
                <a:solidFill>
                  <a:srgbClr val="E9473D">
                    <a:alpha val="0"/>
                  </a:srgbClr>
                </a:solidFill>
              </a:defRPr>
            </a:lvl1pPr>
          </a:lstStyle>
          <a:p>
            <a:pPr lvl="0"/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703AE73-0813-1AD7-3E72-C71BFF01092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DB84476-BC29-4407-9D57-B2E562B8968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30" name="Text Placeholder 129">
            <a:extLst>
              <a:ext uri="{FF2B5EF4-FFF2-40B4-BE49-F238E27FC236}">
                <a16:creationId xmlns:a16="http://schemas.microsoft.com/office/drawing/2014/main" id="{F96BB9A3-8C09-67E4-18D2-E9474749C7D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0" y="0"/>
            <a:ext cx="1561486" cy="2741836"/>
          </a:xfrm>
          <a:custGeom>
            <a:avLst/>
            <a:gdLst>
              <a:gd name="connsiteX0" fmla="*/ 971743 w 1561486"/>
              <a:gd name="connsiteY0" fmla="*/ 0 h 2741836"/>
              <a:gd name="connsiteX1" fmla="*/ 1561486 w 1561486"/>
              <a:gd name="connsiteY1" fmla="*/ 0 h 2741836"/>
              <a:gd name="connsiteX2" fmla="*/ 1561486 w 1561486"/>
              <a:gd name="connsiteY2" fmla="*/ 974513 h 2741836"/>
              <a:gd name="connsiteX3" fmla="*/ 1369018 w 1561486"/>
              <a:gd name="connsiteY3" fmla="*/ 1426392 h 2741836"/>
              <a:gd name="connsiteX4" fmla="*/ 0 w 1561486"/>
              <a:gd name="connsiteY4" fmla="*/ 2741836 h 2741836"/>
              <a:gd name="connsiteX5" fmla="*/ 0 w 1561486"/>
              <a:gd name="connsiteY5" fmla="*/ 936234 h 27418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561486" h="2741836">
                <a:moveTo>
                  <a:pt x="971743" y="0"/>
                </a:moveTo>
                <a:lnTo>
                  <a:pt x="1561486" y="0"/>
                </a:lnTo>
                <a:lnTo>
                  <a:pt x="1561486" y="974513"/>
                </a:lnTo>
                <a:cubicBezTo>
                  <a:pt x="1561486" y="1121998"/>
                  <a:pt x="1475318" y="1324260"/>
                  <a:pt x="1369018" y="1426392"/>
                </a:cubicBezTo>
                <a:lnTo>
                  <a:pt x="0" y="2741836"/>
                </a:lnTo>
                <a:lnTo>
                  <a:pt x="0" y="936234"/>
                </a:lnTo>
                <a:close/>
              </a:path>
            </a:pathLst>
          </a:custGeom>
          <a:solidFill>
            <a:schemeClr val="accent4">
              <a:alpha val="40000"/>
            </a:schemeClr>
          </a:solidFill>
        </p:spPr>
        <p:txBody>
          <a:bodyPr wrap="square" anchor="ctr">
            <a:noAutofit/>
          </a:bodyPr>
          <a:lstStyle>
            <a:lvl1pPr algn="ctr">
              <a:defRPr sz="100">
                <a:solidFill>
                  <a:schemeClr val="accent4">
                    <a:alpha val="0"/>
                  </a:schemeClr>
                </a:solidFill>
              </a:defRPr>
            </a:lvl1pPr>
          </a:lstStyle>
          <a:p>
            <a:pPr lvl="0"/>
            <a:endParaRPr lang="en-GB"/>
          </a:p>
        </p:txBody>
      </p:sp>
      <p:sp>
        <p:nvSpPr>
          <p:cNvPr id="131" name="Text Placeholder 130">
            <a:extLst>
              <a:ext uri="{FF2B5EF4-FFF2-40B4-BE49-F238E27FC236}">
                <a16:creationId xmlns:a16="http://schemas.microsoft.com/office/drawing/2014/main" id="{E8EC4792-EFE6-C3F8-AAB0-E0DF3A411AC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7723743" y="451475"/>
            <a:ext cx="4468257" cy="6406525"/>
          </a:xfrm>
          <a:custGeom>
            <a:avLst/>
            <a:gdLst>
              <a:gd name="connsiteX0" fmla="*/ 3647728 w 3647728"/>
              <a:gd name="connsiteY0" fmla="*/ 0 h 5230062"/>
              <a:gd name="connsiteX1" fmla="*/ 3647728 w 3647728"/>
              <a:gd name="connsiteY1" fmla="*/ 4209457 h 5230062"/>
              <a:gd name="connsiteX2" fmla="*/ 2585556 w 3647728"/>
              <a:gd name="connsiteY2" fmla="*/ 5230062 h 5230062"/>
              <a:gd name="connsiteX3" fmla="*/ 0 w 3647728"/>
              <a:gd name="connsiteY3" fmla="*/ 5230062 h 5230062"/>
              <a:gd name="connsiteX4" fmla="*/ 4384 w 3647728"/>
              <a:gd name="connsiteY4" fmla="*/ 4129471 h 5230062"/>
              <a:gd name="connsiteX5" fmla="*/ 454992 w 3647728"/>
              <a:gd name="connsiteY5" fmla="*/ 3076069 h 52300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647728" h="5230062">
                <a:moveTo>
                  <a:pt x="3647728" y="0"/>
                </a:moveTo>
                <a:lnTo>
                  <a:pt x="3647728" y="4209457"/>
                </a:lnTo>
                <a:lnTo>
                  <a:pt x="2585556" y="5230062"/>
                </a:lnTo>
                <a:lnTo>
                  <a:pt x="0" y="5230062"/>
                </a:lnTo>
                <a:lnTo>
                  <a:pt x="4384" y="4129471"/>
                </a:lnTo>
                <a:cubicBezTo>
                  <a:pt x="4384" y="3785804"/>
                  <a:pt x="207706" y="3314473"/>
                  <a:pt x="454992" y="3076069"/>
                </a:cubicBezTo>
                <a:close/>
              </a:path>
            </a:pathLst>
          </a:custGeom>
          <a:solidFill>
            <a:schemeClr val="accent6">
              <a:alpha val="10000"/>
            </a:schemeClr>
          </a:solidFill>
        </p:spPr>
        <p:txBody>
          <a:bodyPr wrap="square" anchor="ctr">
            <a:noAutofit/>
          </a:bodyPr>
          <a:lstStyle>
            <a:lvl1pPr algn="ctr">
              <a:defRPr sz="100">
                <a:solidFill>
                  <a:schemeClr val="accent2">
                    <a:alpha val="0"/>
                  </a:schemeClr>
                </a:solidFill>
              </a:defRPr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endParaRPr lang="en-GB"/>
          </a:p>
        </p:txBody>
      </p:sp>
      <p:sp>
        <p:nvSpPr>
          <p:cNvPr id="127" name="Text Placeholder 16">
            <a:extLst>
              <a:ext uri="{FF2B5EF4-FFF2-40B4-BE49-F238E27FC236}">
                <a16:creationId xmlns:a16="http://schemas.microsoft.com/office/drawing/2014/main" id="{DF36CEAF-0A9E-1D9A-28DA-EB9C2D87E0D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118832" y="1764973"/>
            <a:ext cx="6449281" cy="447231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28" name="Title 6">
            <a:extLst>
              <a:ext uri="{FF2B5EF4-FFF2-40B4-BE49-F238E27FC236}">
                <a16:creationId xmlns:a16="http://schemas.microsoft.com/office/drawing/2014/main" id="{D564B358-2F1B-8D24-C7D9-4DFE56712EE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19267" y="332657"/>
            <a:ext cx="6448846" cy="126248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26" name="Picture Placeholder 25">
            <a:extLst>
              <a:ext uri="{FF2B5EF4-FFF2-40B4-BE49-F238E27FC236}">
                <a16:creationId xmlns:a16="http://schemas.microsoft.com/office/drawing/2014/main" id="{A93F567A-D2B4-8E05-AC49-6EFEFF7B1B60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" y="-2259"/>
            <a:ext cx="2943041" cy="4906132"/>
          </a:xfrm>
          <a:custGeom>
            <a:avLst/>
            <a:gdLst>
              <a:gd name="connsiteX0" fmla="*/ 2838364 w 2943041"/>
              <a:gd name="connsiteY0" fmla="*/ 31 h 4906132"/>
              <a:gd name="connsiteX1" fmla="*/ 2943041 w 2943041"/>
              <a:gd name="connsiteY1" fmla="*/ 172609 h 4906132"/>
              <a:gd name="connsiteX2" fmla="*/ 2943041 w 2943041"/>
              <a:gd name="connsiteY2" fmla="*/ 1748488 h 4906132"/>
              <a:gd name="connsiteX3" fmla="*/ 2705270 w 2943041"/>
              <a:gd name="connsiteY3" fmla="*/ 2306727 h 4906132"/>
              <a:gd name="connsiteX4" fmla="*/ 0 w 2943041"/>
              <a:gd name="connsiteY4" fmla="*/ 4906132 h 4906132"/>
              <a:gd name="connsiteX5" fmla="*/ 0 w 2943041"/>
              <a:gd name="connsiteY5" fmla="*/ 2678164 h 4906132"/>
              <a:gd name="connsiteX6" fmla="*/ 2705493 w 2943041"/>
              <a:gd name="connsiteY6" fmla="*/ 71535 h 4906132"/>
              <a:gd name="connsiteX7" fmla="*/ 2838364 w 2943041"/>
              <a:gd name="connsiteY7" fmla="*/ 31 h 49061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943041" h="4906132">
                <a:moveTo>
                  <a:pt x="2838364" y="31"/>
                </a:moveTo>
                <a:cubicBezTo>
                  <a:pt x="2901546" y="-1562"/>
                  <a:pt x="2943041" y="58735"/>
                  <a:pt x="2943041" y="172609"/>
                </a:cubicBezTo>
                <a:lnTo>
                  <a:pt x="2943041" y="1748488"/>
                </a:lnTo>
                <a:cubicBezTo>
                  <a:pt x="2943041" y="1930687"/>
                  <a:pt x="2836590" y="2180556"/>
                  <a:pt x="2705270" y="2306727"/>
                </a:cubicBezTo>
                <a:lnTo>
                  <a:pt x="0" y="4906132"/>
                </a:lnTo>
                <a:lnTo>
                  <a:pt x="0" y="2678164"/>
                </a:lnTo>
                <a:lnTo>
                  <a:pt x="2705493" y="71535"/>
                </a:lnTo>
                <a:cubicBezTo>
                  <a:pt x="2754738" y="24223"/>
                  <a:pt x="2800454" y="987"/>
                  <a:pt x="2838364" y="31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</p:spPr>
        <p:txBody>
          <a:bodyPr wrap="square" anchor="ctr">
            <a:noAutofit/>
          </a:bodyPr>
          <a:lstStyle>
            <a:lvl1pPr algn="ctr">
              <a:defRPr sz="1200" b="0"/>
            </a:lvl1pPr>
          </a:lstStyle>
          <a:p>
            <a:endParaRPr lang="en-GB"/>
          </a:p>
        </p:txBody>
      </p:sp>
      <p:sp>
        <p:nvSpPr>
          <p:cNvPr id="32" name="Picture Placeholder 31">
            <a:extLst>
              <a:ext uri="{FF2B5EF4-FFF2-40B4-BE49-F238E27FC236}">
                <a16:creationId xmlns:a16="http://schemas.microsoft.com/office/drawing/2014/main" id="{EC731905-C1E9-3DDA-A8B0-34C9326F3D1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3468316"/>
            <a:ext cx="2304114" cy="3389685"/>
          </a:xfrm>
          <a:custGeom>
            <a:avLst/>
            <a:gdLst>
              <a:gd name="connsiteX0" fmla="*/ 0 w 2304114"/>
              <a:gd name="connsiteY0" fmla="*/ 0 h 3389685"/>
              <a:gd name="connsiteX1" fmla="*/ 2098668 w 2304114"/>
              <a:gd name="connsiteY1" fmla="*/ 2021980 h 3389685"/>
              <a:gd name="connsiteX2" fmla="*/ 2300546 w 2304114"/>
              <a:gd name="connsiteY2" fmla="*/ 2493915 h 3389685"/>
              <a:gd name="connsiteX3" fmla="*/ 2304114 w 2304114"/>
              <a:gd name="connsiteY3" fmla="*/ 3389685 h 3389685"/>
              <a:gd name="connsiteX4" fmla="*/ 1563249 w 2304114"/>
              <a:gd name="connsiteY4" fmla="*/ 3389685 h 3389685"/>
              <a:gd name="connsiteX5" fmla="*/ 0 w 2304114"/>
              <a:gd name="connsiteY5" fmla="*/ 1887611 h 33896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304114" h="3389685">
                <a:moveTo>
                  <a:pt x="0" y="0"/>
                </a:moveTo>
                <a:lnTo>
                  <a:pt x="2098668" y="2021980"/>
                </a:lnTo>
                <a:cubicBezTo>
                  <a:pt x="2209455" y="2128787"/>
                  <a:pt x="2300546" y="2339949"/>
                  <a:pt x="2300546" y="2493915"/>
                </a:cubicBezTo>
                <a:lnTo>
                  <a:pt x="2304114" y="3389685"/>
                </a:lnTo>
                <a:lnTo>
                  <a:pt x="1563249" y="3389685"/>
                </a:lnTo>
                <a:lnTo>
                  <a:pt x="0" y="1887611"/>
                </a:lnTo>
                <a:close/>
              </a:path>
            </a:pathLst>
          </a:custGeom>
          <a:solidFill>
            <a:schemeClr val="bg2">
              <a:lumMod val="90000"/>
            </a:schemeClr>
          </a:solidFill>
        </p:spPr>
        <p:txBody>
          <a:bodyPr wrap="square" anchor="ctr">
            <a:noAutofit/>
          </a:bodyPr>
          <a:lstStyle>
            <a:lvl1pPr algn="ctr">
              <a:defRPr sz="1200" b="0">
                <a:solidFill>
                  <a:schemeClr val="tx1"/>
                </a:solidFill>
                <a:latin typeface="+mj-lt"/>
              </a:defRPr>
            </a:lvl1pPr>
          </a:lstStyle>
          <a:p>
            <a:endParaRPr lang="en-GB"/>
          </a:p>
        </p:txBody>
      </p:sp>
      <p:sp>
        <p:nvSpPr>
          <p:cNvPr id="29" name="Picture Placeholder 28">
            <a:extLst>
              <a:ext uri="{FF2B5EF4-FFF2-40B4-BE49-F238E27FC236}">
                <a16:creationId xmlns:a16="http://schemas.microsoft.com/office/drawing/2014/main" id="{BCE7D32B-E0F9-2767-710D-290C21B5811B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1340321" y="3414634"/>
            <a:ext cx="3783257" cy="3443367"/>
          </a:xfrm>
          <a:custGeom>
            <a:avLst/>
            <a:gdLst>
              <a:gd name="connsiteX0" fmla="*/ 134159 w 3783257"/>
              <a:gd name="connsiteY0" fmla="*/ 40 h 3443367"/>
              <a:gd name="connsiteX1" fmla="*/ 304452 w 3783257"/>
              <a:gd name="connsiteY1" fmla="*/ 91683 h 3443367"/>
              <a:gd name="connsiteX2" fmla="*/ 3783257 w 3783257"/>
              <a:gd name="connsiteY2" fmla="*/ 3443367 h 3443367"/>
              <a:gd name="connsiteX3" fmla="*/ 811536 w 3783257"/>
              <a:gd name="connsiteY3" fmla="*/ 3443367 h 3443367"/>
              <a:gd name="connsiteX4" fmla="*/ 304737 w 3783257"/>
              <a:gd name="connsiteY4" fmla="*/ 2956400 h 3443367"/>
              <a:gd name="connsiteX5" fmla="*/ 0 w 3783257"/>
              <a:gd name="connsiteY5" fmla="*/ 2240937 h 3443367"/>
              <a:gd name="connsiteX6" fmla="*/ 0 w 3783257"/>
              <a:gd name="connsiteY6" fmla="*/ 221223 h 3443367"/>
              <a:gd name="connsiteX7" fmla="*/ 134159 w 3783257"/>
              <a:gd name="connsiteY7" fmla="*/ 40 h 34433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783257" h="3443367">
                <a:moveTo>
                  <a:pt x="134159" y="40"/>
                </a:moveTo>
                <a:cubicBezTo>
                  <a:pt x="182745" y="1265"/>
                  <a:pt x="241337" y="31046"/>
                  <a:pt x="304452" y="91683"/>
                </a:cubicBezTo>
                <a:lnTo>
                  <a:pt x="3783257" y="3443367"/>
                </a:lnTo>
                <a:lnTo>
                  <a:pt x="811536" y="3443367"/>
                </a:lnTo>
                <a:lnTo>
                  <a:pt x="304737" y="2956400"/>
                </a:lnTo>
                <a:cubicBezTo>
                  <a:pt x="136431" y="2794693"/>
                  <a:pt x="0" y="2474450"/>
                  <a:pt x="0" y="2240937"/>
                </a:cubicBezTo>
                <a:lnTo>
                  <a:pt x="0" y="221223"/>
                </a:lnTo>
                <a:cubicBezTo>
                  <a:pt x="0" y="75278"/>
                  <a:pt x="53182" y="-2002"/>
                  <a:pt x="134159" y="40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algn="ctr">
              <a:defRPr sz="1200" b="0">
                <a:solidFill>
                  <a:schemeClr val="tx1"/>
                </a:solidFill>
                <a:latin typeface="+mj-lt"/>
              </a:defRPr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3535399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9" name="Text Placeholder 128">
            <a:extLst>
              <a:ext uri="{FF2B5EF4-FFF2-40B4-BE49-F238E27FC236}">
                <a16:creationId xmlns:a16="http://schemas.microsoft.com/office/drawing/2014/main" id="{60A12CD6-1AE5-31AC-6CBD-D78E36BEC36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0" y="0"/>
            <a:ext cx="4615856" cy="6618150"/>
          </a:xfrm>
          <a:custGeom>
            <a:avLst/>
            <a:gdLst>
              <a:gd name="connsiteX0" fmla="*/ 1344078 w 4615856"/>
              <a:gd name="connsiteY0" fmla="*/ 0 h 6618150"/>
              <a:gd name="connsiteX1" fmla="*/ 4615856 w 4615856"/>
              <a:gd name="connsiteY1" fmla="*/ 0 h 6618150"/>
              <a:gd name="connsiteX2" fmla="*/ 4610309 w 4615856"/>
              <a:gd name="connsiteY2" fmla="*/ 1392694 h 6618150"/>
              <a:gd name="connsiteX3" fmla="*/ 4040106 w 4615856"/>
              <a:gd name="connsiteY3" fmla="*/ 2725675 h 6618150"/>
              <a:gd name="connsiteX4" fmla="*/ 0 w 4615856"/>
              <a:gd name="connsiteY4" fmla="*/ 6618150 h 6618150"/>
              <a:gd name="connsiteX5" fmla="*/ 0 w 4615856"/>
              <a:gd name="connsiteY5" fmla="*/ 1291480 h 66181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615856" h="6618150">
                <a:moveTo>
                  <a:pt x="1344078" y="0"/>
                </a:moveTo>
                <a:lnTo>
                  <a:pt x="4615856" y="0"/>
                </a:lnTo>
                <a:lnTo>
                  <a:pt x="4610309" y="1392694"/>
                </a:lnTo>
                <a:cubicBezTo>
                  <a:pt x="4610309" y="1827572"/>
                  <a:pt x="4353024" y="2423997"/>
                  <a:pt x="4040106" y="2725675"/>
                </a:cubicBezTo>
                <a:lnTo>
                  <a:pt x="0" y="6618150"/>
                </a:lnTo>
                <a:lnTo>
                  <a:pt x="0" y="1291480"/>
                </a:lnTo>
                <a:close/>
              </a:path>
            </a:pathLst>
          </a:custGeom>
          <a:solidFill>
            <a:srgbClr val="7E003F">
              <a:alpha val="30000"/>
            </a:srgbClr>
          </a:solidFill>
        </p:spPr>
        <p:txBody>
          <a:bodyPr wrap="square" anchor="ctr">
            <a:noAutofit/>
          </a:bodyPr>
          <a:lstStyle>
            <a:lvl1pPr algn="ctr">
              <a:defRPr sz="100">
                <a:solidFill>
                  <a:srgbClr val="E9473D">
                    <a:alpha val="0"/>
                  </a:srgbClr>
                </a:solidFill>
              </a:defRPr>
            </a:lvl1pPr>
          </a:lstStyle>
          <a:p>
            <a:pPr lvl="0"/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703AE73-0813-1AD7-3E72-C71BFF01092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DB84476-BC29-4407-9D57-B2E562B8968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6" name="Picture Placeholder 25">
            <a:extLst>
              <a:ext uri="{FF2B5EF4-FFF2-40B4-BE49-F238E27FC236}">
                <a16:creationId xmlns:a16="http://schemas.microsoft.com/office/drawing/2014/main" id="{A93F567A-D2B4-8E05-AC49-6EFEFF7B1B60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" y="-2259"/>
            <a:ext cx="2943041" cy="4906132"/>
          </a:xfrm>
          <a:custGeom>
            <a:avLst/>
            <a:gdLst>
              <a:gd name="connsiteX0" fmla="*/ 2838364 w 2943041"/>
              <a:gd name="connsiteY0" fmla="*/ 31 h 4906132"/>
              <a:gd name="connsiteX1" fmla="*/ 2943041 w 2943041"/>
              <a:gd name="connsiteY1" fmla="*/ 172609 h 4906132"/>
              <a:gd name="connsiteX2" fmla="*/ 2943041 w 2943041"/>
              <a:gd name="connsiteY2" fmla="*/ 1748488 h 4906132"/>
              <a:gd name="connsiteX3" fmla="*/ 2705270 w 2943041"/>
              <a:gd name="connsiteY3" fmla="*/ 2306727 h 4906132"/>
              <a:gd name="connsiteX4" fmla="*/ 0 w 2943041"/>
              <a:gd name="connsiteY4" fmla="*/ 4906132 h 4906132"/>
              <a:gd name="connsiteX5" fmla="*/ 0 w 2943041"/>
              <a:gd name="connsiteY5" fmla="*/ 2678164 h 4906132"/>
              <a:gd name="connsiteX6" fmla="*/ 2705493 w 2943041"/>
              <a:gd name="connsiteY6" fmla="*/ 71535 h 4906132"/>
              <a:gd name="connsiteX7" fmla="*/ 2838364 w 2943041"/>
              <a:gd name="connsiteY7" fmla="*/ 31 h 49061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943041" h="4906132">
                <a:moveTo>
                  <a:pt x="2838364" y="31"/>
                </a:moveTo>
                <a:cubicBezTo>
                  <a:pt x="2901546" y="-1562"/>
                  <a:pt x="2943041" y="58735"/>
                  <a:pt x="2943041" y="172609"/>
                </a:cubicBezTo>
                <a:lnTo>
                  <a:pt x="2943041" y="1748488"/>
                </a:lnTo>
                <a:cubicBezTo>
                  <a:pt x="2943041" y="1930687"/>
                  <a:pt x="2836590" y="2180556"/>
                  <a:pt x="2705270" y="2306727"/>
                </a:cubicBezTo>
                <a:lnTo>
                  <a:pt x="0" y="4906132"/>
                </a:lnTo>
                <a:lnTo>
                  <a:pt x="0" y="2678164"/>
                </a:lnTo>
                <a:lnTo>
                  <a:pt x="2705493" y="71535"/>
                </a:lnTo>
                <a:cubicBezTo>
                  <a:pt x="2754738" y="24223"/>
                  <a:pt x="2800454" y="987"/>
                  <a:pt x="2838364" y="31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</p:spPr>
        <p:txBody>
          <a:bodyPr wrap="square" anchor="ctr">
            <a:noAutofit/>
          </a:bodyPr>
          <a:lstStyle>
            <a:lvl1pPr algn="ctr">
              <a:defRPr sz="1200" b="0"/>
            </a:lvl1pPr>
          </a:lstStyle>
          <a:p>
            <a:endParaRPr lang="en-GB"/>
          </a:p>
        </p:txBody>
      </p:sp>
      <p:sp>
        <p:nvSpPr>
          <p:cNvPr id="130" name="Text Placeholder 129">
            <a:extLst>
              <a:ext uri="{FF2B5EF4-FFF2-40B4-BE49-F238E27FC236}">
                <a16:creationId xmlns:a16="http://schemas.microsoft.com/office/drawing/2014/main" id="{F96BB9A3-8C09-67E4-18D2-E9474749C7D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 flipV="1">
            <a:off x="0" y="4116164"/>
            <a:ext cx="1561486" cy="2741836"/>
          </a:xfrm>
          <a:custGeom>
            <a:avLst/>
            <a:gdLst>
              <a:gd name="connsiteX0" fmla="*/ 971743 w 1561486"/>
              <a:gd name="connsiteY0" fmla="*/ 0 h 2741836"/>
              <a:gd name="connsiteX1" fmla="*/ 1561486 w 1561486"/>
              <a:gd name="connsiteY1" fmla="*/ 0 h 2741836"/>
              <a:gd name="connsiteX2" fmla="*/ 1561486 w 1561486"/>
              <a:gd name="connsiteY2" fmla="*/ 974513 h 2741836"/>
              <a:gd name="connsiteX3" fmla="*/ 1369018 w 1561486"/>
              <a:gd name="connsiteY3" fmla="*/ 1426392 h 2741836"/>
              <a:gd name="connsiteX4" fmla="*/ 0 w 1561486"/>
              <a:gd name="connsiteY4" fmla="*/ 2741836 h 2741836"/>
              <a:gd name="connsiteX5" fmla="*/ 0 w 1561486"/>
              <a:gd name="connsiteY5" fmla="*/ 936234 h 27418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561486" h="2741836">
                <a:moveTo>
                  <a:pt x="971743" y="0"/>
                </a:moveTo>
                <a:lnTo>
                  <a:pt x="1561486" y="0"/>
                </a:lnTo>
                <a:lnTo>
                  <a:pt x="1561486" y="974513"/>
                </a:lnTo>
                <a:cubicBezTo>
                  <a:pt x="1561486" y="1121998"/>
                  <a:pt x="1475318" y="1324260"/>
                  <a:pt x="1369018" y="1426392"/>
                </a:cubicBezTo>
                <a:lnTo>
                  <a:pt x="0" y="2741836"/>
                </a:lnTo>
                <a:lnTo>
                  <a:pt x="0" y="936234"/>
                </a:lnTo>
                <a:close/>
              </a:path>
            </a:pathLst>
          </a:custGeom>
          <a:solidFill>
            <a:srgbClr val="38B6AB">
              <a:alpha val="20000"/>
            </a:srgbClr>
          </a:solidFill>
        </p:spPr>
        <p:txBody>
          <a:bodyPr wrap="square" anchor="ctr">
            <a:noAutofit/>
          </a:bodyPr>
          <a:lstStyle>
            <a:lvl1pPr algn="ctr">
              <a:defRPr sz="100">
                <a:solidFill>
                  <a:schemeClr val="accent4">
                    <a:alpha val="0"/>
                  </a:schemeClr>
                </a:solidFill>
              </a:defRPr>
            </a:lvl1pPr>
          </a:lstStyle>
          <a:p>
            <a:pPr lvl="0"/>
            <a:endParaRPr lang="en-GB"/>
          </a:p>
        </p:txBody>
      </p:sp>
      <p:sp>
        <p:nvSpPr>
          <p:cNvPr id="131" name="Text Placeholder 130">
            <a:extLst>
              <a:ext uri="{FF2B5EF4-FFF2-40B4-BE49-F238E27FC236}">
                <a16:creationId xmlns:a16="http://schemas.microsoft.com/office/drawing/2014/main" id="{E8EC4792-EFE6-C3F8-AAB0-E0DF3A411AC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7723743" y="451475"/>
            <a:ext cx="4468257" cy="6406525"/>
          </a:xfrm>
          <a:custGeom>
            <a:avLst/>
            <a:gdLst>
              <a:gd name="connsiteX0" fmla="*/ 3647728 w 3647728"/>
              <a:gd name="connsiteY0" fmla="*/ 0 h 5230062"/>
              <a:gd name="connsiteX1" fmla="*/ 3647728 w 3647728"/>
              <a:gd name="connsiteY1" fmla="*/ 4209457 h 5230062"/>
              <a:gd name="connsiteX2" fmla="*/ 2585556 w 3647728"/>
              <a:gd name="connsiteY2" fmla="*/ 5230062 h 5230062"/>
              <a:gd name="connsiteX3" fmla="*/ 0 w 3647728"/>
              <a:gd name="connsiteY3" fmla="*/ 5230062 h 5230062"/>
              <a:gd name="connsiteX4" fmla="*/ 4384 w 3647728"/>
              <a:gd name="connsiteY4" fmla="*/ 4129471 h 5230062"/>
              <a:gd name="connsiteX5" fmla="*/ 454992 w 3647728"/>
              <a:gd name="connsiteY5" fmla="*/ 3076069 h 52300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647728" h="5230062">
                <a:moveTo>
                  <a:pt x="3647728" y="0"/>
                </a:moveTo>
                <a:lnTo>
                  <a:pt x="3647728" y="4209457"/>
                </a:lnTo>
                <a:lnTo>
                  <a:pt x="2585556" y="5230062"/>
                </a:lnTo>
                <a:lnTo>
                  <a:pt x="0" y="5230062"/>
                </a:lnTo>
                <a:lnTo>
                  <a:pt x="4384" y="4129471"/>
                </a:lnTo>
                <a:cubicBezTo>
                  <a:pt x="4384" y="3785804"/>
                  <a:pt x="207706" y="3314473"/>
                  <a:pt x="454992" y="3076069"/>
                </a:cubicBezTo>
                <a:close/>
              </a:path>
            </a:pathLst>
          </a:custGeom>
          <a:solidFill>
            <a:srgbClr val="F07E26">
              <a:alpha val="10000"/>
            </a:srgbClr>
          </a:solidFill>
        </p:spPr>
        <p:txBody>
          <a:bodyPr wrap="square" anchor="ctr">
            <a:noAutofit/>
          </a:bodyPr>
          <a:lstStyle>
            <a:lvl1pPr algn="ctr">
              <a:defRPr sz="100">
                <a:solidFill>
                  <a:schemeClr val="accent2">
                    <a:alpha val="0"/>
                  </a:schemeClr>
                </a:solidFill>
              </a:defRPr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endParaRPr lang="en-GB"/>
          </a:p>
        </p:txBody>
      </p:sp>
      <p:sp>
        <p:nvSpPr>
          <p:cNvPr id="127" name="Text Placeholder 16">
            <a:extLst>
              <a:ext uri="{FF2B5EF4-FFF2-40B4-BE49-F238E27FC236}">
                <a16:creationId xmlns:a16="http://schemas.microsoft.com/office/drawing/2014/main" id="{DF36CEAF-0A9E-1D9A-28DA-EB9C2D87E0D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118832" y="1764973"/>
            <a:ext cx="6449281" cy="447231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28" name="Title 6">
            <a:extLst>
              <a:ext uri="{FF2B5EF4-FFF2-40B4-BE49-F238E27FC236}">
                <a16:creationId xmlns:a16="http://schemas.microsoft.com/office/drawing/2014/main" id="{D564B358-2F1B-8D24-C7D9-4DFE56712EE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19267" y="332657"/>
            <a:ext cx="6448846" cy="126248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29" name="Picture Placeholder 28">
            <a:extLst>
              <a:ext uri="{FF2B5EF4-FFF2-40B4-BE49-F238E27FC236}">
                <a16:creationId xmlns:a16="http://schemas.microsoft.com/office/drawing/2014/main" id="{BCE7D32B-E0F9-2767-710D-290C21B5811B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1340321" y="3414634"/>
            <a:ext cx="3783257" cy="3443367"/>
          </a:xfrm>
          <a:custGeom>
            <a:avLst/>
            <a:gdLst>
              <a:gd name="connsiteX0" fmla="*/ 134159 w 3783257"/>
              <a:gd name="connsiteY0" fmla="*/ 40 h 3443367"/>
              <a:gd name="connsiteX1" fmla="*/ 304452 w 3783257"/>
              <a:gd name="connsiteY1" fmla="*/ 91683 h 3443367"/>
              <a:gd name="connsiteX2" fmla="*/ 3783257 w 3783257"/>
              <a:gd name="connsiteY2" fmla="*/ 3443367 h 3443367"/>
              <a:gd name="connsiteX3" fmla="*/ 811536 w 3783257"/>
              <a:gd name="connsiteY3" fmla="*/ 3443367 h 3443367"/>
              <a:gd name="connsiteX4" fmla="*/ 304737 w 3783257"/>
              <a:gd name="connsiteY4" fmla="*/ 2956400 h 3443367"/>
              <a:gd name="connsiteX5" fmla="*/ 0 w 3783257"/>
              <a:gd name="connsiteY5" fmla="*/ 2240937 h 3443367"/>
              <a:gd name="connsiteX6" fmla="*/ 0 w 3783257"/>
              <a:gd name="connsiteY6" fmla="*/ 221223 h 3443367"/>
              <a:gd name="connsiteX7" fmla="*/ 134159 w 3783257"/>
              <a:gd name="connsiteY7" fmla="*/ 40 h 34433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783257" h="3443367">
                <a:moveTo>
                  <a:pt x="134159" y="40"/>
                </a:moveTo>
                <a:cubicBezTo>
                  <a:pt x="182745" y="1265"/>
                  <a:pt x="241337" y="31046"/>
                  <a:pt x="304452" y="91683"/>
                </a:cubicBezTo>
                <a:lnTo>
                  <a:pt x="3783257" y="3443367"/>
                </a:lnTo>
                <a:lnTo>
                  <a:pt x="811536" y="3443367"/>
                </a:lnTo>
                <a:lnTo>
                  <a:pt x="304737" y="2956400"/>
                </a:lnTo>
                <a:cubicBezTo>
                  <a:pt x="136431" y="2794693"/>
                  <a:pt x="0" y="2474450"/>
                  <a:pt x="0" y="2240937"/>
                </a:cubicBezTo>
                <a:lnTo>
                  <a:pt x="0" y="221223"/>
                </a:lnTo>
                <a:cubicBezTo>
                  <a:pt x="0" y="75278"/>
                  <a:pt x="53182" y="-2002"/>
                  <a:pt x="134159" y="40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algn="ctr">
              <a:defRPr sz="1200" b="0">
                <a:solidFill>
                  <a:schemeClr val="tx1"/>
                </a:solidFill>
                <a:latin typeface="+mj-lt"/>
              </a:defRPr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8589077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0" name="Text Placeholder 129">
            <a:extLst>
              <a:ext uri="{FF2B5EF4-FFF2-40B4-BE49-F238E27FC236}">
                <a16:creationId xmlns:a16="http://schemas.microsoft.com/office/drawing/2014/main" id="{EB120B9A-364A-AB0B-366A-FF46B2CBE37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962621" y="550872"/>
            <a:ext cx="3229379" cy="6307128"/>
          </a:xfrm>
          <a:custGeom>
            <a:avLst/>
            <a:gdLst>
              <a:gd name="connsiteX0" fmla="*/ 3229379 w 3229379"/>
              <a:gd name="connsiteY0" fmla="*/ 0 h 6307128"/>
              <a:gd name="connsiteX1" fmla="*/ 3229379 w 3229379"/>
              <a:gd name="connsiteY1" fmla="*/ 3598208 h 6307128"/>
              <a:gd name="connsiteX2" fmla="*/ 3229379 w 3229379"/>
              <a:gd name="connsiteY2" fmla="*/ 3808777 h 6307128"/>
              <a:gd name="connsiteX3" fmla="*/ 3229379 w 3229379"/>
              <a:gd name="connsiteY3" fmla="*/ 6307128 h 6307128"/>
              <a:gd name="connsiteX4" fmla="*/ 636271 w 3229379"/>
              <a:gd name="connsiteY4" fmla="*/ 6307128 h 6307128"/>
              <a:gd name="connsiteX5" fmla="*/ 1 w 3229379"/>
              <a:gd name="connsiteY5" fmla="*/ 6307128 h 6307128"/>
              <a:gd name="connsiteX6" fmla="*/ 0 w 3229379"/>
              <a:gd name="connsiteY6" fmla="*/ 6307128 h 6307128"/>
              <a:gd name="connsiteX7" fmla="*/ 0 w 3229379"/>
              <a:gd name="connsiteY7" fmla="*/ 3598208 h 6307128"/>
              <a:gd name="connsiteX8" fmla="*/ 4610 w 3229379"/>
              <a:gd name="connsiteY8" fmla="*/ 3598208 h 6307128"/>
              <a:gd name="connsiteX9" fmla="*/ 8249 w 3229379"/>
              <a:gd name="connsiteY9" fmla="*/ 3544634 h 6307128"/>
              <a:gd name="connsiteX10" fmla="*/ 405979 w 3229379"/>
              <a:gd name="connsiteY10" fmla="*/ 2712911 h 63071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3229379" h="6307128">
                <a:moveTo>
                  <a:pt x="3229379" y="0"/>
                </a:moveTo>
                <a:lnTo>
                  <a:pt x="3229379" y="3598208"/>
                </a:lnTo>
                <a:lnTo>
                  <a:pt x="3229379" y="3808777"/>
                </a:lnTo>
                <a:lnTo>
                  <a:pt x="3229379" y="6307128"/>
                </a:lnTo>
                <a:lnTo>
                  <a:pt x="636271" y="6307128"/>
                </a:lnTo>
                <a:lnTo>
                  <a:pt x="1" y="6307128"/>
                </a:lnTo>
                <a:lnTo>
                  <a:pt x="0" y="6307128"/>
                </a:lnTo>
                <a:lnTo>
                  <a:pt x="0" y="3598208"/>
                </a:lnTo>
                <a:lnTo>
                  <a:pt x="4610" y="3598208"/>
                </a:lnTo>
                <a:lnTo>
                  <a:pt x="8249" y="3544634"/>
                </a:lnTo>
                <a:cubicBezTo>
                  <a:pt x="46104" y="3251619"/>
                  <a:pt x="209785" y="2901412"/>
                  <a:pt x="405979" y="2712911"/>
                </a:cubicBezTo>
                <a:close/>
              </a:path>
            </a:pathLst>
          </a:custGeom>
          <a:solidFill>
            <a:schemeClr val="accent2">
              <a:alpha val="60000"/>
            </a:schemeClr>
          </a:solidFill>
        </p:spPr>
        <p:txBody>
          <a:bodyPr wrap="square" anchor="ctr">
            <a:noAutofit/>
          </a:bodyPr>
          <a:lstStyle>
            <a:lvl1pPr algn="ctr">
              <a:defRPr sz="100">
                <a:solidFill>
                  <a:schemeClr val="accent2">
                    <a:alpha val="0"/>
                  </a:schemeClr>
                </a:solidFill>
              </a:defRPr>
            </a:lvl1pPr>
          </a:lstStyle>
          <a:p>
            <a:pPr lvl="0"/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703AE73-0813-1AD7-3E72-C71BFF01092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DB84476-BC29-4407-9D57-B2E562B8968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9" name="Picture Placeholder 38">
            <a:extLst>
              <a:ext uri="{FF2B5EF4-FFF2-40B4-BE49-F238E27FC236}">
                <a16:creationId xmlns:a16="http://schemas.microsoft.com/office/drawing/2014/main" id="{715722DB-F61B-6C39-37DD-C0C553D1D886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9707532" y="4401248"/>
            <a:ext cx="2484468" cy="2456753"/>
          </a:xfrm>
          <a:custGeom>
            <a:avLst/>
            <a:gdLst>
              <a:gd name="connsiteX0" fmla="*/ 2484468 w 2484468"/>
              <a:gd name="connsiteY0" fmla="*/ 0 h 2456753"/>
              <a:gd name="connsiteX1" fmla="*/ 2484468 w 2484468"/>
              <a:gd name="connsiteY1" fmla="*/ 2220567 h 2456753"/>
              <a:gd name="connsiteX2" fmla="*/ 2239324 w 2484468"/>
              <a:gd name="connsiteY2" fmla="*/ 2456753 h 2456753"/>
              <a:gd name="connsiteX3" fmla="*/ 0 w 2484468"/>
              <a:gd name="connsiteY3" fmla="*/ 2456753 h 2456753"/>
              <a:gd name="connsiteX4" fmla="*/ 46749 w 2484468"/>
              <a:gd name="connsiteY4" fmla="*/ 2368128 h 2456753"/>
              <a:gd name="connsiteX5" fmla="*/ 138956 w 2484468"/>
              <a:gd name="connsiteY5" fmla="*/ 2253725 h 24567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484468" h="2456753">
                <a:moveTo>
                  <a:pt x="2484468" y="0"/>
                </a:moveTo>
                <a:lnTo>
                  <a:pt x="2484468" y="2220567"/>
                </a:lnTo>
                <a:lnTo>
                  <a:pt x="2239324" y="2456753"/>
                </a:lnTo>
                <a:lnTo>
                  <a:pt x="0" y="2456753"/>
                </a:lnTo>
                <a:lnTo>
                  <a:pt x="46749" y="2368128"/>
                </a:lnTo>
                <a:cubicBezTo>
                  <a:pt x="75089" y="2324278"/>
                  <a:pt x="106248" y="2285150"/>
                  <a:pt x="138956" y="2253725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algn="ctr">
              <a:defRPr sz="1200" b="0">
                <a:solidFill>
                  <a:schemeClr val="tx1"/>
                </a:solidFill>
              </a:defRPr>
            </a:lvl1pPr>
          </a:lstStyle>
          <a:p>
            <a:endParaRPr lang="en-GB"/>
          </a:p>
        </p:txBody>
      </p:sp>
      <p:sp>
        <p:nvSpPr>
          <p:cNvPr id="43" name="Picture Placeholder 42">
            <a:extLst>
              <a:ext uri="{FF2B5EF4-FFF2-40B4-BE49-F238E27FC236}">
                <a16:creationId xmlns:a16="http://schemas.microsoft.com/office/drawing/2014/main" id="{5242917A-7E8E-CC33-6FC8-7965D64F358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474709" y="260208"/>
            <a:ext cx="3456388" cy="5010292"/>
          </a:xfrm>
          <a:custGeom>
            <a:avLst/>
            <a:gdLst>
              <a:gd name="connsiteX0" fmla="*/ 103350 w 3456388"/>
              <a:gd name="connsiteY0" fmla="*/ 29 h 5010292"/>
              <a:gd name="connsiteX1" fmla="*/ 235548 w 3456388"/>
              <a:gd name="connsiteY1" fmla="*/ 71195 h 5010292"/>
              <a:gd name="connsiteX2" fmla="*/ 3219504 w 3456388"/>
              <a:gd name="connsiteY2" fmla="*/ 2938380 h 5010292"/>
              <a:gd name="connsiteX3" fmla="*/ 3456388 w 3456388"/>
              <a:gd name="connsiteY3" fmla="*/ 3494538 h 5010292"/>
              <a:gd name="connsiteX4" fmla="*/ 3456388 w 3456388"/>
              <a:gd name="connsiteY4" fmla="*/ 5010292 h 5010292"/>
              <a:gd name="connsiteX5" fmla="*/ 3058902 w 3456388"/>
              <a:gd name="connsiteY5" fmla="*/ 5010292 h 5010292"/>
              <a:gd name="connsiteX6" fmla="*/ 244256 w 3456388"/>
              <a:gd name="connsiteY6" fmla="*/ 2298498 h 5010292"/>
              <a:gd name="connsiteX7" fmla="*/ 6258 w 3456388"/>
              <a:gd name="connsiteY7" fmla="*/ 1742123 h 5010292"/>
              <a:gd name="connsiteX8" fmla="*/ 4 w 3456388"/>
              <a:gd name="connsiteY8" fmla="*/ 172114 h 5010292"/>
              <a:gd name="connsiteX9" fmla="*/ 103350 w 3456388"/>
              <a:gd name="connsiteY9" fmla="*/ 29 h 50102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456388" h="5010292">
                <a:moveTo>
                  <a:pt x="103350" y="29"/>
                </a:moveTo>
                <a:cubicBezTo>
                  <a:pt x="141003" y="941"/>
                  <a:pt x="186486" y="24059"/>
                  <a:pt x="235548" y="71195"/>
                </a:cubicBezTo>
                <a:lnTo>
                  <a:pt x="3219504" y="2938380"/>
                </a:lnTo>
                <a:cubicBezTo>
                  <a:pt x="3350335" y="3064081"/>
                  <a:pt x="3456388" y="3313019"/>
                  <a:pt x="3456388" y="3494538"/>
                </a:cubicBezTo>
                <a:lnTo>
                  <a:pt x="3456388" y="5010292"/>
                </a:lnTo>
                <a:lnTo>
                  <a:pt x="3058902" y="5010292"/>
                </a:lnTo>
                <a:lnTo>
                  <a:pt x="244256" y="2298498"/>
                </a:lnTo>
                <a:cubicBezTo>
                  <a:pt x="113647" y="2172580"/>
                  <a:pt x="6258" y="1923637"/>
                  <a:pt x="6258" y="1742123"/>
                </a:cubicBezTo>
                <a:lnTo>
                  <a:pt x="4" y="172114"/>
                </a:lnTo>
                <a:cubicBezTo>
                  <a:pt x="-415" y="58667"/>
                  <a:pt x="40594" y="-1492"/>
                  <a:pt x="103350" y="29"/>
                </a:cubicBezTo>
                <a:close/>
              </a:path>
            </a:pathLst>
          </a:custGeom>
          <a:solidFill>
            <a:schemeClr val="bg2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 sz="1200" b="0">
                <a:solidFill>
                  <a:schemeClr val="tx1"/>
                </a:solidFill>
              </a:defRPr>
            </a:lvl1pPr>
          </a:lstStyle>
          <a:p>
            <a:endParaRPr lang="en-GB"/>
          </a:p>
        </p:txBody>
      </p:sp>
      <p:sp>
        <p:nvSpPr>
          <p:cNvPr id="40" name="Picture Placeholder 39">
            <a:extLst>
              <a:ext uri="{FF2B5EF4-FFF2-40B4-BE49-F238E27FC236}">
                <a16:creationId xmlns:a16="http://schemas.microsoft.com/office/drawing/2014/main" id="{4A07A8FF-6971-1482-F56C-D08A356688C0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7129317" y="2749082"/>
            <a:ext cx="4032451" cy="4108918"/>
          </a:xfrm>
          <a:custGeom>
            <a:avLst/>
            <a:gdLst>
              <a:gd name="connsiteX0" fmla="*/ 3911878 w 4032451"/>
              <a:gd name="connsiteY0" fmla="*/ 33 h 4108918"/>
              <a:gd name="connsiteX1" fmla="*/ 4032448 w 4032451"/>
              <a:gd name="connsiteY1" fmla="*/ 200799 h 4108918"/>
              <a:gd name="connsiteX2" fmla="*/ 4025153 w 4032451"/>
              <a:gd name="connsiteY2" fmla="*/ 2032476 h 4108918"/>
              <a:gd name="connsiteX3" fmla="*/ 3747489 w 4032451"/>
              <a:gd name="connsiteY3" fmla="*/ 2681580 h 4108918"/>
              <a:gd name="connsiteX4" fmla="*/ 2266015 w 4032451"/>
              <a:gd name="connsiteY4" fmla="*/ 4108918 h 4108918"/>
              <a:gd name="connsiteX5" fmla="*/ 0 w 4032451"/>
              <a:gd name="connsiteY5" fmla="*/ 4108918 h 4108918"/>
              <a:gd name="connsiteX6" fmla="*/ 0 w 4032451"/>
              <a:gd name="connsiteY6" fmla="*/ 4076960 h 4108918"/>
              <a:gd name="connsiteX7" fmla="*/ 276365 w 4032451"/>
              <a:gd name="connsiteY7" fmla="*/ 3428109 h 4108918"/>
              <a:gd name="connsiteX8" fmla="*/ 3757647 w 4032451"/>
              <a:gd name="connsiteY8" fmla="*/ 83061 h 4108918"/>
              <a:gd name="connsiteX9" fmla="*/ 3911878 w 4032451"/>
              <a:gd name="connsiteY9" fmla="*/ 33 h 41089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4032451" h="4108918">
                <a:moveTo>
                  <a:pt x="3911878" y="33"/>
                </a:moveTo>
                <a:cubicBezTo>
                  <a:pt x="3985094" y="-1741"/>
                  <a:pt x="4032937" y="68445"/>
                  <a:pt x="4032448" y="200799"/>
                </a:cubicBezTo>
                <a:lnTo>
                  <a:pt x="4025153" y="2032476"/>
                </a:lnTo>
                <a:cubicBezTo>
                  <a:pt x="4025153" y="2244242"/>
                  <a:pt x="3899866" y="2534676"/>
                  <a:pt x="3747489" y="2681580"/>
                </a:cubicBezTo>
                <a:lnTo>
                  <a:pt x="2266015" y="4108918"/>
                </a:lnTo>
                <a:lnTo>
                  <a:pt x="0" y="4108918"/>
                </a:lnTo>
                <a:lnTo>
                  <a:pt x="0" y="4076960"/>
                </a:lnTo>
                <a:cubicBezTo>
                  <a:pt x="0" y="3865188"/>
                  <a:pt x="123729" y="3574760"/>
                  <a:pt x="276365" y="3428109"/>
                </a:cubicBezTo>
                <a:lnTo>
                  <a:pt x="3757647" y="83061"/>
                </a:lnTo>
                <a:cubicBezTo>
                  <a:pt x="3814886" y="28069"/>
                  <a:pt x="3867949" y="1098"/>
                  <a:pt x="3911878" y="33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</p:spPr>
        <p:txBody>
          <a:bodyPr wrap="square" anchor="ctr">
            <a:noAutofit/>
          </a:bodyPr>
          <a:lstStyle>
            <a:lvl1pPr algn="ctr">
              <a:defRPr sz="1200" b="0">
                <a:solidFill>
                  <a:schemeClr val="tx1"/>
                </a:solidFill>
              </a:defRPr>
            </a:lvl1pPr>
          </a:lstStyle>
          <a:p>
            <a:endParaRPr lang="en-GB"/>
          </a:p>
        </p:txBody>
      </p:sp>
      <p:sp>
        <p:nvSpPr>
          <p:cNvPr id="126" name="Text Placeholder 125">
            <a:extLst>
              <a:ext uri="{FF2B5EF4-FFF2-40B4-BE49-F238E27FC236}">
                <a16:creationId xmlns:a16="http://schemas.microsoft.com/office/drawing/2014/main" id="{1BAA0479-3CF9-2EEE-785C-8BC352D3FE2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2" y="909496"/>
            <a:ext cx="2870583" cy="5948505"/>
          </a:xfrm>
          <a:custGeom>
            <a:avLst/>
            <a:gdLst>
              <a:gd name="connsiteX0" fmla="*/ 2685589 w 2870583"/>
              <a:gd name="connsiteY0" fmla="*/ 55 h 5948505"/>
              <a:gd name="connsiteX1" fmla="*/ 2870583 w 2870583"/>
              <a:gd name="connsiteY1" fmla="*/ 305049 h 5948505"/>
              <a:gd name="connsiteX2" fmla="*/ 2870583 w 2870583"/>
              <a:gd name="connsiteY2" fmla="*/ 3090079 h 5948505"/>
              <a:gd name="connsiteX3" fmla="*/ 2450374 w 2870583"/>
              <a:gd name="connsiteY3" fmla="*/ 4076647 h 5948505"/>
              <a:gd name="connsiteX4" fmla="*/ 502282 w 2870583"/>
              <a:gd name="connsiteY4" fmla="*/ 5948505 h 5948505"/>
              <a:gd name="connsiteX5" fmla="*/ 0 w 2870583"/>
              <a:gd name="connsiteY5" fmla="*/ 5948505 h 5948505"/>
              <a:gd name="connsiteX6" fmla="*/ 0 w 2870583"/>
              <a:gd name="connsiteY6" fmla="*/ 2487636 h 5948505"/>
              <a:gd name="connsiteX7" fmla="*/ 2450768 w 2870583"/>
              <a:gd name="connsiteY7" fmla="*/ 126424 h 5948505"/>
              <a:gd name="connsiteX8" fmla="*/ 2685589 w 2870583"/>
              <a:gd name="connsiteY8" fmla="*/ 55 h 59485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870583" h="5948505">
                <a:moveTo>
                  <a:pt x="2685589" y="55"/>
                </a:moveTo>
                <a:cubicBezTo>
                  <a:pt x="2797249" y="-2761"/>
                  <a:pt x="2870583" y="103801"/>
                  <a:pt x="2870583" y="305049"/>
                </a:cubicBezTo>
                <a:lnTo>
                  <a:pt x="2870583" y="3090079"/>
                </a:lnTo>
                <a:cubicBezTo>
                  <a:pt x="2870583" y="3412076"/>
                  <a:pt x="2682455" y="3853667"/>
                  <a:pt x="2450374" y="4076647"/>
                </a:cubicBezTo>
                <a:lnTo>
                  <a:pt x="502282" y="5948505"/>
                </a:lnTo>
                <a:lnTo>
                  <a:pt x="0" y="5948505"/>
                </a:lnTo>
                <a:lnTo>
                  <a:pt x="0" y="2487636"/>
                </a:lnTo>
                <a:lnTo>
                  <a:pt x="2450768" y="126424"/>
                </a:lnTo>
                <a:cubicBezTo>
                  <a:pt x="2537798" y="42809"/>
                  <a:pt x="2618592" y="1744"/>
                  <a:pt x="2685589" y="55"/>
                </a:cubicBezTo>
                <a:close/>
              </a:path>
            </a:pathLst>
          </a:custGeom>
          <a:solidFill>
            <a:srgbClr val="CBD300">
              <a:alpha val="20000"/>
            </a:srgbClr>
          </a:solidFill>
        </p:spPr>
        <p:txBody>
          <a:bodyPr wrap="square" anchor="ctr">
            <a:noAutofit/>
          </a:bodyPr>
          <a:lstStyle>
            <a:lvl1pPr algn="ctr">
              <a:defRPr sz="100">
                <a:solidFill>
                  <a:srgbClr val="CBD300">
                    <a:alpha val="0"/>
                  </a:srgbClr>
                </a:solidFill>
              </a:defRPr>
            </a:lvl1pPr>
          </a:lstStyle>
          <a:p>
            <a:pPr lvl="0"/>
            <a:endParaRPr lang="en-GB"/>
          </a:p>
        </p:txBody>
      </p:sp>
      <p:sp>
        <p:nvSpPr>
          <p:cNvPr id="127" name="Text Placeholder 16">
            <a:extLst>
              <a:ext uri="{FF2B5EF4-FFF2-40B4-BE49-F238E27FC236}">
                <a16:creationId xmlns:a16="http://schemas.microsoft.com/office/drawing/2014/main" id="{DED43CDE-8825-7B84-10F8-B5878BE7F4E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118004" y="1764973"/>
            <a:ext cx="7085111" cy="202837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28" name="Title 6">
            <a:extLst>
              <a:ext uri="{FF2B5EF4-FFF2-40B4-BE49-F238E27FC236}">
                <a16:creationId xmlns:a16="http://schemas.microsoft.com/office/drawing/2014/main" id="{92A898D0-CA5F-6642-1485-0E937CBB1A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18439" y="332657"/>
            <a:ext cx="7084676" cy="126248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8" name="Picture Placeholder 37">
            <a:extLst>
              <a:ext uri="{FF2B5EF4-FFF2-40B4-BE49-F238E27FC236}">
                <a16:creationId xmlns:a16="http://schemas.microsoft.com/office/drawing/2014/main" id="{1D16556E-5ACE-BAC5-E36D-613DAEF1D27C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4896757" y="4015034"/>
            <a:ext cx="3120203" cy="2842967"/>
          </a:xfrm>
          <a:custGeom>
            <a:avLst/>
            <a:gdLst>
              <a:gd name="connsiteX0" fmla="*/ 3016855 w 3120203"/>
              <a:gd name="connsiteY0" fmla="*/ 29 h 2842967"/>
              <a:gd name="connsiteX1" fmla="*/ 3120200 w 3120203"/>
              <a:gd name="connsiteY1" fmla="*/ 172113 h 2842967"/>
              <a:gd name="connsiteX2" fmla="*/ 3113947 w 3120203"/>
              <a:gd name="connsiteY2" fmla="*/ 1742123 h 2842967"/>
              <a:gd name="connsiteX3" fmla="*/ 2875949 w 3120203"/>
              <a:gd name="connsiteY3" fmla="*/ 2298497 h 2842967"/>
              <a:gd name="connsiteX4" fmla="*/ 2310829 w 3120203"/>
              <a:gd name="connsiteY4" fmla="*/ 2842967 h 2842967"/>
              <a:gd name="connsiteX5" fmla="*/ 0 w 3120203"/>
              <a:gd name="connsiteY5" fmla="*/ 2842967 h 2842967"/>
              <a:gd name="connsiteX6" fmla="*/ 2884657 w 3120203"/>
              <a:gd name="connsiteY6" fmla="*/ 71195 h 2842967"/>
              <a:gd name="connsiteX7" fmla="*/ 3016855 w 3120203"/>
              <a:gd name="connsiteY7" fmla="*/ 29 h 28429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120203" h="2842967">
                <a:moveTo>
                  <a:pt x="3016855" y="29"/>
                </a:moveTo>
                <a:cubicBezTo>
                  <a:pt x="3079611" y="-1493"/>
                  <a:pt x="3120619" y="58667"/>
                  <a:pt x="3120200" y="172113"/>
                </a:cubicBezTo>
                <a:lnTo>
                  <a:pt x="3113947" y="1742123"/>
                </a:lnTo>
                <a:cubicBezTo>
                  <a:pt x="3113947" y="1923637"/>
                  <a:pt x="3006558" y="2172580"/>
                  <a:pt x="2875949" y="2298497"/>
                </a:cubicBezTo>
                <a:lnTo>
                  <a:pt x="2310829" y="2842967"/>
                </a:lnTo>
                <a:lnTo>
                  <a:pt x="0" y="2842967"/>
                </a:lnTo>
                <a:lnTo>
                  <a:pt x="2884657" y="71195"/>
                </a:lnTo>
                <a:cubicBezTo>
                  <a:pt x="2933718" y="24059"/>
                  <a:pt x="2979201" y="941"/>
                  <a:pt x="3016855" y="29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algn="ctr">
              <a:defRPr sz="1200" b="0">
                <a:solidFill>
                  <a:schemeClr val="tx1"/>
                </a:solidFill>
              </a:defRPr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5016405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48.xml"/><Relationship Id="rId18" Type="http://schemas.openxmlformats.org/officeDocument/2006/relationships/slideLayout" Target="../slideLayouts/slideLayout53.xml"/><Relationship Id="rId26" Type="http://schemas.openxmlformats.org/officeDocument/2006/relationships/slideLayout" Target="../slideLayouts/slideLayout61.xml"/><Relationship Id="rId3" Type="http://schemas.openxmlformats.org/officeDocument/2006/relationships/slideLayout" Target="../slideLayouts/slideLayout38.xml"/><Relationship Id="rId21" Type="http://schemas.openxmlformats.org/officeDocument/2006/relationships/slideLayout" Target="../slideLayouts/slideLayout56.xml"/><Relationship Id="rId34" Type="http://schemas.openxmlformats.org/officeDocument/2006/relationships/theme" Target="../theme/theme2.xml"/><Relationship Id="rId7" Type="http://schemas.openxmlformats.org/officeDocument/2006/relationships/slideLayout" Target="../slideLayouts/slideLayout42.xml"/><Relationship Id="rId12" Type="http://schemas.openxmlformats.org/officeDocument/2006/relationships/slideLayout" Target="../slideLayouts/slideLayout47.xml"/><Relationship Id="rId17" Type="http://schemas.openxmlformats.org/officeDocument/2006/relationships/slideLayout" Target="../slideLayouts/slideLayout52.xml"/><Relationship Id="rId25" Type="http://schemas.openxmlformats.org/officeDocument/2006/relationships/slideLayout" Target="../slideLayouts/slideLayout60.xml"/><Relationship Id="rId33" Type="http://schemas.openxmlformats.org/officeDocument/2006/relationships/slideLayout" Target="../slideLayouts/slideLayout68.xml"/><Relationship Id="rId2" Type="http://schemas.openxmlformats.org/officeDocument/2006/relationships/slideLayout" Target="../slideLayouts/slideLayout37.xml"/><Relationship Id="rId16" Type="http://schemas.openxmlformats.org/officeDocument/2006/relationships/slideLayout" Target="../slideLayouts/slideLayout51.xml"/><Relationship Id="rId20" Type="http://schemas.openxmlformats.org/officeDocument/2006/relationships/slideLayout" Target="../slideLayouts/slideLayout55.xml"/><Relationship Id="rId29" Type="http://schemas.openxmlformats.org/officeDocument/2006/relationships/slideLayout" Target="../slideLayouts/slideLayout64.xml"/><Relationship Id="rId1" Type="http://schemas.openxmlformats.org/officeDocument/2006/relationships/slideLayout" Target="../slideLayouts/slideLayout36.xml"/><Relationship Id="rId6" Type="http://schemas.openxmlformats.org/officeDocument/2006/relationships/slideLayout" Target="../slideLayouts/slideLayout41.xml"/><Relationship Id="rId11" Type="http://schemas.openxmlformats.org/officeDocument/2006/relationships/slideLayout" Target="../slideLayouts/slideLayout46.xml"/><Relationship Id="rId24" Type="http://schemas.openxmlformats.org/officeDocument/2006/relationships/slideLayout" Target="../slideLayouts/slideLayout59.xml"/><Relationship Id="rId32" Type="http://schemas.openxmlformats.org/officeDocument/2006/relationships/slideLayout" Target="../slideLayouts/slideLayout67.xml"/><Relationship Id="rId5" Type="http://schemas.openxmlformats.org/officeDocument/2006/relationships/slideLayout" Target="../slideLayouts/slideLayout40.xml"/><Relationship Id="rId15" Type="http://schemas.openxmlformats.org/officeDocument/2006/relationships/slideLayout" Target="../slideLayouts/slideLayout50.xml"/><Relationship Id="rId23" Type="http://schemas.openxmlformats.org/officeDocument/2006/relationships/slideLayout" Target="../slideLayouts/slideLayout58.xml"/><Relationship Id="rId28" Type="http://schemas.openxmlformats.org/officeDocument/2006/relationships/slideLayout" Target="../slideLayouts/slideLayout63.xml"/><Relationship Id="rId10" Type="http://schemas.openxmlformats.org/officeDocument/2006/relationships/slideLayout" Target="../slideLayouts/slideLayout45.xml"/><Relationship Id="rId19" Type="http://schemas.openxmlformats.org/officeDocument/2006/relationships/slideLayout" Target="../slideLayouts/slideLayout54.xml"/><Relationship Id="rId31" Type="http://schemas.openxmlformats.org/officeDocument/2006/relationships/slideLayout" Target="../slideLayouts/slideLayout66.xml"/><Relationship Id="rId4" Type="http://schemas.openxmlformats.org/officeDocument/2006/relationships/slideLayout" Target="../slideLayouts/slideLayout39.xml"/><Relationship Id="rId9" Type="http://schemas.openxmlformats.org/officeDocument/2006/relationships/slideLayout" Target="../slideLayouts/slideLayout44.xml"/><Relationship Id="rId14" Type="http://schemas.openxmlformats.org/officeDocument/2006/relationships/slideLayout" Target="../slideLayouts/slideLayout49.xml"/><Relationship Id="rId22" Type="http://schemas.openxmlformats.org/officeDocument/2006/relationships/slideLayout" Target="../slideLayouts/slideLayout57.xml"/><Relationship Id="rId27" Type="http://schemas.openxmlformats.org/officeDocument/2006/relationships/slideLayout" Target="../slideLayouts/slideLayout62.xml"/><Relationship Id="rId30" Type="http://schemas.openxmlformats.org/officeDocument/2006/relationships/slideLayout" Target="../slideLayouts/slideLayout65.xml"/><Relationship Id="rId35" Type="http://schemas.openxmlformats.org/officeDocument/2006/relationships/tags" Target="../tags/tag8.xml"/><Relationship Id="rId8" Type="http://schemas.openxmlformats.org/officeDocument/2006/relationships/slideLayout" Target="../slideLayouts/slideLayout4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DEAAD922-EA03-4217-A070-4B0BFD26913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2457" y="332657"/>
            <a:ext cx="10944225" cy="1080120"/>
          </a:xfrm>
          <a:prstGeom prst="rect">
            <a:avLst/>
          </a:prstGeom>
        </p:spPr>
        <p:txBody>
          <a:bodyPr vert="horz" lIns="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DCD6E9F-29AC-4892-A3B9-571A571A8B1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3888" y="1628775"/>
            <a:ext cx="10932794" cy="4608513"/>
          </a:xfrm>
          <a:prstGeom prst="rect">
            <a:avLst/>
          </a:prstGeom>
        </p:spPr>
        <p:txBody>
          <a:bodyPr vert="horz" lIns="0" tIns="0" rIns="91440" bIns="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7DC1630-F4E1-49AD-80CC-27089223D14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80576" y="6365040"/>
            <a:ext cx="287536" cy="293663"/>
          </a:xfrm>
          <a:prstGeom prst="rect">
            <a:avLst/>
          </a:prstGeom>
        </p:spPr>
        <p:txBody>
          <a:bodyPr vert="horz" lIns="91440" tIns="45720" rIns="0" bIns="45720" rtlCol="0" anchor="ctr"/>
          <a:lstStyle>
            <a:lvl1pPr algn="r">
              <a:defRPr sz="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DB84476-BC29-4407-9D57-B2E562B8968B}" type="slidenum">
              <a:rPr lang="en-US" smtClean="0"/>
              <a:pPr/>
              <a:t>‹#›</a:t>
            </a:fld>
            <a:endParaRPr lang="en-US"/>
          </a:p>
        </p:txBody>
      </p:sp>
    </p:spTree>
    <p:custDataLst>
      <p:tags r:id="rId37"/>
    </p:custDataLst>
    <p:extLst>
      <p:ext uri="{BB962C8B-B14F-4D97-AF65-F5344CB8AC3E}">
        <p14:creationId xmlns:p14="http://schemas.microsoft.com/office/powerpoint/2010/main" val="13944471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72" r:id="rId1"/>
    <p:sldLayoutId id="2147483973" r:id="rId2"/>
    <p:sldLayoutId id="2147483974" r:id="rId3"/>
    <p:sldLayoutId id="2147483976" r:id="rId4"/>
    <p:sldLayoutId id="2147483977" r:id="rId5"/>
    <p:sldLayoutId id="2147483978" r:id="rId6"/>
    <p:sldLayoutId id="2147483979" r:id="rId7"/>
    <p:sldLayoutId id="2147484003" r:id="rId8"/>
    <p:sldLayoutId id="2147483980" r:id="rId9"/>
    <p:sldLayoutId id="2147483981" r:id="rId10"/>
    <p:sldLayoutId id="2147483999" r:id="rId11"/>
    <p:sldLayoutId id="2147483982" r:id="rId12"/>
    <p:sldLayoutId id="2147483983" r:id="rId13"/>
    <p:sldLayoutId id="2147483984" r:id="rId14"/>
    <p:sldLayoutId id="2147484000" r:id="rId15"/>
    <p:sldLayoutId id="2147484001" r:id="rId16"/>
    <p:sldLayoutId id="2147484002" r:id="rId17"/>
    <p:sldLayoutId id="2147483985" r:id="rId18"/>
    <p:sldLayoutId id="2147483986" r:id="rId19"/>
    <p:sldLayoutId id="2147483988" r:id="rId20"/>
    <p:sldLayoutId id="2147483991" r:id="rId21"/>
    <p:sldLayoutId id="2147483992" r:id="rId22"/>
    <p:sldLayoutId id="2147483995" r:id="rId23"/>
    <p:sldLayoutId id="2147483994" r:id="rId24"/>
    <p:sldLayoutId id="2147483997" r:id="rId25"/>
    <p:sldLayoutId id="2147483998" r:id="rId26"/>
    <p:sldLayoutId id="2147484004" r:id="rId27"/>
    <p:sldLayoutId id="2147484034" r:id="rId28"/>
    <p:sldLayoutId id="2147484035" r:id="rId29"/>
    <p:sldLayoutId id="2147484036" r:id="rId30"/>
    <p:sldLayoutId id="2147484043" r:id="rId31"/>
    <p:sldLayoutId id="2147484044" r:id="rId32"/>
    <p:sldLayoutId id="2147484045" r:id="rId33"/>
    <p:sldLayoutId id="2147484046" r:id="rId34"/>
    <p:sldLayoutId id="2147484048" r:id="rId35"/>
  </p:sldLayoutIdLst>
  <p:hf hd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3000" b="1" kern="1200">
          <a:solidFill>
            <a:schemeClr val="tx1"/>
          </a:solidFill>
          <a:latin typeface="+mj-lt"/>
          <a:ea typeface="+mj-ea"/>
          <a:cs typeface="Arial" panose="020B0604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1800" b="1" kern="1200">
          <a:solidFill>
            <a:schemeClr val="tx1"/>
          </a:solidFill>
          <a:latin typeface="+mj-lt"/>
          <a:ea typeface="+mn-ea"/>
          <a:cs typeface="Arial" panose="020B0604020202020204" pitchFamily="34" charset="0"/>
        </a:defRPr>
      </a:lvl1pPr>
      <a:lvl2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2pPr>
      <a:lvl3pPr marL="176213" indent="-176213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3pPr>
      <a:lvl4pPr marL="452438" indent="-187325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4pPr>
      <a:lvl5pPr marL="717550" indent="-176213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pos="7287" userDrawn="1">
          <p15:clr>
            <a:srgbClr val="F26B43"/>
          </p15:clr>
        </p15:guide>
        <p15:guide id="5" orient="horz" pos="210" userDrawn="1">
          <p15:clr>
            <a:srgbClr val="F26B43"/>
          </p15:clr>
        </p15:guide>
        <p15:guide id="6" orient="horz" pos="3929" userDrawn="1">
          <p15:clr>
            <a:srgbClr val="F26B43"/>
          </p15:clr>
        </p15:guide>
        <p15:guide id="7" pos="393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DEAAD922-EA03-4217-A070-4B0BFD26913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2457" y="332657"/>
            <a:ext cx="10944225" cy="1080120"/>
          </a:xfrm>
          <a:prstGeom prst="rect">
            <a:avLst/>
          </a:prstGeom>
        </p:spPr>
        <p:txBody>
          <a:bodyPr vert="horz" lIns="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DCD6E9F-29AC-4892-A3B9-571A571A8B1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3888" y="1628775"/>
            <a:ext cx="10932794" cy="4608513"/>
          </a:xfrm>
          <a:prstGeom prst="rect">
            <a:avLst/>
          </a:prstGeom>
        </p:spPr>
        <p:txBody>
          <a:bodyPr vert="horz" lIns="0" tIns="0" rIns="91440" bIns="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7DC1630-F4E1-49AD-80CC-27089223D14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80576" y="6365040"/>
            <a:ext cx="287536" cy="293663"/>
          </a:xfrm>
          <a:prstGeom prst="rect">
            <a:avLst/>
          </a:prstGeom>
        </p:spPr>
        <p:txBody>
          <a:bodyPr vert="horz" lIns="91440" tIns="45720" rIns="0" bIns="45720" rtlCol="0" anchor="ctr"/>
          <a:lstStyle>
            <a:lvl1pPr algn="r">
              <a:defRPr sz="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DB84476-BC29-4407-9D57-B2E562B8968B}" type="slidenum">
              <a:rPr lang="en-US" smtClean="0"/>
              <a:pPr/>
              <a:t>‹#›</a:t>
            </a:fld>
            <a:endParaRPr lang="en-US"/>
          </a:p>
        </p:txBody>
      </p:sp>
    </p:spTree>
    <p:custDataLst>
      <p:tags r:id="rId35"/>
    </p:custDataLst>
    <p:extLst>
      <p:ext uri="{BB962C8B-B14F-4D97-AF65-F5344CB8AC3E}">
        <p14:creationId xmlns:p14="http://schemas.microsoft.com/office/powerpoint/2010/main" val="33504328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06" r:id="rId1"/>
    <p:sldLayoutId id="2147484007" r:id="rId2"/>
    <p:sldLayoutId id="2147484008" r:id="rId3"/>
    <p:sldLayoutId id="2147484009" r:id="rId4"/>
    <p:sldLayoutId id="2147484010" r:id="rId5"/>
    <p:sldLayoutId id="2147484011" r:id="rId6"/>
    <p:sldLayoutId id="2147484012" r:id="rId7"/>
    <p:sldLayoutId id="2147484013" r:id="rId8"/>
    <p:sldLayoutId id="2147484014" r:id="rId9"/>
    <p:sldLayoutId id="2147484015" r:id="rId10"/>
    <p:sldLayoutId id="2147484016" r:id="rId11"/>
    <p:sldLayoutId id="2147484017" r:id="rId12"/>
    <p:sldLayoutId id="2147484018" r:id="rId13"/>
    <p:sldLayoutId id="2147484019" r:id="rId14"/>
    <p:sldLayoutId id="2147484020" r:id="rId15"/>
    <p:sldLayoutId id="2147484021" r:id="rId16"/>
    <p:sldLayoutId id="2147484022" r:id="rId17"/>
    <p:sldLayoutId id="2147484023" r:id="rId18"/>
    <p:sldLayoutId id="2147484024" r:id="rId19"/>
    <p:sldLayoutId id="2147484025" r:id="rId20"/>
    <p:sldLayoutId id="2147484026" r:id="rId21"/>
    <p:sldLayoutId id="2147484027" r:id="rId22"/>
    <p:sldLayoutId id="2147484028" r:id="rId23"/>
    <p:sldLayoutId id="2147484029" r:id="rId24"/>
    <p:sldLayoutId id="2147484030" r:id="rId25"/>
    <p:sldLayoutId id="2147484031" r:id="rId26"/>
    <p:sldLayoutId id="2147484033" r:id="rId27"/>
    <p:sldLayoutId id="2147484037" r:id="rId28"/>
    <p:sldLayoutId id="2147484038" r:id="rId29"/>
    <p:sldLayoutId id="2147484039" r:id="rId30"/>
    <p:sldLayoutId id="2147484040" r:id="rId31"/>
    <p:sldLayoutId id="2147484041" r:id="rId32"/>
    <p:sldLayoutId id="2147484042" r:id="rId33"/>
  </p:sldLayoutIdLst>
  <p:hf hd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3000" b="1" kern="1200">
          <a:solidFill>
            <a:schemeClr val="tx1"/>
          </a:solidFill>
          <a:latin typeface="+mj-lt"/>
          <a:ea typeface="+mj-ea"/>
          <a:cs typeface="Arial" panose="020B0604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1800" b="1" kern="1200">
          <a:solidFill>
            <a:schemeClr val="tx1"/>
          </a:solidFill>
          <a:latin typeface="+mj-lt"/>
          <a:ea typeface="+mn-ea"/>
          <a:cs typeface="Arial" panose="020B0604020202020204" pitchFamily="34" charset="0"/>
        </a:defRPr>
      </a:lvl1pPr>
      <a:lvl2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2pPr>
      <a:lvl3pPr marL="176213" indent="-176213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3pPr>
      <a:lvl4pPr marL="452438" indent="-187325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4pPr>
      <a:lvl5pPr marL="717550" indent="-176213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pos="7287">
          <p15:clr>
            <a:srgbClr val="F26B43"/>
          </p15:clr>
        </p15:guide>
        <p15:guide id="5" orient="horz" pos="210">
          <p15:clr>
            <a:srgbClr val="F26B43"/>
          </p15:clr>
        </p15:guide>
        <p15:guide id="6" orient="horz" pos="3929">
          <p15:clr>
            <a:srgbClr val="F26B43"/>
          </p15:clr>
        </p15:guide>
        <p15:guide id="7" pos="393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3" Type="http://schemas.openxmlformats.org/officeDocument/2006/relationships/image" Target="../media/image15.png"/><Relationship Id="rId7" Type="http://schemas.openxmlformats.org/officeDocument/2006/relationships/image" Target="../media/image19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8.png"/><Relationship Id="rId5" Type="http://schemas.openxmlformats.org/officeDocument/2006/relationships/image" Target="../media/image17.png"/><Relationship Id="rId4" Type="http://schemas.openxmlformats.org/officeDocument/2006/relationships/image" Target="../media/image16.png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4.xml"/></Relationships>
</file>

<file path=ppt/slides/_rels/slide10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10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10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5.xml"/></Relationships>
</file>

<file path=ppt/slides/_rels/slide10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10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10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10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10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10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10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1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1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1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1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1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1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35.xml"/></Relationships>
</file>

<file path=ppt/slides/_rels/slide1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5.xml"/></Relationships>
</file>

<file path=ppt/slides/_rels/slide1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6.png"/></Relationships>
</file>

<file path=ppt/slides/_rels/slide1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5.xml"/></Relationships>
</file>

<file path=ppt/slides/_rels/slide1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1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1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1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1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5.xml"/></Relationships>
</file>

<file path=ppt/slides/_rels/slide1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1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1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12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35.xml"/></Relationships>
</file>

<file path=ppt/slides/_rels/slide1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5.xml"/></Relationships>
</file>

<file path=ppt/slides/_rels/slide1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6.png"/><Relationship Id="rId4" Type="http://schemas.openxmlformats.org/officeDocument/2006/relationships/image" Target="../media/image15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4.xml"/></Relationships>
</file>

<file path=ppt/slides/_rels/slide13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25.xml"/></Relationships>
</file>

<file path=ppt/slides/_rels/slide1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1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1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1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13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25.xml"/></Relationships>
</file>

<file path=ppt/slides/_rels/slide1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1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13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25.xml"/></Relationships>
</file>

<file path=ppt/slides/_rels/slide13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24.png"/></Relationships>
</file>

<file path=ppt/slides/_rels/slide1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14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25.xml"/></Relationships>
</file>

<file path=ppt/slides/_rels/slide14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35.xml"/></Relationships>
</file>

<file path=ppt/slides/_rels/slide14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5.xml"/></Relationships>
</file>

<file path=ppt/slides/_rels/slide1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6.png"/></Relationships>
</file>

<file path=ppt/slides/_rels/slide14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25.xml"/></Relationships>
</file>

<file path=ppt/slides/_rels/slide14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14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14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14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15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15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15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15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15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15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15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1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15.xml"/></Relationships>
</file>

<file path=ppt/slides/_rels/slide1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0.png"/><Relationship Id="rId1" Type="http://schemas.openxmlformats.org/officeDocument/2006/relationships/slideLayout" Target="../slideLayouts/slideLayout15.xml"/></Relationships>
</file>

<file path=ppt/slides/_rels/slide1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image" Target="../media/image47.png"/><Relationship Id="rId1" Type="http://schemas.openxmlformats.org/officeDocument/2006/relationships/slideLayout" Target="../slideLayouts/slideLayout15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4.xml"/></Relationships>
</file>

<file path=ppt/slides/_rels/slide1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6.png"/></Relationships>
</file>

<file path=ppt/slides/_rels/slide1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20.png"/><Relationship Id="rId4" Type="http://schemas.openxmlformats.org/officeDocument/2006/relationships/image" Target="../media/image16.png"/></Relationships>
</file>

<file path=ppt/slides/_rels/slide16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16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16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16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25.xml"/></Relationships>
</file>

<file path=ppt/slides/_rels/slide16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16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16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16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1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14.xml"/></Relationships>
</file>

<file path=ppt/slides/_rels/slide17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1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6.png"/></Relationships>
</file>

<file path=ppt/slides/_rels/slide1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2.png"/><Relationship Id="rId1" Type="http://schemas.openxmlformats.org/officeDocument/2006/relationships/slideLayout" Target="../slideLayouts/slideLayout25.xml"/></Relationships>
</file>

<file path=ppt/slides/_rels/slide17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17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17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17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17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17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18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18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18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18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35.xml"/></Relationships>
</file>

<file path=ppt/slides/_rels/slide18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5.xml"/></Relationships>
</file>

<file path=ppt/slides/_rels/slide1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6.png"/><Relationship Id="rId4" Type="http://schemas.openxmlformats.org/officeDocument/2006/relationships/image" Target="../media/image15.png"/></Relationships>
</file>

<file path=ppt/slides/_rels/slide18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25.xml"/></Relationships>
</file>

<file path=ppt/slides/_rels/slide18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16.xml"/></Relationships>
</file>

<file path=ppt/slides/_rels/slide18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1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6.png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19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1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3.png"/><Relationship Id="rId1" Type="http://schemas.openxmlformats.org/officeDocument/2006/relationships/slideLayout" Target="../slideLayouts/slideLayout14.xml"/></Relationships>
</file>

<file path=ppt/slides/_rels/slide1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image" Target="../media/image47.png"/><Relationship Id="rId1" Type="http://schemas.openxmlformats.org/officeDocument/2006/relationships/slideLayout" Target="../slideLayouts/slideLayout14.xml"/></Relationships>
</file>

<file path=ppt/slides/_rels/slide19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54.png"/><Relationship Id="rId4" Type="http://schemas.openxmlformats.org/officeDocument/2006/relationships/image" Target="../media/image16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4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5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6.png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5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5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6.png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5.xml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3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4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4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4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4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4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4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4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4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6.png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5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5.xml"/></Relationships>
</file>

<file path=ppt/slides/_rels/slide5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5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5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5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35.xml"/></Relationships>
</file>

<file path=ppt/slides/_rels/slide5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5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5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5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5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5.xml"/><Relationship Id="rId4" Type="http://schemas.openxmlformats.org/officeDocument/2006/relationships/image" Target="../media/image22.png"/></Relationships>
</file>

<file path=ppt/slides/_rels/slide6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6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6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6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6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9.xml"/></Relationships>
</file>

<file path=ppt/slides/_rels/slide6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9.xml"/></Relationships>
</file>

<file path=ppt/slides/_rels/slide6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9.xml"/></Relationships>
</file>

<file path=ppt/slides/_rels/slide6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9.xml"/></Relationships>
</file>

<file path=ppt/slides/_rels/slide6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5.xml"/></Relationships>
</file>

<file path=ppt/slides/_rels/slide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5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52.xml"/></Relationships>
</file>

<file path=ppt/slides/_rels/slide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52.xml"/></Relationships>
</file>

<file path=ppt/slides/_rels/slide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52.xml"/></Relationships>
</file>

<file path=ppt/slides/_rels/slide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52.xml"/></Relationships>
</file>

<file path=ppt/slides/_rels/slide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52.xml"/></Relationships>
</file>

<file path=ppt/slides/_rels/slide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52.xml"/></Relationships>
</file>

<file path=ppt/slides/_rels/slide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7" Type="http://schemas.openxmlformats.org/officeDocument/2006/relationships/image" Target="../media/image39.png"/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52.xml"/><Relationship Id="rId6" Type="http://schemas.openxmlformats.org/officeDocument/2006/relationships/image" Target="../media/image38.png"/><Relationship Id="rId5" Type="http://schemas.openxmlformats.org/officeDocument/2006/relationships/image" Target="../media/image37.png"/><Relationship Id="rId4" Type="http://schemas.openxmlformats.org/officeDocument/2006/relationships/image" Target="../media/image36.png"/></Relationships>
</file>

<file path=ppt/slides/_rels/slide7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5.xml"/></Relationships>
</file>

<file path=ppt/slides/_rels/slide7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7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8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8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21.xml"/></Relationships>
</file>

<file path=ppt/slides/_rels/slide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21.xml"/></Relationships>
</file>

<file path=ppt/slides/_rels/slide8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85.xml.rels><?xml version="1.0" encoding="UTF-8" standalone="yes"?>
<Relationships xmlns="http://schemas.openxmlformats.org/package/2006/relationships"><Relationship Id="rId8" Type="http://schemas.openxmlformats.org/officeDocument/2006/relationships/hyperlink" Target="https://docs.google.com/forms/d/1buSZdlEIGTHWYWIliZqhRRiKc5zK62c4qCq1BFkTfOo/edit#responses" TargetMode="External"/><Relationship Id="rId3" Type="http://schemas.openxmlformats.org/officeDocument/2006/relationships/diagramLayout" Target="../diagrams/layout1.xml"/><Relationship Id="rId7" Type="http://schemas.openxmlformats.org/officeDocument/2006/relationships/hyperlink" Target="https://docs.google.com/forms/d/15tKgY_pQluEd8gIk740OxgMlZRuy9PMz2q0aur6qNRw/edit#responses" TargetMode="Externa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1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10" Type="http://schemas.openxmlformats.org/officeDocument/2006/relationships/image" Target="../media/image42.png"/><Relationship Id="rId4" Type="http://schemas.openxmlformats.org/officeDocument/2006/relationships/diagramQuickStyle" Target="../diagrams/quickStyle1.xml"/><Relationship Id="rId9" Type="http://schemas.openxmlformats.org/officeDocument/2006/relationships/image" Target="../media/image41.png"/></Relationships>
</file>

<file path=ppt/slides/_rels/slide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jpeg"/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21.xml"/></Relationships>
</file>

<file path=ppt/slides/_rels/slide87.xml.rels><?xml version="1.0" encoding="UTF-8" standalone="yes"?>
<Relationships xmlns="http://schemas.openxmlformats.org/package/2006/relationships"><Relationship Id="rId2" Type="http://schemas.openxmlformats.org/officeDocument/2006/relationships/hyperlink" Target="https://docs.google.com/spreadsheets/d/1rhX_iGf8g1tBfW-WM9s8gm2a_KvNMJV57O7-fKFTt7U/edit?gid=0#gid=0" TargetMode="External"/><Relationship Id="rId1" Type="http://schemas.openxmlformats.org/officeDocument/2006/relationships/slideLayout" Target="../slideLayouts/slideLayout21.xml"/></Relationships>
</file>

<file path=ppt/slides/_rels/slide8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8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5.xml"/></Relationships>
</file>

<file path=ppt/slides/_rels/slide9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9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5.png"/><Relationship Id="rId1" Type="http://schemas.openxmlformats.org/officeDocument/2006/relationships/slideLayout" Target="../slideLayouts/slideLayout14.xml"/></Relationships>
</file>

<file path=ppt/slides/_rels/slide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png"/><Relationship Id="rId1" Type="http://schemas.openxmlformats.org/officeDocument/2006/relationships/slideLayout" Target="../slideLayouts/slideLayout14.xml"/></Relationships>
</file>

<file path=ppt/slides/_rels/slide9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image" Target="../media/image47.png"/><Relationship Id="rId1" Type="http://schemas.openxmlformats.org/officeDocument/2006/relationships/slideLayout" Target="../slideLayouts/slideLayout14.xml"/></Relationships>
</file>

<file path=ppt/slides/_rels/slide9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6.png"/></Relationships>
</file>

<file path=ppt/slides/_rels/slide9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20.png"/><Relationship Id="rId4" Type="http://schemas.openxmlformats.org/officeDocument/2006/relationships/image" Target="../media/image16.png"/></Relationships>
</file>

<file path=ppt/slides/_rels/slide9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9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9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0348C551-D5EF-DBC3-A450-7B8EE21F2D2D}"/>
              </a:ext>
            </a:extLst>
          </p:cNvPr>
          <p:cNvSpPr/>
          <p:nvPr/>
        </p:nvSpPr>
        <p:spPr>
          <a:xfrm>
            <a:off x="552450" y="219075"/>
            <a:ext cx="1943100" cy="12287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noProof="1"/>
          </a:p>
        </p:txBody>
      </p:sp>
      <p:pic>
        <p:nvPicPr>
          <p:cNvPr id="10" name="Picture 9" descr="A blue flag with yellow stars&#10;&#10;AI-generated content may be incorrect.">
            <a:extLst>
              <a:ext uri="{FF2B5EF4-FFF2-40B4-BE49-F238E27FC236}">
                <a16:creationId xmlns:a16="http://schemas.microsoft.com/office/drawing/2014/main" id="{D47A08AA-7980-CD5B-DCD8-86B335FE941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67" r="-524" b="5181"/>
          <a:stretch>
            <a:fillRect/>
          </a:stretch>
        </p:blipFill>
        <p:spPr bwMode="auto">
          <a:xfrm>
            <a:off x="8496569" y="89083"/>
            <a:ext cx="1783073" cy="1715333"/>
          </a:xfrm>
          <a:prstGeom prst="rect">
            <a:avLst/>
          </a:prstGeom>
          <a:noFill/>
        </p:spPr>
      </p:pic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57B5FC55-666B-CE59-E9AA-B8A53461048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/>
        <p:txBody>
          <a:bodyPr/>
          <a:lstStyle/>
          <a:p>
            <a:endParaRPr lang="ru-RU" noProof="1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8CEDA95A-B598-9502-C566-527C9CABE75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ru-RU" noProof="1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6B909D97-8EB0-8B8A-4747-8FAF0C5F81C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ru-RU" noProof="1"/>
          </a:p>
        </p:txBody>
      </p:sp>
      <p:pic>
        <p:nvPicPr>
          <p:cNvPr id="12" name="Picture 11" descr="A blue text on a black background&#10;&#10;AI-generated content may be incorrect.">
            <a:extLst>
              <a:ext uri="{FF2B5EF4-FFF2-40B4-BE49-F238E27FC236}">
                <a16:creationId xmlns:a16="http://schemas.microsoft.com/office/drawing/2014/main" id="{03396516-063D-FCD0-1C91-90995882DD4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5293" y="89083"/>
            <a:ext cx="2030830" cy="1224303"/>
          </a:xfrm>
          <a:prstGeom prst="rect">
            <a:avLst/>
          </a:prstGeom>
          <a:noFill/>
        </p:spPr>
      </p:pic>
      <p:pic>
        <p:nvPicPr>
          <p:cNvPr id="15" name="Picture 14" descr="A logo with stars and text&#10;&#10;AI-generated content may be incorrect.">
            <a:extLst>
              <a:ext uri="{FF2B5EF4-FFF2-40B4-BE49-F238E27FC236}">
                <a16:creationId xmlns:a16="http://schemas.microsoft.com/office/drawing/2014/main" id="{D5C9E788-778A-9258-519F-B63250762F13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81196" y="5210046"/>
            <a:ext cx="2111127" cy="1713490"/>
          </a:xfrm>
          <a:prstGeom prst="rect">
            <a:avLst/>
          </a:prstGeom>
        </p:spPr>
      </p:pic>
      <p:sp>
        <p:nvSpPr>
          <p:cNvPr id="3" name="Title 6">
            <a:extLst>
              <a:ext uri="{FF2B5EF4-FFF2-40B4-BE49-F238E27FC236}">
                <a16:creationId xmlns:a16="http://schemas.microsoft.com/office/drawing/2014/main" id="{924162AC-E35F-46D0-FE00-45801D67DC26}"/>
              </a:ext>
            </a:extLst>
          </p:cNvPr>
          <p:cNvSpPr>
            <a:spLocks noGrp="1"/>
          </p:cNvSpPr>
          <p:nvPr/>
        </p:nvSpPr>
        <p:spPr>
          <a:xfrm>
            <a:off x="554249" y="1903704"/>
            <a:ext cx="6911378" cy="3305217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1600" b="0" kern="1200">
                <a:solidFill>
                  <a:schemeClr val="tx1"/>
                </a:solidFill>
                <a:latin typeface="+mj-lt"/>
                <a:ea typeface="+mj-ea"/>
                <a:cs typeface="Arial" panose="020B0604020202020204" pitchFamily="34" charset="0"/>
              </a:defRPr>
            </a:lvl1pPr>
          </a:lstStyle>
          <a:p>
            <a:pPr algn="ctr"/>
            <a:r>
              <a:rPr lang="ru-RU" sz="2400" b="1" noProof="1">
                <a:cs typeface="Arial"/>
              </a:rPr>
              <a:t>DARYA SCAFFOLD  </a:t>
            </a:r>
          </a:p>
          <a:p>
            <a:pPr algn="ctr"/>
            <a:r>
              <a:rPr lang="ru-RU" sz="2400" b="1" noProof="1">
                <a:cs typeface="Arial"/>
              </a:rPr>
              <a:t>Трёхдневный тренинг по профессиональному развитию педагогов для специалистов и тренеров</a:t>
            </a:r>
            <a:endParaRPr lang="ru-RU" sz="1400" b="1" noProof="1">
              <a:cs typeface="Arial"/>
            </a:endParaRPr>
          </a:p>
          <a:p>
            <a:pPr algn="ctr"/>
            <a:endParaRPr lang="ru-RU" sz="2400" b="1" noProof="1">
              <a:cs typeface="Arial"/>
            </a:endParaRPr>
          </a:p>
          <a:p>
            <a:pPr algn="ctr"/>
            <a:r>
              <a:rPr lang="ru-RU" sz="2400" b="1" noProof="1">
                <a:cs typeface="Arial"/>
              </a:rPr>
              <a:t>День 1</a:t>
            </a:r>
            <a:endParaRPr lang="ru-RU" sz="2400" noProof="1">
              <a:cs typeface="Arial"/>
            </a:endParaRPr>
          </a:p>
          <a:p>
            <a:pPr algn="ctr"/>
            <a:endParaRPr lang="ru-RU" sz="3200" b="1" noProof="1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9919C325-6162-5C13-0837-7E53D763C3D4}"/>
              </a:ext>
            </a:extLst>
          </p:cNvPr>
          <p:cNvSpPr txBox="1"/>
          <p:nvPr/>
        </p:nvSpPr>
        <p:spPr>
          <a:xfrm>
            <a:off x="836541" y="4645068"/>
            <a:ext cx="6096000" cy="1107996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ru-RU" sz="2400" b="1" cap="all" noProof="1">
                <a:solidFill>
                  <a:srgbClr val="000000"/>
                </a:solidFill>
              </a:rPr>
              <a:t>27-29</a:t>
            </a:r>
            <a:r>
              <a:rPr lang="ru-RU" sz="2400" b="1" cap="all" noProof="1"/>
              <a:t> апреля 2026 г., </a:t>
            </a:r>
          </a:p>
          <a:p>
            <a:pPr algn="ctr"/>
            <a:r>
              <a:rPr lang="ru-RU" sz="2400" b="1" cap="all" noProof="1">
                <a:cs typeface="Arial"/>
              </a:rPr>
              <a:t>Алматы, Казахстан</a:t>
            </a:r>
            <a:endParaRPr lang="ru-RU" sz="2400" b="1" noProof="1">
              <a:cs typeface="Arial" panose="020B0604020202020204"/>
            </a:endParaRPr>
          </a:p>
          <a:p>
            <a:pPr algn="ctr"/>
            <a:endParaRPr lang="ru-RU" noProof="1">
              <a:cs typeface="Arial"/>
            </a:endParaRPr>
          </a:p>
        </p:txBody>
      </p:sp>
      <p:pic>
        <p:nvPicPr>
          <p:cNvPr id="1029" name="Picture 5" descr="Text Box 3, Textbox">
            <a:extLst>
              <a:ext uri="{FF2B5EF4-FFF2-40B4-BE49-F238E27FC236}">
                <a16:creationId xmlns:a16="http://schemas.microsoft.com/office/drawing/2014/main" id="{3F2D88D1-4C4B-F46D-AC1B-304445EE8C3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32425" y="-6850063"/>
            <a:ext cx="3327400" cy="1219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0" name="Picture 6" descr="Text Box 8, Textbox">
            <a:extLst>
              <a:ext uri="{FF2B5EF4-FFF2-40B4-BE49-F238E27FC236}">
                <a16:creationId xmlns:a16="http://schemas.microsoft.com/office/drawing/2014/main" id="{06209B87-3CCF-EE0C-E3A5-65304335819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42388" y="-6850063"/>
            <a:ext cx="3327400" cy="914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1" name="Picture 7">
            <a:extLst>
              <a:ext uri="{FF2B5EF4-FFF2-40B4-BE49-F238E27FC236}">
                <a16:creationId xmlns:a16="http://schemas.microsoft.com/office/drawing/2014/main" id="{F1E753E8-60C9-872A-FA67-368EE4805F7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374465" y="-6398869"/>
            <a:ext cx="10083800" cy="1427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20E83148-6923-5F68-514C-B743EEC12BBE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20012" y="-1"/>
            <a:ext cx="1528861" cy="15288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3199534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2058DA9-A1C2-F429-7EFE-076C027DAF6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DB84476-BC29-4407-9D57-B2E562B8968B}" type="slidenum">
              <a:rPr lang="ru-RU" noProof="1" smtClean="0"/>
              <a:pPr/>
              <a:t>10</a:t>
            </a:fld>
            <a:endParaRPr lang="ru-RU" noProof="1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B625DAD-1274-D11F-B942-868D9D9275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noProof="1"/>
              <a:t>Ожидаемые результаты: 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B10B28C9-F0A2-E469-1810-0310D7AAFFE1}"/>
              </a:ext>
            </a:extLst>
          </p:cNvPr>
          <p:cNvSpPr txBox="1"/>
          <p:nvPr/>
        </p:nvSpPr>
        <p:spPr>
          <a:xfrm>
            <a:off x="635317" y="1502564"/>
            <a:ext cx="10294953" cy="201593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indent="-342900">
              <a:buFont typeface="+mj-lt"/>
              <a:buAutoNum type="arabicPeriod"/>
            </a:pPr>
            <a:r>
              <a:rPr lang="ru-RU" sz="2500" noProof="1">
                <a:solidFill>
                  <a:schemeClr val="bg1"/>
                </a:solidFill>
                <a:latin typeface="Arial" panose="020B0604020202020204" pitchFamily="34" charset="0"/>
                <a:ea typeface="Georgia" pitchFamily="34" charset="-122"/>
                <a:cs typeface="Arial" panose="020B0604020202020204" pitchFamily="34" charset="0"/>
              </a:rPr>
              <a:t>Обсудить ключевые характеристики (индикаторы качества) эффективного профессионального развития педагогов</a:t>
            </a:r>
          </a:p>
          <a:p>
            <a:pPr marL="342900" indent="-342900">
              <a:buFont typeface="+mj-lt"/>
              <a:buAutoNum type="arabicPeriod"/>
            </a:pPr>
            <a:r>
              <a:rPr lang="ru-RU" sz="2500" noProof="1">
                <a:solidFill>
                  <a:schemeClr val="bg1"/>
                </a:solidFill>
                <a:latin typeface="Arial" panose="020B0604020202020204" pitchFamily="34" charset="0"/>
                <a:ea typeface="Georgia" pitchFamily="34" charset="-122"/>
                <a:cs typeface="Arial" panose="020B0604020202020204" pitchFamily="34" charset="0"/>
              </a:rPr>
              <a:t>Применить индикаторы качества к различным контекстам</a:t>
            </a:r>
          </a:p>
          <a:p>
            <a:pPr marL="342900" indent="-342900">
              <a:buFont typeface="+mj-lt"/>
              <a:buAutoNum type="arabicPeriod"/>
            </a:pPr>
            <a:r>
              <a:rPr lang="ru-RU" sz="2500" noProof="1">
                <a:solidFill>
                  <a:schemeClr val="bg1"/>
                </a:solidFill>
                <a:latin typeface="Arial" panose="020B0604020202020204" pitchFamily="34" charset="0"/>
                <a:ea typeface="Georgia" pitchFamily="34" charset="-122"/>
                <a:cs typeface="Arial" panose="020B0604020202020204" pitchFamily="34" charset="0"/>
              </a:rPr>
              <a:t>Определить предпочтительные формы профессионального развития педагогов</a:t>
            </a:r>
          </a:p>
        </p:txBody>
      </p:sp>
    </p:spTree>
    <p:extLst>
      <p:ext uri="{BB962C8B-B14F-4D97-AF65-F5344CB8AC3E}">
        <p14:creationId xmlns:p14="http://schemas.microsoft.com/office/powerpoint/2010/main" val="315826965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0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343CCA8-5529-21E9-D1DC-14BC75F568D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noProof="1"/>
              <a:t>Ваши вопросы и сомнения  — ответы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BE0D665-EF84-4FF2-220A-BB444F6A22C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DB84476-BC29-4407-9D57-B2E562B8968B}" type="slidenum">
              <a:rPr lang="ru-RU" noProof="1" smtClean="0"/>
              <a:pPr/>
              <a:t>100</a:t>
            </a:fld>
            <a:endParaRPr lang="ru-RU" noProof="1"/>
          </a:p>
        </p:txBody>
      </p:sp>
      <p:sp>
        <p:nvSpPr>
          <p:cNvPr id="4" name="Rectangle 1">
            <a:extLst>
              <a:ext uri="{FF2B5EF4-FFF2-40B4-BE49-F238E27FC236}">
                <a16:creationId xmlns:a16="http://schemas.microsoft.com/office/drawing/2014/main" id="{F96B4FCC-52C3-4987-752E-CE9C8E5CBA87}"/>
              </a:ext>
            </a:extLst>
          </p:cNvPr>
          <p:cNvSpPr>
            <a:spLocks noChangeArrowheads="1"/>
          </p:cNvSpPr>
          <p:nvPr/>
        </p:nvSpPr>
        <p:spPr bwMode="auto">
          <a:xfrm>
            <a:off x="513397" y="1488890"/>
            <a:ext cx="11066145" cy="526297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2100" b="1" u="none" strike="noStrike" cap="none" normalizeH="0" baseline="0" noProof="1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Вопрос: Что делает профессиональное развитие педагогов действительно эффективным?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2100" b="0" i="0" u="none" strike="noStrike" cap="none" normalizeH="0" baseline="0" noProof="1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Ответ: Смотрите индикаторы качества. Влияние. Изменения. Результаты. Улучшение обучения. Уверенность. Пример: педагоги продолжают использовать стратегию, потому что результаты улучшаются. Нужно подумать о том, как измерять эту эффективность (например, см. карточки SCAFFOLD «Методы оценки»).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2100" b="0" i="0" u="none" strike="noStrike" cap="none" normalizeH="0" baseline="0" noProof="1">
              <a:ln>
                <a:noFill/>
              </a:ln>
              <a:solidFill>
                <a:schemeClr val="bg1"/>
              </a:solidFill>
              <a:effectLst/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2100" b="1" u="none" strike="noStrike" cap="none" normalizeH="0" baseline="0" noProof="1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Вопрос: Как обеспечить, чтобы профессиональное развитие было устойчивым в реальной школьной практике?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2100" b="0" i="0" u="none" strike="noStrike" cap="none" normalizeH="0" baseline="0" noProof="1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Ответ: Начинайте с малых шагов — не будьте чрезмерно амбициозны. Коллегам нужно увидеть потенциальную пользу [«А что нам с этого?»]. Поддержка руководства критически важна. Именно руководители принимают решения по таким вопросам, как учебное время, ресурсы и т. д. Поэтому вам нужно убедить их в ценности профессионального развития педагогов: например, оно соответствует их приоритетам; даёт потенциальную пользу обучающимся; это долгосрочная инвестиция; это более рациональные способы работы.</a:t>
            </a:r>
          </a:p>
        </p:txBody>
      </p:sp>
    </p:spTree>
    <p:extLst>
      <p:ext uri="{BB962C8B-B14F-4D97-AF65-F5344CB8AC3E}">
        <p14:creationId xmlns:p14="http://schemas.microsoft.com/office/powerpoint/2010/main" val="218809509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0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E77CCDF-4FA0-1941-D872-0347E4B3276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58978BE-65F8-B784-4886-15FF50E6819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noProof="1"/>
              <a:t>Ваши вопросы и сомнения  — ответы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4C69F30-2177-EDF7-6784-D9B765C109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DB84476-BC29-4407-9D57-B2E562B8968B}" type="slidenum">
              <a:rPr lang="ru-RU" noProof="1" smtClean="0"/>
              <a:pPr/>
              <a:t>101</a:t>
            </a:fld>
            <a:endParaRPr lang="ru-RU" noProof="1"/>
          </a:p>
        </p:txBody>
      </p:sp>
      <p:sp>
        <p:nvSpPr>
          <p:cNvPr id="5" name="Rectangle 1">
            <a:extLst>
              <a:ext uri="{FF2B5EF4-FFF2-40B4-BE49-F238E27FC236}">
                <a16:creationId xmlns:a16="http://schemas.microsoft.com/office/drawing/2014/main" id="{A251105B-BC84-3D93-9AF3-533B1F519806}"/>
              </a:ext>
            </a:extLst>
          </p:cNvPr>
          <p:cNvSpPr>
            <a:spLocks noChangeArrowheads="1"/>
          </p:cNvSpPr>
          <p:nvPr/>
        </p:nvSpPr>
        <p:spPr bwMode="auto">
          <a:xfrm>
            <a:off x="612457" y="1791226"/>
            <a:ext cx="10668119" cy="178510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2200" b="1" u="none" strike="noStrike" cap="none" normalizeH="0" baseline="0" noProof="1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Вопрос: Помимо SCAFFOLD, какие ещё есть инструменты для развития профессионального развития педагогов?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2200" b="0" i="0" u="none" strike="noStrike" cap="none" normalizeH="0" baseline="0" noProof="1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Ответ: Это зависит от того, что вы понимаете под «инструментами». Например, если речь о стратегиях обучения, то многие из них в SCAFFOLD не упомянуты — например, обучающие обходы, наблюдения в триадах.</a:t>
            </a:r>
          </a:p>
        </p:txBody>
      </p:sp>
    </p:spTree>
    <p:extLst>
      <p:ext uri="{BB962C8B-B14F-4D97-AF65-F5344CB8AC3E}">
        <p14:creationId xmlns:p14="http://schemas.microsoft.com/office/powerpoint/2010/main" val="196413199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0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0"/>
          <p:cNvSpPr/>
          <p:nvPr/>
        </p:nvSpPr>
        <p:spPr>
          <a:xfrm>
            <a:off x="7315200" y="-487680"/>
            <a:ext cx="5120640" cy="548640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algn="r"/>
            <a:r>
              <a:rPr lang="ru-RU" sz="42666" b="1" noProof="1">
                <a:solidFill>
                  <a:srgbClr val="0092BB">
                    <a:alpha val="40000"/>
                  </a:srgbClr>
                </a:solidFill>
                <a:latin typeface="Trebuchet MS" pitchFamily="34" charset="0"/>
                <a:ea typeface="Trebuchet MS" pitchFamily="34" charset="-122"/>
                <a:cs typeface="Trebuchet MS" pitchFamily="34" charset="-120"/>
              </a:rPr>
              <a:t>05</a:t>
            </a:r>
            <a:endParaRPr lang="ru-RU" sz="42666" noProof="1"/>
          </a:p>
        </p:txBody>
      </p:sp>
      <p:sp>
        <p:nvSpPr>
          <p:cNvPr id="3" name="Shape 1"/>
          <p:cNvSpPr/>
          <p:nvPr/>
        </p:nvSpPr>
        <p:spPr>
          <a:xfrm>
            <a:off x="654178" y="1289538"/>
            <a:ext cx="101727" cy="3152108"/>
          </a:xfrm>
          <a:prstGeom prst="rect">
            <a:avLst/>
          </a:prstGeom>
          <a:solidFill>
            <a:srgbClr val="FFDC00"/>
          </a:solidFill>
          <a:ln w="12700">
            <a:solidFill>
              <a:srgbClr val="FFDC00"/>
            </a:solidFill>
            <a:prstDash val="solid"/>
          </a:ln>
        </p:spPr>
        <p:txBody>
          <a:bodyPr/>
          <a:lstStyle/>
          <a:p>
            <a:endParaRPr lang="ru-RU" sz="2400" noProof="1"/>
          </a:p>
        </p:txBody>
      </p:sp>
      <p:sp>
        <p:nvSpPr>
          <p:cNvPr id="4" name="Text 2"/>
          <p:cNvSpPr/>
          <p:nvPr/>
        </p:nvSpPr>
        <p:spPr>
          <a:xfrm>
            <a:off x="914400" y="1975104"/>
            <a:ext cx="9144000" cy="146304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r>
              <a:rPr lang="ru-RU" sz="3200" b="1" noProof="1">
                <a:solidFill>
                  <a:srgbClr val="FFFFFF"/>
                </a:solidFill>
                <a:latin typeface="Arial" panose="020B0604020202020204" pitchFamily="34" charset="0"/>
                <a:ea typeface="Georgia" pitchFamily="34" charset="-122"/>
                <a:cs typeface="Arial" panose="020B0604020202020204" pitchFamily="34" charset="0"/>
              </a:rPr>
              <a:t>Разработка профессионального развития педагогов: от компетенции к</a:t>
            </a:r>
          </a:p>
          <a:p>
            <a:r>
              <a:rPr lang="ru-RU" sz="3200" b="1" noProof="1">
                <a:solidFill>
                  <a:srgbClr val="FFFFFF"/>
                </a:solidFill>
                <a:latin typeface="Arial" panose="020B0604020202020204" pitchFamily="34" charset="0"/>
                <a:ea typeface="Georgia" pitchFamily="34" charset="-122"/>
                <a:cs typeface="Arial" panose="020B0604020202020204" pitchFamily="34" charset="0"/>
              </a:rPr>
              <a:t>профессиональному обучению</a:t>
            </a:r>
          </a:p>
        </p:txBody>
      </p:sp>
      <p:sp>
        <p:nvSpPr>
          <p:cNvPr id="5" name="Shape 3"/>
          <p:cNvSpPr/>
          <p:nvPr/>
        </p:nvSpPr>
        <p:spPr>
          <a:xfrm>
            <a:off x="1072896" y="3929583"/>
            <a:ext cx="3413760" cy="512064"/>
          </a:xfrm>
          <a:prstGeom prst="roundRect">
            <a:avLst>
              <a:gd name="adj" fmla="val 14286"/>
            </a:avLst>
          </a:prstGeom>
          <a:solidFill>
            <a:srgbClr val="FFDC00"/>
          </a:solidFill>
          <a:ln w="12700">
            <a:solidFill>
              <a:srgbClr val="FFDC00"/>
            </a:solidFill>
            <a:prstDash val="solid"/>
          </a:ln>
        </p:spPr>
        <p:txBody>
          <a:bodyPr/>
          <a:lstStyle/>
          <a:p>
            <a:endParaRPr lang="ru-RU" sz="2400" noProof="1"/>
          </a:p>
        </p:txBody>
      </p:sp>
      <p:sp>
        <p:nvSpPr>
          <p:cNvPr id="6" name="Text 4"/>
          <p:cNvSpPr/>
          <p:nvPr/>
        </p:nvSpPr>
        <p:spPr>
          <a:xfrm>
            <a:off x="1072896" y="3929583"/>
            <a:ext cx="3255264" cy="512064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algn="ctr"/>
            <a:r>
              <a:rPr lang="ru-RU" sz="1867" b="1" noProof="1">
                <a:solidFill>
                  <a:schemeClr val="accent2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09:15 – 10:30  |  75 минут</a:t>
            </a:r>
            <a:endParaRPr lang="ru-RU" sz="1867" noProof="1">
              <a:solidFill>
                <a:schemeClr val="accent2"/>
              </a:solidFill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E1B45D38-AD4C-7942-7C64-34E1555CE5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72897" y="894984"/>
            <a:ext cx="10944225" cy="1080120"/>
          </a:xfrm>
        </p:spPr>
        <p:txBody>
          <a:bodyPr/>
          <a:lstStyle/>
          <a:p>
            <a:r>
              <a:rPr lang="ru-RU" sz="3200" noProof="1">
                <a:solidFill>
                  <a:schemeClr val="accent4"/>
                </a:solidFill>
                <a:latin typeface="Arial" panose="020B0604020202020204" pitchFamily="34" charset="0"/>
                <a:ea typeface="Georgia" pitchFamily="34" charset="-122"/>
              </a:rPr>
              <a:t>Сессия 5</a:t>
            </a:r>
            <a:endParaRPr lang="ru-RU" noProof="1">
              <a:solidFill>
                <a:schemeClr val="accent4"/>
              </a:solidFill>
              <a:latin typeface="Arial" panose="020B0604020202020204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2F49648C-8699-D54D-D884-894BB7BEE0AA}"/>
              </a:ext>
            </a:extLst>
          </p:cNvPr>
          <p:cNvSpPr txBox="1"/>
          <p:nvPr/>
        </p:nvSpPr>
        <p:spPr>
          <a:xfrm>
            <a:off x="914401" y="4444724"/>
            <a:ext cx="427555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ru-RU" sz="1400" i="1" noProof="1">
              <a:solidFill>
                <a:schemeClr val="bg1"/>
              </a:solidFill>
            </a:endParaRPr>
          </a:p>
        </p:txBody>
      </p:sp>
      <p:sp>
        <p:nvSpPr>
          <p:cNvPr id="9" name="Shape 7">
            <a:extLst>
              <a:ext uri="{FF2B5EF4-FFF2-40B4-BE49-F238E27FC236}">
                <a16:creationId xmlns:a16="http://schemas.microsoft.com/office/drawing/2014/main" id="{ABF12B5F-8B7E-210B-0244-355FA1D65135}"/>
              </a:ext>
            </a:extLst>
          </p:cNvPr>
          <p:cNvSpPr/>
          <p:nvPr/>
        </p:nvSpPr>
        <p:spPr>
          <a:xfrm>
            <a:off x="670562" y="5120639"/>
            <a:ext cx="2365717" cy="1549791"/>
          </a:xfrm>
          <a:prstGeom prst="rect">
            <a:avLst/>
          </a:prstGeom>
          <a:noFill/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/>
          <a:lstStyle/>
          <a:p>
            <a:endParaRPr lang="ru-RU" sz="2133" noProof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Text 8">
            <a:extLst>
              <a:ext uri="{FF2B5EF4-FFF2-40B4-BE49-F238E27FC236}">
                <a16:creationId xmlns:a16="http://schemas.microsoft.com/office/drawing/2014/main" id="{9314DF6D-C826-5115-C33A-261F99C5DD51}"/>
              </a:ext>
            </a:extLst>
          </p:cNvPr>
          <p:cNvSpPr/>
          <p:nvPr/>
        </p:nvSpPr>
        <p:spPr>
          <a:xfrm>
            <a:off x="816865" y="5193792"/>
            <a:ext cx="2792071" cy="413277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r>
              <a:rPr lang="ru-RU" sz="1200" b="1" kern="0" spc="133" noProof="1">
                <a:solidFill>
                  <a:schemeClr val="accent4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Карточка 1</a:t>
            </a:r>
            <a:endParaRPr lang="ru-RU" sz="1200" noProof="1">
              <a:solidFill>
                <a:schemeClr val="accent4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Text 9">
            <a:extLst>
              <a:ext uri="{FF2B5EF4-FFF2-40B4-BE49-F238E27FC236}">
                <a16:creationId xmlns:a16="http://schemas.microsoft.com/office/drawing/2014/main" id="{4FAAB0C3-A6B4-7A41-83A8-2BC22A955B71}"/>
              </a:ext>
            </a:extLst>
          </p:cNvPr>
          <p:cNvSpPr/>
          <p:nvPr/>
        </p:nvSpPr>
        <p:spPr>
          <a:xfrm>
            <a:off x="816865" y="5547360"/>
            <a:ext cx="2792071" cy="915115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r>
              <a:rPr lang="ru-RU" sz="1867" b="1" noProof="1">
                <a:solidFill>
                  <a:srgbClr val="FFFFFF"/>
                </a:solidFill>
                <a:latin typeface="Arial" panose="020B0604020202020204" pitchFamily="34" charset="0"/>
                <a:ea typeface="Georgia" pitchFamily="34" charset="-122"/>
                <a:cs typeface="Arial" panose="020B0604020202020204" pitchFamily="34" charset="0"/>
              </a:rPr>
              <a:t>Выберите</a:t>
            </a:r>
            <a:endParaRPr lang="ru-RU" sz="1867" noProof="1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ru-RU" sz="1867" b="1" noProof="1">
                <a:solidFill>
                  <a:srgbClr val="FFFFFF"/>
                </a:solidFill>
                <a:latin typeface="Arial" panose="020B0604020202020204" pitchFamily="34" charset="0"/>
                <a:ea typeface="Georgia" pitchFamily="34" charset="-122"/>
                <a:cs typeface="Arial" panose="020B0604020202020204" pitchFamily="34" charset="0"/>
              </a:rPr>
              <a:t>Компетенции</a:t>
            </a:r>
            <a:endParaRPr lang="ru-RU" sz="1867" noProof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Shape 10">
            <a:extLst>
              <a:ext uri="{FF2B5EF4-FFF2-40B4-BE49-F238E27FC236}">
                <a16:creationId xmlns:a16="http://schemas.microsoft.com/office/drawing/2014/main" id="{0E0285A4-178E-944F-4893-E3224F2CE68F}"/>
              </a:ext>
            </a:extLst>
          </p:cNvPr>
          <p:cNvSpPr/>
          <p:nvPr/>
        </p:nvSpPr>
        <p:spPr>
          <a:xfrm>
            <a:off x="3462631" y="5120639"/>
            <a:ext cx="2365719" cy="1549791"/>
          </a:xfrm>
          <a:prstGeom prst="rect">
            <a:avLst/>
          </a:prstGeom>
          <a:noFill/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/>
          <a:lstStyle/>
          <a:p>
            <a:endParaRPr lang="ru-RU" sz="2133" noProof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Text 11">
            <a:extLst>
              <a:ext uri="{FF2B5EF4-FFF2-40B4-BE49-F238E27FC236}">
                <a16:creationId xmlns:a16="http://schemas.microsoft.com/office/drawing/2014/main" id="{AD8CEEE6-292C-6592-33C8-CB55E375BCAF}"/>
              </a:ext>
            </a:extLst>
          </p:cNvPr>
          <p:cNvSpPr/>
          <p:nvPr/>
        </p:nvSpPr>
        <p:spPr>
          <a:xfrm>
            <a:off x="3608935" y="5193792"/>
            <a:ext cx="2792071" cy="413277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r>
              <a:rPr lang="ru-RU" sz="1200" b="1" kern="0" spc="133" noProof="1">
                <a:solidFill>
                  <a:schemeClr val="accent4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Карточка 2</a:t>
            </a:r>
            <a:endParaRPr lang="ru-RU" sz="1200" noProof="1">
              <a:solidFill>
                <a:schemeClr val="accent4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Text 12">
            <a:extLst>
              <a:ext uri="{FF2B5EF4-FFF2-40B4-BE49-F238E27FC236}">
                <a16:creationId xmlns:a16="http://schemas.microsoft.com/office/drawing/2014/main" id="{9296DB4A-63D9-D0EB-291C-B2EA8548D4B2}"/>
              </a:ext>
            </a:extLst>
          </p:cNvPr>
          <p:cNvSpPr/>
          <p:nvPr/>
        </p:nvSpPr>
        <p:spPr>
          <a:xfrm>
            <a:off x="3608935" y="5547360"/>
            <a:ext cx="2792071" cy="915115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r>
              <a:rPr lang="ru-RU" sz="1867" b="1" noProof="1">
                <a:solidFill>
                  <a:srgbClr val="FFFFFF"/>
                </a:solidFill>
                <a:latin typeface="Arial" panose="020B0604020202020204" pitchFamily="34" charset="0"/>
                <a:ea typeface="Georgia" pitchFamily="34" charset="-122"/>
                <a:cs typeface="Arial" panose="020B0604020202020204" pitchFamily="34" charset="0"/>
              </a:rPr>
              <a:t>Определите</a:t>
            </a:r>
            <a:endParaRPr lang="ru-RU" sz="1867" noProof="1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ru-RU" sz="1867" b="1" noProof="1">
                <a:solidFill>
                  <a:srgbClr val="FFFFFF"/>
                </a:solidFill>
                <a:latin typeface="Arial" panose="020B0604020202020204" pitchFamily="34" charset="0"/>
                <a:ea typeface="Georgia" pitchFamily="34" charset="-122"/>
                <a:cs typeface="Arial" panose="020B0604020202020204" pitchFamily="34" charset="0"/>
              </a:rPr>
              <a:t>уровень </a:t>
            </a:r>
          </a:p>
          <a:p>
            <a:r>
              <a:rPr lang="ru-RU" sz="1867" b="1" noProof="1">
                <a:solidFill>
                  <a:srgbClr val="FFFFFF"/>
                </a:solidFill>
                <a:latin typeface="Arial" panose="020B0604020202020204" pitchFamily="34" charset="0"/>
                <a:ea typeface="Georgia" pitchFamily="34" charset="-122"/>
                <a:cs typeface="Arial" panose="020B0604020202020204" pitchFamily="34" charset="0"/>
              </a:rPr>
              <a:t>компетенции</a:t>
            </a:r>
            <a:endParaRPr lang="ru-RU" sz="1867" noProof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Shape 13">
            <a:extLst>
              <a:ext uri="{FF2B5EF4-FFF2-40B4-BE49-F238E27FC236}">
                <a16:creationId xmlns:a16="http://schemas.microsoft.com/office/drawing/2014/main" id="{21554969-A092-D869-31BF-FC8FB0E8A79E}"/>
              </a:ext>
            </a:extLst>
          </p:cNvPr>
          <p:cNvSpPr/>
          <p:nvPr/>
        </p:nvSpPr>
        <p:spPr>
          <a:xfrm>
            <a:off x="6254702" y="5120639"/>
            <a:ext cx="2365719" cy="1549791"/>
          </a:xfrm>
          <a:prstGeom prst="rect">
            <a:avLst/>
          </a:prstGeom>
          <a:noFill/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/>
          <a:lstStyle/>
          <a:p>
            <a:endParaRPr lang="ru-RU" sz="2133" noProof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Text 14">
            <a:extLst>
              <a:ext uri="{FF2B5EF4-FFF2-40B4-BE49-F238E27FC236}">
                <a16:creationId xmlns:a16="http://schemas.microsoft.com/office/drawing/2014/main" id="{055F45FC-07E8-7884-BE7F-980A0744EB65}"/>
              </a:ext>
            </a:extLst>
          </p:cNvPr>
          <p:cNvSpPr/>
          <p:nvPr/>
        </p:nvSpPr>
        <p:spPr>
          <a:xfrm>
            <a:off x="6401006" y="5193792"/>
            <a:ext cx="2792071" cy="413277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r>
              <a:rPr lang="ru-RU" sz="1200" b="1" kern="0" spc="133" noProof="1">
                <a:solidFill>
                  <a:schemeClr val="accent4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Карточка 3</a:t>
            </a:r>
            <a:endParaRPr lang="ru-RU" sz="1200" noProof="1">
              <a:solidFill>
                <a:schemeClr val="accent4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Text 15">
            <a:extLst>
              <a:ext uri="{FF2B5EF4-FFF2-40B4-BE49-F238E27FC236}">
                <a16:creationId xmlns:a16="http://schemas.microsoft.com/office/drawing/2014/main" id="{C0B08F19-FB6C-E049-77E3-3DDFEFFC59BF}"/>
              </a:ext>
            </a:extLst>
          </p:cNvPr>
          <p:cNvSpPr/>
          <p:nvPr/>
        </p:nvSpPr>
        <p:spPr>
          <a:xfrm>
            <a:off x="6401006" y="5547360"/>
            <a:ext cx="2792071" cy="915115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r>
              <a:rPr lang="ru-RU" sz="1867" b="1" noProof="1">
                <a:solidFill>
                  <a:srgbClr val="FFFFFF"/>
                </a:solidFill>
                <a:latin typeface="Arial" panose="020B0604020202020204" pitchFamily="34" charset="0"/>
                <a:ea typeface="Georgia" pitchFamily="34" charset="-122"/>
                <a:cs typeface="Arial" panose="020B0604020202020204" pitchFamily="34" charset="0"/>
              </a:rPr>
              <a:t>Выберите</a:t>
            </a:r>
            <a:endParaRPr lang="ru-RU" sz="1867" noProof="1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ru-RU" sz="1867" b="1" noProof="1">
                <a:solidFill>
                  <a:srgbClr val="FFFFFF"/>
                </a:solidFill>
                <a:latin typeface="Arial" panose="020B0604020202020204" pitchFamily="34" charset="0"/>
                <a:ea typeface="Georgia" pitchFamily="34" charset="-122"/>
                <a:cs typeface="Arial" panose="020B0604020202020204" pitchFamily="34" charset="0"/>
              </a:rPr>
              <a:t>метод обучения</a:t>
            </a:r>
            <a:endParaRPr lang="ru-RU" sz="1867" noProof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0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BD1B1E9C-9D79-EEBC-6C3E-476541809B2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5317" y="170688"/>
            <a:ext cx="7815651" cy="1080120"/>
          </a:xfrm>
        </p:spPr>
        <p:txBody>
          <a:bodyPr/>
          <a:lstStyle/>
          <a:p>
            <a:r>
              <a:rPr lang="ru-RU" sz="3200" kern="0" spc="267" noProof="1">
                <a:solidFill>
                  <a:srgbClr val="FFFFFF"/>
                </a:solidFill>
                <a:latin typeface="Arial" panose="020B0604020202020204" pitchFamily="34" charset="0"/>
                <a:ea typeface="Calibri" pitchFamily="34" charset="-122"/>
              </a:rPr>
              <a:t>СЕССИЯ 5  ·  ОБЗОР</a:t>
            </a:r>
            <a:endParaRPr lang="ru-RU" noProof="1">
              <a:latin typeface="Arial" panose="020B0604020202020204" pitchFamily="34" charset="0"/>
            </a:endParaRPr>
          </a:p>
        </p:txBody>
      </p:sp>
      <p:sp>
        <p:nvSpPr>
          <p:cNvPr id="2" name="Text 2">
            <a:extLst>
              <a:ext uri="{FF2B5EF4-FFF2-40B4-BE49-F238E27FC236}">
                <a16:creationId xmlns:a16="http://schemas.microsoft.com/office/drawing/2014/main" id="{217D72B3-D4C3-E59A-E2D4-2C8626263183}"/>
              </a:ext>
            </a:extLst>
          </p:cNvPr>
          <p:cNvSpPr/>
          <p:nvPr/>
        </p:nvSpPr>
        <p:spPr>
          <a:xfrm>
            <a:off x="696277" y="1164336"/>
            <a:ext cx="1950720" cy="42672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r>
              <a:rPr lang="ru-RU" sz="1333" b="1" kern="0" spc="133" noProof="1">
                <a:solidFill>
                  <a:schemeClr val="bg1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ВРЕМЯ</a:t>
            </a:r>
            <a:endParaRPr lang="ru-RU" sz="1333" noProof="1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Text 3">
            <a:extLst>
              <a:ext uri="{FF2B5EF4-FFF2-40B4-BE49-F238E27FC236}">
                <a16:creationId xmlns:a16="http://schemas.microsoft.com/office/drawing/2014/main" id="{9A7A8375-1311-6A4F-19AA-3C2EC3E17FC4}"/>
              </a:ext>
            </a:extLst>
          </p:cNvPr>
          <p:cNvSpPr/>
          <p:nvPr/>
        </p:nvSpPr>
        <p:spPr>
          <a:xfrm>
            <a:off x="2890837" y="1164336"/>
            <a:ext cx="6949440" cy="42672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r>
              <a:rPr lang="ru-RU" sz="1333" b="1" kern="0" spc="133" noProof="1">
                <a:solidFill>
                  <a:schemeClr val="bg1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АКТИВНОСТЬ</a:t>
            </a:r>
            <a:endParaRPr lang="ru-RU" sz="1333" noProof="1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Text 4">
            <a:extLst>
              <a:ext uri="{FF2B5EF4-FFF2-40B4-BE49-F238E27FC236}">
                <a16:creationId xmlns:a16="http://schemas.microsoft.com/office/drawing/2014/main" id="{92BE775E-4018-9D16-0E6D-05D982BEDD0B}"/>
              </a:ext>
            </a:extLst>
          </p:cNvPr>
          <p:cNvSpPr/>
          <p:nvPr/>
        </p:nvSpPr>
        <p:spPr>
          <a:xfrm>
            <a:off x="9575337" y="1176528"/>
            <a:ext cx="2194560" cy="42672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r>
              <a:rPr lang="ru-RU" sz="1333" b="1" kern="0" spc="133" noProof="1">
                <a:solidFill>
                  <a:schemeClr val="bg1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ФОРМАТ</a:t>
            </a:r>
            <a:endParaRPr lang="ru-RU" sz="1333" noProof="1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0" name="Shape 5">
            <a:extLst>
              <a:ext uri="{FF2B5EF4-FFF2-40B4-BE49-F238E27FC236}">
                <a16:creationId xmlns:a16="http://schemas.microsoft.com/office/drawing/2014/main" id="{F3103E6C-EC1C-A8FB-85AB-EF29606D32EB}"/>
              </a:ext>
            </a:extLst>
          </p:cNvPr>
          <p:cNvSpPr/>
          <p:nvPr/>
        </p:nvSpPr>
        <p:spPr>
          <a:xfrm>
            <a:off x="635317" y="1652016"/>
            <a:ext cx="11040867" cy="670560"/>
          </a:xfrm>
          <a:prstGeom prst="rect">
            <a:avLst/>
          </a:prstGeom>
          <a:solidFill>
            <a:srgbClr val="FFFFFF"/>
          </a:solidFill>
          <a:ln w="5080">
            <a:solidFill>
              <a:srgbClr val="B2D8DE"/>
            </a:solidFill>
            <a:prstDash val="solid"/>
          </a:ln>
        </p:spPr>
        <p:txBody>
          <a:bodyPr/>
          <a:lstStyle/>
          <a:p>
            <a:endParaRPr lang="ru-RU" sz="2400" noProof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1" name="Text 6">
            <a:extLst>
              <a:ext uri="{FF2B5EF4-FFF2-40B4-BE49-F238E27FC236}">
                <a16:creationId xmlns:a16="http://schemas.microsoft.com/office/drawing/2014/main" id="{953861F8-BE80-71A1-A4F1-013DE0336899}"/>
              </a:ext>
            </a:extLst>
          </p:cNvPr>
          <p:cNvSpPr/>
          <p:nvPr/>
        </p:nvSpPr>
        <p:spPr>
          <a:xfrm>
            <a:off x="696277" y="1712976"/>
            <a:ext cx="1950720" cy="585216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r>
              <a:rPr lang="ru-RU" sz="1333" b="1" noProof="1">
                <a:solidFill>
                  <a:srgbClr val="027A87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09:15 – 09:20</a:t>
            </a:r>
            <a:endParaRPr lang="ru-RU" sz="1333" noProof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2" name="Text 7">
            <a:extLst>
              <a:ext uri="{FF2B5EF4-FFF2-40B4-BE49-F238E27FC236}">
                <a16:creationId xmlns:a16="http://schemas.microsoft.com/office/drawing/2014/main" id="{3F46128E-5CF1-C91D-BBD6-9C6CB9B49E39}"/>
              </a:ext>
            </a:extLst>
          </p:cNvPr>
          <p:cNvSpPr/>
          <p:nvPr/>
        </p:nvSpPr>
        <p:spPr>
          <a:xfrm>
            <a:off x="2890837" y="1712976"/>
            <a:ext cx="6949440" cy="585216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r>
              <a:rPr lang="ru-RU" sz="1400" noProof="1">
                <a:solidFill>
                  <a:srgbClr val="16303A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Введение в процесс разработки — карточки заданий и карточки планирования SCAFFOLD</a:t>
            </a:r>
            <a:endParaRPr lang="ru-RU" sz="1400" noProof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3" name="Text 8">
            <a:extLst>
              <a:ext uri="{FF2B5EF4-FFF2-40B4-BE49-F238E27FC236}">
                <a16:creationId xmlns:a16="http://schemas.microsoft.com/office/drawing/2014/main" id="{F6EC53EB-71A1-0844-76A4-D111B40CF4B5}"/>
              </a:ext>
            </a:extLst>
          </p:cNvPr>
          <p:cNvSpPr/>
          <p:nvPr/>
        </p:nvSpPr>
        <p:spPr>
          <a:xfrm>
            <a:off x="9575337" y="1712976"/>
            <a:ext cx="2194560" cy="585216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r>
              <a:rPr lang="ru-RU" sz="1267" noProof="1">
                <a:solidFill>
                  <a:srgbClr val="3D6673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Пленарное заседание</a:t>
            </a:r>
            <a:endParaRPr lang="ru-RU" sz="1267" noProof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4" name="Shape 9">
            <a:extLst>
              <a:ext uri="{FF2B5EF4-FFF2-40B4-BE49-F238E27FC236}">
                <a16:creationId xmlns:a16="http://schemas.microsoft.com/office/drawing/2014/main" id="{0802AF52-E403-EB17-15AF-5AAC8822DAF6}"/>
              </a:ext>
            </a:extLst>
          </p:cNvPr>
          <p:cNvSpPr/>
          <p:nvPr/>
        </p:nvSpPr>
        <p:spPr>
          <a:xfrm>
            <a:off x="635317" y="2383536"/>
            <a:ext cx="11040867" cy="670560"/>
          </a:xfrm>
          <a:prstGeom prst="rect">
            <a:avLst/>
          </a:prstGeom>
          <a:solidFill>
            <a:srgbClr val="D6F0F3"/>
          </a:solidFill>
          <a:ln w="5080">
            <a:solidFill>
              <a:srgbClr val="B2D8DE"/>
            </a:solidFill>
            <a:prstDash val="solid"/>
          </a:ln>
        </p:spPr>
        <p:txBody>
          <a:bodyPr/>
          <a:lstStyle/>
          <a:p>
            <a:endParaRPr lang="ru-RU" sz="2400" noProof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5" name="Text 10">
            <a:extLst>
              <a:ext uri="{FF2B5EF4-FFF2-40B4-BE49-F238E27FC236}">
                <a16:creationId xmlns:a16="http://schemas.microsoft.com/office/drawing/2014/main" id="{2D88B87C-87AA-0F1A-E4B7-E0DC779677D5}"/>
              </a:ext>
            </a:extLst>
          </p:cNvPr>
          <p:cNvSpPr/>
          <p:nvPr/>
        </p:nvSpPr>
        <p:spPr>
          <a:xfrm>
            <a:off x="696277" y="2444496"/>
            <a:ext cx="1950720" cy="585216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r>
              <a:rPr lang="ru-RU" sz="1333" b="1" noProof="1">
                <a:solidFill>
                  <a:srgbClr val="027A87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09:20 – 09:25</a:t>
            </a:r>
            <a:endParaRPr lang="ru-RU" sz="1333" noProof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6" name="Text 11">
            <a:extLst>
              <a:ext uri="{FF2B5EF4-FFF2-40B4-BE49-F238E27FC236}">
                <a16:creationId xmlns:a16="http://schemas.microsoft.com/office/drawing/2014/main" id="{2FB7D57B-C8F7-B5AE-4868-450D71EEEF5A}"/>
              </a:ext>
            </a:extLst>
          </p:cNvPr>
          <p:cNvSpPr/>
          <p:nvPr/>
        </p:nvSpPr>
        <p:spPr>
          <a:xfrm>
            <a:off x="2890837" y="2444496"/>
            <a:ext cx="6949440" cy="585216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r>
              <a:rPr lang="ru-RU" sz="1400" noProof="1">
                <a:solidFill>
                  <a:srgbClr val="16303A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Раздача и чтение задания (молча, индивидуально)</a:t>
            </a:r>
            <a:endParaRPr lang="ru-RU" sz="1400" noProof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7" name="Text 12">
            <a:extLst>
              <a:ext uri="{FF2B5EF4-FFF2-40B4-BE49-F238E27FC236}">
                <a16:creationId xmlns:a16="http://schemas.microsoft.com/office/drawing/2014/main" id="{3475B316-46BF-24FD-0BFF-B7E7568C04DE}"/>
              </a:ext>
            </a:extLst>
          </p:cNvPr>
          <p:cNvSpPr/>
          <p:nvPr/>
        </p:nvSpPr>
        <p:spPr>
          <a:xfrm>
            <a:off x="9575337" y="2444496"/>
            <a:ext cx="2194560" cy="585216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r>
              <a:rPr lang="ru-RU" sz="1267" noProof="1">
                <a:solidFill>
                  <a:srgbClr val="3D6673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Индивидуально, затем за столом</a:t>
            </a:r>
            <a:endParaRPr lang="ru-RU" sz="1267" noProof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8" name="Shape 13">
            <a:extLst>
              <a:ext uri="{FF2B5EF4-FFF2-40B4-BE49-F238E27FC236}">
                <a16:creationId xmlns:a16="http://schemas.microsoft.com/office/drawing/2014/main" id="{DD210DB2-8C03-A373-5592-27A65AE53F76}"/>
              </a:ext>
            </a:extLst>
          </p:cNvPr>
          <p:cNvSpPr/>
          <p:nvPr/>
        </p:nvSpPr>
        <p:spPr>
          <a:xfrm>
            <a:off x="635317" y="3115056"/>
            <a:ext cx="11040867" cy="670560"/>
          </a:xfrm>
          <a:prstGeom prst="rect">
            <a:avLst/>
          </a:prstGeom>
          <a:solidFill>
            <a:srgbClr val="FFFFFF"/>
          </a:solidFill>
          <a:ln w="5080">
            <a:solidFill>
              <a:srgbClr val="B2D8DE"/>
            </a:solidFill>
            <a:prstDash val="solid"/>
          </a:ln>
        </p:spPr>
        <p:txBody>
          <a:bodyPr/>
          <a:lstStyle/>
          <a:p>
            <a:endParaRPr lang="ru-RU" sz="2400" noProof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9" name="Text 14">
            <a:extLst>
              <a:ext uri="{FF2B5EF4-FFF2-40B4-BE49-F238E27FC236}">
                <a16:creationId xmlns:a16="http://schemas.microsoft.com/office/drawing/2014/main" id="{ECF69868-DCFA-3F62-A049-E91CFCDD840C}"/>
              </a:ext>
            </a:extLst>
          </p:cNvPr>
          <p:cNvSpPr/>
          <p:nvPr/>
        </p:nvSpPr>
        <p:spPr>
          <a:xfrm>
            <a:off x="696277" y="3176016"/>
            <a:ext cx="1950720" cy="585216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r>
              <a:rPr lang="ru-RU" sz="1333" b="1" noProof="1">
                <a:solidFill>
                  <a:srgbClr val="027A87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09:25 – 09:40</a:t>
            </a:r>
            <a:endParaRPr lang="ru-RU" sz="1333" noProof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0" name="Text 15">
            <a:extLst>
              <a:ext uri="{FF2B5EF4-FFF2-40B4-BE49-F238E27FC236}">
                <a16:creationId xmlns:a16="http://schemas.microsoft.com/office/drawing/2014/main" id="{DE535A7D-CC69-DB31-F772-229E20ED1D77}"/>
              </a:ext>
            </a:extLst>
          </p:cNvPr>
          <p:cNvSpPr/>
          <p:nvPr/>
        </p:nvSpPr>
        <p:spPr>
          <a:xfrm>
            <a:off x="2890838" y="3176016"/>
            <a:ext cx="6534516" cy="585216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r>
              <a:rPr lang="ru-RU" sz="1400" noProof="1">
                <a:solidFill>
                  <a:srgbClr val="16303A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Карточка планирования1 — Выбор компетенций (8 минут работы + 4 минуты разбора)</a:t>
            </a:r>
            <a:endParaRPr lang="ru-RU" sz="1400" noProof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1" name="Text 16">
            <a:extLst>
              <a:ext uri="{FF2B5EF4-FFF2-40B4-BE49-F238E27FC236}">
                <a16:creationId xmlns:a16="http://schemas.microsoft.com/office/drawing/2014/main" id="{87C0B198-A1AE-3D5F-E6C3-73DEBC00E594}"/>
              </a:ext>
            </a:extLst>
          </p:cNvPr>
          <p:cNvSpPr/>
          <p:nvPr/>
        </p:nvSpPr>
        <p:spPr>
          <a:xfrm>
            <a:off x="9575337" y="3176016"/>
            <a:ext cx="2194560" cy="585216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r>
              <a:rPr lang="ru-RU" sz="1267" noProof="1">
                <a:solidFill>
                  <a:srgbClr val="3D6673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Группы за столами</a:t>
            </a:r>
            <a:endParaRPr lang="ru-RU" sz="1267" noProof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2" name="Shape 17">
            <a:extLst>
              <a:ext uri="{FF2B5EF4-FFF2-40B4-BE49-F238E27FC236}">
                <a16:creationId xmlns:a16="http://schemas.microsoft.com/office/drawing/2014/main" id="{F60FB077-48FE-8939-AC11-E29318A9CC0A}"/>
              </a:ext>
            </a:extLst>
          </p:cNvPr>
          <p:cNvSpPr/>
          <p:nvPr/>
        </p:nvSpPr>
        <p:spPr>
          <a:xfrm>
            <a:off x="635317" y="3846576"/>
            <a:ext cx="11040867" cy="670560"/>
          </a:xfrm>
          <a:prstGeom prst="rect">
            <a:avLst/>
          </a:prstGeom>
          <a:solidFill>
            <a:srgbClr val="D6F0F3"/>
          </a:solidFill>
          <a:ln w="5080">
            <a:solidFill>
              <a:srgbClr val="B2D8DE"/>
            </a:solidFill>
            <a:prstDash val="solid"/>
          </a:ln>
        </p:spPr>
        <p:txBody>
          <a:bodyPr/>
          <a:lstStyle/>
          <a:p>
            <a:endParaRPr lang="ru-RU" sz="2400" noProof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3" name="Text 18">
            <a:extLst>
              <a:ext uri="{FF2B5EF4-FFF2-40B4-BE49-F238E27FC236}">
                <a16:creationId xmlns:a16="http://schemas.microsoft.com/office/drawing/2014/main" id="{EFCAB749-01B4-9980-0497-CD63A2DD2685}"/>
              </a:ext>
            </a:extLst>
          </p:cNvPr>
          <p:cNvSpPr/>
          <p:nvPr/>
        </p:nvSpPr>
        <p:spPr>
          <a:xfrm>
            <a:off x="696277" y="3907536"/>
            <a:ext cx="1950720" cy="585216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r>
              <a:rPr lang="ru-RU" sz="1333" b="1" noProof="1">
                <a:solidFill>
                  <a:srgbClr val="027A87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09:40 – 09:55</a:t>
            </a:r>
            <a:endParaRPr lang="ru-RU" sz="1333" noProof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4" name="Text 19">
            <a:extLst>
              <a:ext uri="{FF2B5EF4-FFF2-40B4-BE49-F238E27FC236}">
                <a16:creationId xmlns:a16="http://schemas.microsoft.com/office/drawing/2014/main" id="{6CABFAD1-F182-1573-576D-12BAFBC7F365}"/>
              </a:ext>
            </a:extLst>
          </p:cNvPr>
          <p:cNvSpPr/>
          <p:nvPr/>
        </p:nvSpPr>
        <p:spPr>
          <a:xfrm>
            <a:off x="2890838" y="3907536"/>
            <a:ext cx="6534516" cy="585216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r>
              <a:rPr lang="ru-RU" sz="1400" noProof="1">
                <a:solidFill>
                  <a:srgbClr val="16303A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Карточка планирования 2 — Определение уровня компетенции (8 минут работы + 4 минуты разбора)</a:t>
            </a:r>
            <a:endParaRPr lang="ru-RU" sz="1400" noProof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5" name="Text 20">
            <a:extLst>
              <a:ext uri="{FF2B5EF4-FFF2-40B4-BE49-F238E27FC236}">
                <a16:creationId xmlns:a16="http://schemas.microsoft.com/office/drawing/2014/main" id="{BA44ACA7-77CF-7330-A3EF-49BDFCA05654}"/>
              </a:ext>
            </a:extLst>
          </p:cNvPr>
          <p:cNvSpPr/>
          <p:nvPr/>
        </p:nvSpPr>
        <p:spPr>
          <a:xfrm>
            <a:off x="9575337" y="3907536"/>
            <a:ext cx="2194560" cy="585216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r>
              <a:rPr lang="ru-RU" sz="1267" noProof="1">
                <a:solidFill>
                  <a:srgbClr val="3D6673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Группы за столами</a:t>
            </a:r>
            <a:endParaRPr lang="ru-RU" sz="1267" noProof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6" name="Shape 21">
            <a:extLst>
              <a:ext uri="{FF2B5EF4-FFF2-40B4-BE49-F238E27FC236}">
                <a16:creationId xmlns:a16="http://schemas.microsoft.com/office/drawing/2014/main" id="{72CD756C-395E-C579-441B-5D7DD3F70826}"/>
              </a:ext>
            </a:extLst>
          </p:cNvPr>
          <p:cNvSpPr/>
          <p:nvPr/>
        </p:nvSpPr>
        <p:spPr>
          <a:xfrm>
            <a:off x="635317" y="4578096"/>
            <a:ext cx="11040867" cy="670560"/>
          </a:xfrm>
          <a:prstGeom prst="rect">
            <a:avLst/>
          </a:prstGeom>
          <a:solidFill>
            <a:srgbClr val="FFFFFF"/>
          </a:solidFill>
          <a:ln w="5080">
            <a:solidFill>
              <a:srgbClr val="B2D8DE"/>
            </a:solidFill>
            <a:prstDash val="solid"/>
          </a:ln>
        </p:spPr>
        <p:txBody>
          <a:bodyPr/>
          <a:lstStyle/>
          <a:p>
            <a:endParaRPr lang="ru-RU" sz="2400" noProof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7" name="Text 22">
            <a:extLst>
              <a:ext uri="{FF2B5EF4-FFF2-40B4-BE49-F238E27FC236}">
                <a16:creationId xmlns:a16="http://schemas.microsoft.com/office/drawing/2014/main" id="{5A483382-5F6F-BD68-21AD-5073E8E2069A}"/>
              </a:ext>
            </a:extLst>
          </p:cNvPr>
          <p:cNvSpPr/>
          <p:nvPr/>
        </p:nvSpPr>
        <p:spPr>
          <a:xfrm>
            <a:off x="696277" y="4639056"/>
            <a:ext cx="1950720" cy="585216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r>
              <a:rPr lang="ru-RU" sz="1333" b="1" noProof="1">
                <a:solidFill>
                  <a:srgbClr val="027A87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09:55 – 10:20</a:t>
            </a:r>
            <a:endParaRPr lang="ru-RU" sz="1333" noProof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8" name="Text 23">
            <a:extLst>
              <a:ext uri="{FF2B5EF4-FFF2-40B4-BE49-F238E27FC236}">
                <a16:creationId xmlns:a16="http://schemas.microsoft.com/office/drawing/2014/main" id="{494F01F6-9C31-832F-91CE-EED2A925E816}"/>
              </a:ext>
            </a:extLst>
          </p:cNvPr>
          <p:cNvSpPr/>
          <p:nvPr/>
        </p:nvSpPr>
        <p:spPr>
          <a:xfrm>
            <a:off x="2890837" y="4639056"/>
            <a:ext cx="6949440" cy="585216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r>
              <a:rPr lang="ru-RU" sz="1400" noProof="1">
                <a:solidFill>
                  <a:srgbClr val="16303A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Карточка планирования3 — Выбор метода обучения (15 минут работы + 8 минут разбора)</a:t>
            </a:r>
            <a:endParaRPr lang="ru-RU" sz="1400" noProof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9" name="Text 24">
            <a:extLst>
              <a:ext uri="{FF2B5EF4-FFF2-40B4-BE49-F238E27FC236}">
                <a16:creationId xmlns:a16="http://schemas.microsoft.com/office/drawing/2014/main" id="{FA7DFE4F-9286-8CAF-CE1A-8386A2592902}"/>
              </a:ext>
            </a:extLst>
          </p:cNvPr>
          <p:cNvSpPr/>
          <p:nvPr/>
        </p:nvSpPr>
        <p:spPr>
          <a:xfrm>
            <a:off x="9575337" y="4639056"/>
            <a:ext cx="2194560" cy="585216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r>
              <a:rPr lang="ru-RU" sz="1267" noProof="1">
                <a:solidFill>
                  <a:srgbClr val="3D6673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Группы за столами</a:t>
            </a:r>
            <a:endParaRPr lang="ru-RU" sz="1267" noProof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0" name="Shape 25">
            <a:extLst>
              <a:ext uri="{FF2B5EF4-FFF2-40B4-BE49-F238E27FC236}">
                <a16:creationId xmlns:a16="http://schemas.microsoft.com/office/drawing/2014/main" id="{0D995FED-E6F7-97AC-19C0-624B43956361}"/>
              </a:ext>
            </a:extLst>
          </p:cNvPr>
          <p:cNvSpPr/>
          <p:nvPr/>
        </p:nvSpPr>
        <p:spPr>
          <a:xfrm>
            <a:off x="635317" y="5309616"/>
            <a:ext cx="11040867" cy="670560"/>
          </a:xfrm>
          <a:prstGeom prst="rect">
            <a:avLst/>
          </a:prstGeom>
          <a:solidFill>
            <a:srgbClr val="D6F0F3"/>
          </a:solidFill>
          <a:ln w="5080">
            <a:solidFill>
              <a:srgbClr val="B2D8DE"/>
            </a:solidFill>
            <a:prstDash val="solid"/>
          </a:ln>
        </p:spPr>
        <p:txBody>
          <a:bodyPr/>
          <a:lstStyle/>
          <a:p>
            <a:endParaRPr lang="ru-RU" sz="2400" noProof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1" name="Text 26">
            <a:extLst>
              <a:ext uri="{FF2B5EF4-FFF2-40B4-BE49-F238E27FC236}">
                <a16:creationId xmlns:a16="http://schemas.microsoft.com/office/drawing/2014/main" id="{F2D007F7-2D75-7D19-51E6-256C82A41C2C}"/>
              </a:ext>
            </a:extLst>
          </p:cNvPr>
          <p:cNvSpPr/>
          <p:nvPr/>
        </p:nvSpPr>
        <p:spPr>
          <a:xfrm>
            <a:off x="696277" y="5370576"/>
            <a:ext cx="1950720" cy="585216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r>
              <a:rPr lang="ru-RU" sz="1333" b="1" noProof="1">
                <a:solidFill>
                  <a:srgbClr val="027A87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10:20 – 10:28</a:t>
            </a:r>
            <a:endParaRPr lang="ru-RU" sz="1333" noProof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2" name="Text 27">
            <a:extLst>
              <a:ext uri="{FF2B5EF4-FFF2-40B4-BE49-F238E27FC236}">
                <a16:creationId xmlns:a16="http://schemas.microsoft.com/office/drawing/2014/main" id="{79EEF7C8-E037-6629-EBFB-0A786110A06C}"/>
              </a:ext>
            </a:extLst>
          </p:cNvPr>
          <p:cNvSpPr/>
          <p:nvPr/>
        </p:nvSpPr>
        <p:spPr>
          <a:xfrm>
            <a:off x="2890837" y="5370576"/>
            <a:ext cx="6949440" cy="585216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r>
              <a:rPr lang="ru-RU" sz="1400" noProof="1">
                <a:solidFill>
                  <a:srgbClr val="16303A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Связь первых трёх карточек — написание предложения о логике разработки</a:t>
            </a:r>
            <a:endParaRPr lang="ru-RU" sz="1400" noProof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3" name="Text 28">
            <a:extLst>
              <a:ext uri="{FF2B5EF4-FFF2-40B4-BE49-F238E27FC236}">
                <a16:creationId xmlns:a16="http://schemas.microsoft.com/office/drawing/2014/main" id="{325C65DD-F227-D533-1FCC-18A0C0A111F1}"/>
              </a:ext>
            </a:extLst>
          </p:cNvPr>
          <p:cNvSpPr/>
          <p:nvPr/>
        </p:nvSpPr>
        <p:spPr>
          <a:xfrm>
            <a:off x="9575337" y="5370576"/>
            <a:ext cx="2194560" cy="585216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r>
              <a:rPr lang="ru-RU" sz="1267" noProof="1">
                <a:solidFill>
                  <a:srgbClr val="3D6673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Группы за столами</a:t>
            </a:r>
            <a:endParaRPr lang="ru-RU" sz="1267" noProof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4" name="Shape 29">
            <a:extLst>
              <a:ext uri="{FF2B5EF4-FFF2-40B4-BE49-F238E27FC236}">
                <a16:creationId xmlns:a16="http://schemas.microsoft.com/office/drawing/2014/main" id="{149782A5-1BD1-C06E-AE99-9635AAACF397}"/>
              </a:ext>
            </a:extLst>
          </p:cNvPr>
          <p:cNvSpPr/>
          <p:nvPr/>
        </p:nvSpPr>
        <p:spPr>
          <a:xfrm>
            <a:off x="635317" y="6041136"/>
            <a:ext cx="11040867" cy="670560"/>
          </a:xfrm>
          <a:prstGeom prst="rect">
            <a:avLst/>
          </a:prstGeom>
          <a:solidFill>
            <a:srgbClr val="FFFFFF"/>
          </a:solidFill>
          <a:ln w="5080">
            <a:solidFill>
              <a:srgbClr val="B2D8DE"/>
            </a:solidFill>
            <a:prstDash val="solid"/>
          </a:ln>
        </p:spPr>
        <p:txBody>
          <a:bodyPr/>
          <a:lstStyle/>
          <a:p>
            <a:endParaRPr lang="ru-RU" sz="2400" noProof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5" name="Text 30">
            <a:extLst>
              <a:ext uri="{FF2B5EF4-FFF2-40B4-BE49-F238E27FC236}">
                <a16:creationId xmlns:a16="http://schemas.microsoft.com/office/drawing/2014/main" id="{9F4174A2-8EBB-3011-24B8-7D694A54DAB1}"/>
              </a:ext>
            </a:extLst>
          </p:cNvPr>
          <p:cNvSpPr/>
          <p:nvPr/>
        </p:nvSpPr>
        <p:spPr>
          <a:xfrm>
            <a:off x="696277" y="6102096"/>
            <a:ext cx="1950720" cy="585216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r>
              <a:rPr lang="ru-RU" sz="1333" b="1" noProof="1">
                <a:solidFill>
                  <a:srgbClr val="027A87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10:28 – 10:30</a:t>
            </a:r>
            <a:endParaRPr lang="ru-RU" sz="1333" noProof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6" name="Text 31">
            <a:extLst>
              <a:ext uri="{FF2B5EF4-FFF2-40B4-BE49-F238E27FC236}">
                <a16:creationId xmlns:a16="http://schemas.microsoft.com/office/drawing/2014/main" id="{90A82C35-E5E9-5F6B-42DC-50501B3CB6B3}"/>
              </a:ext>
            </a:extLst>
          </p:cNvPr>
          <p:cNvSpPr/>
          <p:nvPr/>
        </p:nvSpPr>
        <p:spPr>
          <a:xfrm>
            <a:off x="2890837" y="6102096"/>
            <a:ext cx="6949440" cy="585216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r>
              <a:rPr lang="ru-RU" sz="1400" noProof="1">
                <a:solidFill>
                  <a:srgbClr val="16303A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Переход к перерыву — карточки остаются на столе</a:t>
            </a:r>
            <a:endParaRPr lang="ru-RU" sz="1400" noProof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7" name="Text 32">
            <a:extLst>
              <a:ext uri="{FF2B5EF4-FFF2-40B4-BE49-F238E27FC236}">
                <a16:creationId xmlns:a16="http://schemas.microsoft.com/office/drawing/2014/main" id="{63F4E2DD-5C3B-8E37-C668-07960B3291E2}"/>
              </a:ext>
            </a:extLst>
          </p:cNvPr>
          <p:cNvSpPr/>
          <p:nvPr/>
        </p:nvSpPr>
        <p:spPr>
          <a:xfrm>
            <a:off x="9575337" y="6102096"/>
            <a:ext cx="2194560" cy="585216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r>
              <a:rPr lang="ru-RU" sz="1267" noProof="1">
                <a:solidFill>
                  <a:srgbClr val="3D6673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Пленарное заседание</a:t>
            </a:r>
            <a:endParaRPr lang="ru-RU" sz="1267" noProof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3990401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0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2E2F6EE-2275-6C1D-A651-F90E981B016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5317" y="422444"/>
            <a:ext cx="10853299" cy="1080120"/>
          </a:xfrm>
        </p:spPr>
        <p:txBody>
          <a:bodyPr>
            <a:normAutofit/>
          </a:bodyPr>
          <a:lstStyle/>
          <a:p>
            <a:r>
              <a:rPr lang="ru-RU" noProof="1"/>
              <a:t>РАСПРЕДЕЛЕНИЕ ЗАДАНИЙ  |  Заранее размещено на столах до 09:15</a:t>
            </a:r>
          </a:p>
        </p:txBody>
      </p:sp>
      <p:sp>
        <p:nvSpPr>
          <p:cNvPr id="5" name="Shape 4">
            <a:extLst>
              <a:ext uri="{FF2B5EF4-FFF2-40B4-BE49-F238E27FC236}">
                <a16:creationId xmlns:a16="http://schemas.microsoft.com/office/drawing/2014/main" id="{5D0403B4-7BAC-ABA4-A6C5-0D73BB6D9052}"/>
              </a:ext>
            </a:extLst>
          </p:cNvPr>
          <p:cNvSpPr/>
          <p:nvPr/>
        </p:nvSpPr>
        <p:spPr>
          <a:xfrm>
            <a:off x="635317" y="1613163"/>
            <a:ext cx="11338560" cy="463296"/>
          </a:xfrm>
          <a:prstGeom prst="rect">
            <a:avLst/>
          </a:prstGeom>
          <a:solidFill>
            <a:srgbClr val="16303A"/>
          </a:solidFill>
          <a:ln w="12700">
            <a:solidFill>
              <a:srgbClr val="16303A"/>
            </a:solidFill>
            <a:prstDash val="solid"/>
          </a:ln>
        </p:spPr>
        <p:txBody>
          <a:bodyPr/>
          <a:lstStyle/>
          <a:p>
            <a:endParaRPr lang="ru-RU" sz="2400" noProof="1"/>
          </a:p>
        </p:txBody>
      </p:sp>
      <p:sp>
        <p:nvSpPr>
          <p:cNvPr id="6" name="Text 5">
            <a:extLst>
              <a:ext uri="{FF2B5EF4-FFF2-40B4-BE49-F238E27FC236}">
                <a16:creationId xmlns:a16="http://schemas.microsoft.com/office/drawing/2014/main" id="{0F6B2E0E-D777-2FDF-A6F4-34126A2E0ADF}"/>
              </a:ext>
            </a:extLst>
          </p:cNvPr>
          <p:cNvSpPr/>
          <p:nvPr/>
        </p:nvSpPr>
        <p:spPr>
          <a:xfrm>
            <a:off x="635317" y="1613163"/>
            <a:ext cx="1341120" cy="463296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r>
              <a:rPr lang="ru-RU" sz="1400" b="1" noProof="1">
                <a:solidFill>
                  <a:srgbClr val="FFFFFF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Задание</a:t>
            </a:r>
            <a:endParaRPr lang="ru-RU" sz="1400" noProof="1"/>
          </a:p>
        </p:txBody>
      </p:sp>
      <p:sp>
        <p:nvSpPr>
          <p:cNvPr id="7" name="Text 6">
            <a:extLst>
              <a:ext uri="{FF2B5EF4-FFF2-40B4-BE49-F238E27FC236}">
                <a16:creationId xmlns:a16="http://schemas.microsoft.com/office/drawing/2014/main" id="{1234B9E1-C057-B43E-15A6-096AB1069ABE}"/>
              </a:ext>
            </a:extLst>
          </p:cNvPr>
          <p:cNvSpPr/>
          <p:nvPr/>
        </p:nvSpPr>
        <p:spPr>
          <a:xfrm>
            <a:off x="2098357" y="1613163"/>
            <a:ext cx="4815840" cy="463296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r>
              <a:rPr lang="ru-RU" sz="1400" b="1" noProof="1">
                <a:solidFill>
                  <a:srgbClr val="FFFFFF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Группа педагогов</a:t>
            </a:r>
            <a:endParaRPr lang="ru-RU" sz="1400" noProof="1"/>
          </a:p>
        </p:txBody>
      </p:sp>
      <p:sp>
        <p:nvSpPr>
          <p:cNvPr id="8" name="Text 7">
            <a:extLst>
              <a:ext uri="{FF2B5EF4-FFF2-40B4-BE49-F238E27FC236}">
                <a16:creationId xmlns:a16="http://schemas.microsoft.com/office/drawing/2014/main" id="{6091F296-637B-5C6A-B7AC-0FC592782635}"/>
              </a:ext>
            </a:extLst>
          </p:cNvPr>
          <p:cNvSpPr/>
          <p:nvPr/>
        </p:nvSpPr>
        <p:spPr>
          <a:xfrm>
            <a:off x="7036117" y="1613163"/>
            <a:ext cx="2011680" cy="463296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r>
              <a:rPr lang="ru-RU" sz="1400" b="1" noProof="1">
                <a:solidFill>
                  <a:srgbClr val="FFFFFF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Столы (прим.)</a:t>
            </a:r>
            <a:endParaRPr lang="ru-RU" sz="1400" noProof="1"/>
          </a:p>
        </p:txBody>
      </p:sp>
      <p:sp>
        <p:nvSpPr>
          <p:cNvPr id="9" name="Text 8">
            <a:extLst>
              <a:ext uri="{FF2B5EF4-FFF2-40B4-BE49-F238E27FC236}">
                <a16:creationId xmlns:a16="http://schemas.microsoft.com/office/drawing/2014/main" id="{51653E12-4241-66F3-94CA-87D35CF4CEF1}"/>
              </a:ext>
            </a:extLst>
          </p:cNvPr>
          <p:cNvSpPr/>
          <p:nvPr/>
        </p:nvSpPr>
        <p:spPr>
          <a:xfrm>
            <a:off x="9169717" y="1613163"/>
            <a:ext cx="2743200" cy="463296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r>
              <a:rPr lang="ru-RU" sz="1400" b="1" noProof="1">
                <a:solidFill>
                  <a:srgbClr val="FFFFFF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Пары для Сессии 7</a:t>
            </a:r>
            <a:endParaRPr lang="ru-RU" sz="1400" noProof="1"/>
          </a:p>
        </p:txBody>
      </p:sp>
      <p:sp>
        <p:nvSpPr>
          <p:cNvPr id="10" name="Shape 9">
            <a:extLst>
              <a:ext uri="{FF2B5EF4-FFF2-40B4-BE49-F238E27FC236}">
                <a16:creationId xmlns:a16="http://schemas.microsoft.com/office/drawing/2014/main" id="{5493C46D-DF67-B54B-2456-798B9E4AC8AB}"/>
              </a:ext>
            </a:extLst>
          </p:cNvPr>
          <p:cNvSpPr/>
          <p:nvPr/>
        </p:nvSpPr>
        <p:spPr>
          <a:xfrm>
            <a:off x="635317" y="2076459"/>
            <a:ext cx="11338560" cy="902208"/>
          </a:xfrm>
          <a:prstGeom prst="rect">
            <a:avLst/>
          </a:prstGeom>
          <a:solidFill>
            <a:srgbClr val="E3F2FD"/>
          </a:solidFill>
          <a:ln w="10160">
            <a:solidFill>
              <a:srgbClr val="1565C0"/>
            </a:solidFill>
            <a:prstDash val="solid"/>
          </a:ln>
        </p:spPr>
        <p:txBody>
          <a:bodyPr/>
          <a:lstStyle/>
          <a:p>
            <a:endParaRPr lang="ru-RU" sz="2400" noProof="1"/>
          </a:p>
        </p:txBody>
      </p:sp>
      <p:sp>
        <p:nvSpPr>
          <p:cNvPr id="11" name="Shape 10">
            <a:extLst>
              <a:ext uri="{FF2B5EF4-FFF2-40B4-BE49-F238E27FC236}">
                <a16:creationId xmlns:a16="http://schemas.microsoft.com/office/drawing/2014/main" id="{E0B5C56F-9935-542C-A94B-DE840DE47631}"/>
              </a:ext>
            </a:extLst>
          </p:cNvPr>
          <p:cNvSpPr/>
          <p:nvPr/>
        </p:nvSpPr>
        <p:spPr>
          <a:xfrm>
            <a:off x="635317" y="2076459"/>
            <a:ext cx="1316736" cy="902208"/>
          </a:xfrm>
          <a:prstGeom prst="rect">
            <a:avLst/>
          </a:prstGeom>
          <a:solidFill>
            <a:srgbClr val="1565C0"/>
          </a:solidFill>
          <a:ln w="12700">
            <a:solidFill>
              <a:srgbClr val="1565C0"/>
            </a:solidFill>
            <a:prstDash val="solid"/>
          </a:ln>
        </p:spPr>
        <p:txBody>
          <a:bodyPr/>
          <a:lstStyle/>
          <a:p>
            <a:endParaRPr lang="ru-RU" sz="2400" noProof="1"/>
          </a:p>
        </p:txBody>
      </p:sp>
      <p:sp>
        <p:nvSpPr>
          <p:cNvPr id="12" name="Text 11">
            <a:extLst>
              <a:ext uri="{FF2B5EF4-FFF2-40B4-BE49-F238E27FC236}">
                <a16:creationId xmlns:a16="http://schemas.microsoft.com/office/drawing/2014/main" id="{62D99C55-3A98-7A1C-7C8A-EA52C5B3E3F9}"/>
              </a:ext>
            </a:extLst>
          </p:cNvPr>
          <p:cNvSpPr/>
          <p:nvPr/>
        </p:nvSpPr>
        <p:spPr>
          <a:xfrm>
            <a:off x="635317" y="2076459"/>
            <a:ext cx="1316736" cy="902208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algn="ctr"/>
            <a:r>
              <a:rPr lang="ru-RU" sz="1867" b="1" noProof="1">
                <a:solidFill>
                  <a:srgbClr val="FFFFFF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ЗАДАНИЕ</a:t>
            </a:r>
            <a:endParaRPr lang="ru-RU" sz="1867" noProof="1"/>
          </a:p>
          <a:p>
            <a:pPr algn="ctr"/>
            <a:r>
              <a:rPr lang="ru-RU" sz="1867" b="1" noProof="1">
                <a:solidFill>
                  <a:srgbClr val="FFFFFF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А</a:t>
            </a:r>
            <a:endParaRPr lang="ru-RU" sz="1867" noProof="1"/>
          </a:p>
        </p:txBody>
      </p:sp>
      <p:sp>
        <p:nvSpPr>
          <p:cNvPr id="13" name="Text 12">
            <a:extLst>
              <a:ext uri="{FF2B5EF4-FFF2-40B4-BE49-F238E27FC236}">
                <a16:creationId xmlns:a16="http://schemas.microsoft.com/office/drawing/2014/main" id="{DFB121EC-9DC2-FE34-5C9A-30FCA268BA9E}"/>
              </a:ext>
            </a:extLst>
          </p:cNvPr>
          <p:cNvSpPr/>
          <p:nvPr/>
        </p:nvSpPr>
        <p:spPr>
          <a:xfrm>
            <a:off x="2098357" y="2149611"/>
            <a:ext cx="4815840" cy="438912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r>
              <a:rPr lang="ru-RU" sz="1600" b="1" noProof="1">
                <a:solidFill>
                  <a:srgbClr val="16303A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Педагоги средней школы (общее образование)</a:t>
            </a:r>
            <a:endParaRPr lang="ru-RU" sz="1600" noProof="1"/>
          </a:p>
        </p:txBody>
      </p:sp>
      <p:sp>
        <p:nvSpPr>
          <p:cNvPr id="14" name="Text 13">
            <a:extLst>
              <a:ext uri="{FF2B5EF4-FFF2-40B4-BE49-F238E27FC236}">
                <a16:creationId xmlns:a16="http://schemas.microsoft.com/office/drawing/2014/main" id="{C5E1125B-F128-D11E-8EE4-CA005106CEB9}"/>
              </a:ext>
            </a:extLst>
          </p:cNvPr>
          <p:cNvSpPr/>
          <p:nvPr/>
        </p:nvSpPr>
        <p:spPr>
          <a:xfrm>
            <a:off x="2098357" y="2479577"/>
            <a:ext cx="4815840" cy="341376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r>
              <a:rPr lang="ru-RU" sz="1267" i="1" noProof="1">
                <a:solidFill>
                  <a:srgbClr val="3D6673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Основной ИК: ИК 4 — Вы действуете, а не просто слушаете</a:t>
            </a:r>
            <a:endParaRPr lang="ru-RU" sz="1267" noProof="1"/>
          </a:p>
        </p:txBody>
      </p:sp>
      <p:sp>
        <p:nvSpPr>
          <p:cNvPr id="15" name="Text 14">
            <a:extLst>
              <a:ext uri="{FF2B5EF4-FFF2-40B4-BE49-F238E27FC236}">
                <a16:creationId xmlns:a16="http://schemas.microsoft.com/office/drawing/2014/main" id="{0A0A3A75-C915-53C0-6E93-85555D974FF2}"/>
              </a:ext>
            </a:extLst>
          </p:cNvPr>
          <p:cNvSpPr/>
          <p:nvPr/>
        </p:nvSpPr>
        <p:spPr>
          <a:xfrm>
            <a:off x="7036117" y="2295915"/>
            <a:ext cx="2011680" cy="463296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r>
              <a:rPr lang="ru-RU" sz="1467" noProof="1">
                <a:solidFill>
                  <a:srgbClr val="16303A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Столы 1, 2, 3, 4</a:t>
            </a:r>
            <a:endParaRPr lang="ru-RU" sz="1467" noProof="1"/>
          </a:p>
        </p:txBody>
      </p:sp>
      <p:sp>
        <p:nvSpPr>
          <p:cNvPr id="16" name="Text 15">
            <a:extLst>
              <a:ext uri="{FF2B5EF4-FFF2-40B4-BE49-F238E27FC236}">
                <a16:creationId xmlns:a16="http://schemas.microsoft.com/office/drawing/2014/main" id="{021401C4-C333-36EC-C099-6E6FC7B458BC}"/>
              </a:ext>
            </a:extLst>
          </p:cNvPr>
          <p:cNvSpPr/>
          <p:nvPr/>
        </p:nvSpPr>
        <p:spPr>
          <a:xfrm>
            <a:off x="9169717" y="2295915"/>
            <a:ext cx="2743200" cy="463296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r>
              <a:rPr lang="ru-RU" sz="1333" noProof="1">
                <a:solidFill>
                  <a:srgbClr val="16303A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Столы 1+2 и Столы 3+4</a:t>
            </a:r>
            <a:endParaRPr lang="ru-RU" sz="1333" noProof="1"/>
          </a:p>
        </p:txBody>
      </p:sp>
      <p:sp>
        <p:nvSpPr>
          <p:cNvPr id="17" name="Shape 16">
            <a:extLst>
              <a:ext uri="{FF2B5EF4-FFF2-40B4-BE49-F238E27FC236}">
                <a16:creationId xmlns:a16="http://schemas.microsoft.com/office/drawing/2014/main" id="{2680FDB5-D49E-7E6D-23AB-FB0C4198A722}"/>
              </a:ext>
            </a:extLst>
          </p:cNvPr>
          <p:cNvSpPr/>
          <p:nvPr/>
        </p:nvSpPr>
        <p:spPr>
          <a:xfrm>
            <a:off x="635317" y="3076203"/>
            <a:ext cx="11338560" cy="902208"/>
          </a:xfrm>
          <a:prstGeom prst="rect">
            <a:avLst/>
          </a:prstGeom>
          <a:solidFill>
            <a:srgbClr val="F3E5F5"/>
          </a:solidFill>
          <a:ln w="10160">
            <a:solidFill>
              <a:srgbClr val="6A1B9A"/>
            </a:solidFill>
            <a:prstDash val="solid"/>
          </a:ln>
        </p:spPr>
        <p:txBody>
          <a:bodyPr/>
          <a:lstStyle/>
          <a:p>
            <a:endParaRPr lang="ru-RU" sz="2400" noProof="1"/>
          </a:p>
        </p:txBody>
      </p:sp>
      <p:sp>
        <p:nvSpPr>
          <p:cNvPr id="18" name="Shape 17">
            <a:extLst>
              <a:ext uri="{FF2B5EF4-FFF2-40B4-BE49-F238E27FC236}">
                <a16:creationId xmlns:a16="http://schemas.microsoft.com/office/drawing/2014/main" id="{03E7BAAE-A773-5F15-CF54-882AD394D430}"/>
              </a:ext>
            </a:extLst>
          </p:cNvPr>
          <p:cNvSpPr/>
          <p:nvPr/>
        </p:nvSpPr>
        <p:spPr>
          <a:xfrm>
            <a:off x="635317" y="3076203"/>
            <a:ext cx="1341120" cy="902208"/>
          </a:xfrm>
          <a:prstGeom prst="rect">
            <a:avLst/>
          </a:prstGeom>
          <a:solidFill>
            <a:srgbClr val="6A1B9A"/>
          </a:solidFill>
          <a:ln w="12700">
            <a:solidFill>
              <a:srgbClr val="6A1B9A"/>
            </a:solidFill>
            <a:prstDash val="solid"/>
          </a:ln>
        </p:spPr>
        <p:txBody>
          <a:bodyPr/>
          <a:lstStyle/>
          <a:p>
            <a:endParaRPr lang="ru-RU" sz="2400" noProof="1"/>
          </a:p>
        </p:txBody>
      </p:sp>
      <p:sp>
        <p:nvSpPr>
          <p:cNvPr id="19" name="Text 18">
            <a:extLst>
              <a:ext uri="{FF2B5EF4-FFF2-40B4-BE49-F238E27FC236}">
                <a16:creationId xmlns:a16="http://schemas.microsoft.com/office/drawing/2014/main" id="{C0F01BD9-CCDC-7FDC-EF30-E9A9BA6C1132}"/>
              </a:ext>
            </a:extLst>
          </p:cNvPr>
          <p:cNvSpPr/>
          <p:nvPr/>
        </p:nvSpPr>
        <p:spPr>
          <a:xfrm>
            <a:off x="635317" y="3076203"/>
            <a:ext cx="1316736" cy="902208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algn="ctr"/>
            <a:r>
              <a:rPr lang="ru-RU" sz="1867" b="1" noProof="1">
                <a:solidFill>
                  <a:srgbClr val="FFFFFF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ЗАДАНИЕ</a:t>
            </a:r>
            <a:endParaRPr lang="ru-RU" sz="1867" noProof="1"/>
          </a:p>
          <a:p>
            <a:pPr algn="ctr"/>
            <a:r>
              <a:rPr lang="ru-RU" sz="1867" b="1" noProof="1">
                <a:solidFill>
                  <a:srgbClr val="FFFFFF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Б</a:t>
            </a:r>
            <a:endParaRPr lang="ru-RU" sz="1867" noProof="1"/>
          </a:p>
        </p:txBody>
      </p:sp>
      <p:sp>
        <p:nvSpPr>
          <p:cNvPr id="20" name="Text 19">
            <a:extLst>
              <a:ext uri="{FF2B5EF4-FFF2-40B4-BE49-F238E27FC236}">
                <a16:creationId xmlns:a16="http://schemas.microsoft.com/office/drawing/2014/main" id="{F4DAB378-59CB-63D1-AB50-11AFC278F30C}"/>
              </a:ext>
            </a:extLst>
          </p:cNvPr>
          <p:cNvSpPr/>
          <p:nvPr/>
        </p:nvSpPr>
        <p:spPr>
          <a:xfrm>
            <a:off x="2098357" y="3149355"/>
            <a:ext cx="4815840" cy="438912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r>
              <a:rPr lang="ru-RU" sz="1600" b="1" noProof="1">
                <a:solidFill>
                  <a:srgbClr val="16303A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Педагоги предметов в системе ПОО</a:t>
            </a:r>
            <a:endParaRPr lang="ru-RU" sz="1600" noProof="1"/>
          </a:p>
        </p:txBody>
      </p:sp>
      <p:sp>
        <p:nvSpPr>
          <p:cNvPr id="21" name="Text 20">
            <a:extLst>
              <a:ext uri="{FF2B5EF4-FFF2-40B4-BE49-F238E27FC236}">
                <a16:creationId xmlns:a16="http://schemas.microsoft.com/office/drawing/2014/main" id="{573A9054-44FD-4FE9-1261-AE022C538975}"/>
              </a:ext>
            </a:extLst>
          </p:cNvPr>
          <p:cNvSpPr/>
          <p:nvPr/>
        </p:nvSpPr>
        <p:spPr>
          <a:xfrm>
            <a:off x="2098357" y="3480099"/>
            <a:ext cx="4815840" cy="341376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r>
              <a:rPr lang="ru-RU" sz="1267" i="1" noProof="1">
                <a:solidFill>
                  <a:srgbClr val="3D6673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Основной ИК: ИК 5 — Вы учитесь вместе с коллегами</a:t>
            </a:r>
            <a:endParaRPr lang="ru-RU" sz="1267" noProof="1"/>
          </a:p>
        </p:txBody>
      </p:sp>
      <p:sp>
        <p:nvSpPr>
          <p:cNvPr id="22" name="Text 21">
            <a:extLst>
              <a:ext uri="{FF2B5EF4-FFF2-40B4-BE49-F238E27FC236}">
                <a16:creationId xmlns:a16="http://schemas.microsoft.com/office/drawing/2014/main" id="{38ACFCCF-10E2-100C-9B40-7FE0CF73219B}"/>
              </a:ext>
            </a:extLst>
          </p:cNvPr>
          <p:cNvSpPr/>
          <p:nvPr/>
        </p:nvSpPr>
        <p:spPr>
          <a:xfrm>
            <a:off x="7036117" y="3295659"/>
            <a:ext cx="2011680" cy="463296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r>
              <a:rPr lang="ru-RU" sz="1467" noProof="1">
                <a:solidFill>
                  <a:srgbClr val="16303A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Столы 5, 6, 7, 8</a:t>
            </a:r>
            <a:endParaRPr lang="ru-RU" sz="1467" noProof="1"/>
          </a:p>
        </p:txBody>
      </p:sp>
      <p:sp>
        <p:nvSpPr>
          <p:cNvPr id="23" name="Text 22">
            <a:extLst>
              <a:ext uri="{FF2B5EF4-FFF2-40B4-BE49-F238E27FC236}">
                <a16:creationId xmlns:a16="http://schemas.microsoft.com/office/drawing/2014/main" id="{FEC13F27-E755-C604-8003-CA224841DEF1}"/>
              </a:ext>
            </a:extLst>
          </p:cNvPr>
          <p:cNvSpPr/>
          <p:nvPr/>
        </p:nvSpPr>
        <p:spPr>
          <a:xfrm>
            <a:off x="9169717" y="3295659"/>
            <a:ext cx="2743200" cy="463296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r>
              <a:rPr lang="ru-RU" sz="1333" noProof="1">
                <a:solidFill>
                  <a:srgbClr val="16303A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Столы 5+6 и Столы 7+8</a:t>
            </a:r>
            <a:endParaRPr lang="ru-RU" sz="1333" noProof="1"/>
          </a:p>
        </p:txBody>
      </p:sp>
      <p:sp>
        <p:nvSpPr>
          <p:cNvPr id="24" name="Shape 23">
            <a:extLst>
              <a:ext uri="{FF2B5EF4-FFF2-40B4-BE49-F238E27FC236}">
                <a16:creationId xmlns:a16="http://schemas.microsoft.com/office/drawing/2014/main" id="{DE4B97A1-1957-B66D-6FB4-CAF8AB7D1804}"/>
              </a:ext>
            </a:extLst>
          </p:cNvPr>
          <p:cNvSpPr/>
          <p:nvPr/>
        </p:nvSpPr>
        <p:spPr>
          <a:xfrm>
            <a:off x="635317" y="4075947"/>
            <a:ext cx="11338560" cy="902208"/>
          </a:xfrm>
          <a:prstGeom prst="rect">
            <a:avLst/>
          </a:prstGeom>
          <a:solidFill>
            <a:srgbClr val="FFF3E0"/>
          </a:solidFill>
          <a:ln w="10160">
            <a:solidFill>
              <a:srgbClr val="E65100"/>
            </a:solidFill>
            <a:prstDash val="solid"/>
          </a:ln>
        </p:spPr>
        <p:txBody>
          <a:bodyPr/>
          <a:lstStyle/>
          <a:p>
            <a:endParaRPr lang="ru-RU" sz="2400" noProof="1"/>
          </a:p>
        </p:txBody>
      </p:sp>
      <p:sp>
        <p:nvSpPr>
          <p:cNvPr id="25" name="Shape 24">
            <a:extLst>
              <a:ext uri="{FF2B5EF4-FFF2-40B4-BE49-F238E27FC236}">
                <a16:creationId xmlns:a16="http://schemas.microsoft.com/office/drawing/2014/main" id="{1BE9016C-BEAD-89B8-CECE-9442C3BE4437}"/>
              </a:ext>
            </a:extLst>
          </p:cNvPr>
          <p:cNvSpPr/>
          <p:nvPr/>
        </p:nvSpPr>
        <p:spPr>
          <a:xfrm>
            <a:off x="635317" y="4075947"/>
            <a:ext cx="1316736" cy="902208"/>
          </a:xfrm>
          <a:prstGeom prst="rect">
            <a:avLst/>
          </a:prstGeom>
          <a:solidFill>
            <a:srgbClr val="E65100"/>
          </a:solidFill>
          <a:ln w="12700">
            <a:solidFill>
              <a:srgbClr val="E65100"/>
            </a:solidFill>
            <a:prstDash val="solid"/>
          </a:ln>
        </p:spPr>
        <p:txBody>
          <a:bodyPr/>
          <a:lstStyle/>
          <a:p>
            <a:endParaRPr lang="ru-RU" sz="2400" noProof="1"/>
          </a:p>
        </p:txBody>
      </p:sp>
      <p:sp>
        <p:nvSpPr>
          <p:cNvPr id="26" name="Text 25">
            <a:extLst>
              <a:ext uri="{FF2B5EF4-FFF2-40B4-BE49-F238E27FC236}">
                <a16:creationId xmlns:a16="http://schemas.microsoft.com/office/drawing/2014/main" id="{4744B5EA-5BF6-C6FC-DA82-517AA32652FF}"/>
              </a:ext>
            </a:extLst>
          </p:cNvPr>
          <p:cNvSpPr/>
          <p:nvPr/>
        </p:nvSpPr>
        <p:spPr>
          <a:xfrm>
            <a:off x="635317" y="4075947"/>
            <a:ext cx="1316736" cy="902208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algn="ctr"/>
            <a:r>
              <a:rPr lang="ru-RU" sz="1867" b="1" noProof="1">
                <a:solidFill>
                  <a:srgbClr val="FFFFFF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ЗАДАНИЕ</a:t>
            </a:r>
            <a:endParaRPr lang="ru-RU" sz="1867" noProof="1"/>
          </a:p>
          <a:p>
            <a:pPr algn="ctr"/>
            <a:r>
              <a:rPr lang="ru-RU" sz="1867" b="1" noProof="1">
                <a:solidFill>
                  <a:srgbClr val="FFFFFF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В</a:t>
            </a:r>
            <a:endParaRPr lang="ru-RU" sz="1867" noProof="1"/>
          </a:p>
        </p:txBody>
      </p:sp>
      <p:sp>
        <p:nvSpPr>
          <p:cNvPr id="27" name="Text 26">
            <a:extLst>
              <a:ext uri="{FF2B5EF4-FFF2-40B4-BE49-F238E27FC236}">
                <a16:creationId xmlns:a16="http://schemas.microsoft.com/office/drawing/2014/main" id="{968BB98C-164A-829D-E9BC-A2C8C2F46ED2}"/>
              </a:ext>
            </a:extLst>
          </p:cNvPr>
          <p:cNvSpPr/>
          <p:nvPr/>
        </p:nvSpPr>
        <p:spPr>
          <a:xfrm>
            <a:off x="2098357" y="4149099"/>
            <a:ext cx="4815840" cy="438912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r>
              <a:rPr lang="ru-RU" sz="1600" b="1" noProof="1">
                <a:solidFill>
                  <a:srgbClr val="16303A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Мастера производственного обучения и практические тренеры</a:t>
            </a:r>
            <a:endParaRPr lang="ru-RU" sz="1600" noProof="1"/>
          </a:p>
        </p:txBody>
      </p:sp>
      <p:sp>
        <p:nvSpPr>
          <p:cNvPr id="28" name="Text 27">
            <a:extLst>
              <a:ext uri="{FF2B5EF4-FFF2-40B4-BE49-F238E27FC236}">
                <a16:creationId xmlns:a16="http://schemas.microsoft.com/office/drawing/2014/main" id="{7DB1DCF2-D3AB-CFA5-76A1-F36964B7F0BB}"/>
              </a:ext>
            </a:extLst>
          </p:cNvPr>
          <p:cNvSpPr/>
          <p:nvPr/>
        </p:nvSpPr>
        <p:spPr>
          <a:xfrm>
            <a:off x="2098357" y="4588011"/>
            <a:ext cx="4815840" cy="341376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r>
              <a:rPr lang="ru-RU" sz="1267" i="1" noProof="1">
                <a:solidFill>
                  <a:srgbClr val="3D6673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Основной ИК: ИК 1 — Связь с вашей реальной работой</a:t>
            </a:r>
            <a:endParaRPr lang="ru-RU" sz="1267" noProof="1"/>
          </a:p>
        </p:txBody>
      </p:sp>
      <p:sp>
        <p:nvSpPr>
          <p:cNvPr id="29" name="Text 28">
            <a:extLst>
              <a:ext uri="{FF2B5EF4-FFF2-40B4-BE49-F238E27FC236}">
                <a16:creationId xmlns:a16="http://schemas.microsoft.com/office/drawing/2014/main" id="{8604C6A3-C908-8DEB-6FF7-66A045210CA9}"/>
              </a:ext>
            </a:extLst>
          </p:cNvPr>
          <p:cNvSpPr/>
          <p:nvPr/>
        </p:nvSpPr>
        <p:spPr>
          <a:xfrm>
            <a:off x="7036117" y="4295403"/>
            <a:ext cx="2011680" cy="463296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r>
              <a:rPr lang="ru-RU" sz="1467" noProof="1">
                <a:solidFill>
                  <a:srgbClr val="16303A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Столы 9, 10</a:t>
            </a:r>
            <a:endParaRPr lang="ru-RU" sz="1467" noProof="1"/>
          </a:p>
        </p:txBody>
      </p:sp>
      <p:sp>
        <p:nvSpPr>
          <p:cNvPr id="30" name="Text 29">
            <a:extLst>
              <a:ext uri="{FF2B5EF4-FFF2-40B4-BE49-F238E27FC236}">
                <a16:creationId xmlns:a16="http://schemas.microsoft.com/office/drawing/2014/main" id="{00C654CD-9D23-9CED-E266-3217AF89CE83}"/>
              </a:ext>
            </a:extLst>
          </p:cNvPr>
          <p:cNvSpPr/>
          <p:nvPr/>
        </p:nvSpPr>
        <p:spPr>
          <a:xfrm>
            <a:off x="9169717" y="4295403"/>
            <a:ext cx="2743200" cy="463296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r>
              <a:rPr lang="ru-RU" sz="1333" noProof="1">
                <a:solidFill>
                  <a:srgbClr val="16303A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Столы 9+10</a:t>
            </a:r>
            <a:endParaRPr lang="ru-RU" sz="1333" noProof="1"/>
          </a:p>
        </p:txBody>
      </p:sp>
      <p:sp>
        <p:nvSpPr>
          <p:cNvPr id="31" name="Shape 30">
            <a:extLst>
              <a:ext uri="{FF2B5EF4-FFF2-40B4-BE49-F238E27FC236}">
                <a16:creationId xmlns:a16="http://schemas.microsoft.com/office/drawing/2014/main" id="{B505DD62-EE09-1071-A173-1965E31A0E27}"/>
              </a:ext>
            </a:extLst>
          </p:cNvPr>
          <p:cNvSpPr/>
          <p:nvPr/>
        </p:nvSpPr>
        <p:spPr>
          <a:xfrm>
            <a:off x="635317" y="5148843"/>
            <a:ext cx="11338560" cy="463296"/>
          </a:xfrm>
          <a:prstGeom prst="rect">
            <a:avLst/>
          </a:prstGeom>
          <a:solidFill>
            <a:srgbClr val="027A87"/>
          </a:solidFill>
          <a:ln w="12700">
            <a:solidFill>
              <a:srgbClr val="027A87"/>
            </a:solidFill>
            <a:prstDash val="solid"/>
          </a:ln>
        </p:spPr>
        <p:txBody>
          <a:bodyPr/>
          <a:lstStyle/>
          <a:p>
            <a:endParaRPr lang="ru-RU" sz="2400" noProof="1"/>
          </a:p>
        </p:txBody>
      </p:sp>
      <p:sp>
        <p:nvSpPr>
          <p:cNvPr id="32" name="Text 31">
            <a:extLst>
              <a:ext uri="{FF2B5EF4-FFF2-40B4-BE49-F238E27FC236}">
                <a16:creationId xmlns:a16="http://schemas.microsoft.com/office/drawing/2014/main" id="{DF9979D0-CADA-63DC-011C-F4E00199CD7A}"/>
              </a:ext>
            </a:extLst>
          </p:cNvPr>
          <p:cNvSpPr/>
          <p:nvPr/>
        </p:nvSpPr>
        <p:spPr>
          <a:xfrm>
            <a:off x="879157" y="5148843"/>
            <a:ext cx="10972800" cy="463296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r>
              <a:rPr lang="ru-RU" sz="1400" noProof="1">
                <a:solidFill>
                  <a:srgbClr val="FFFFFF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Разместите распределение пар заданий в передней части аудитории — столы должны видеть, с каким столом они объединены для Сессии 7.</a:t>
            </a:r>
            <a:endParaRPr lang="ru-RU" sz="1400" noProof="1"/>
          </a:p>
        </p:txBody>
      </p:sp>
      <p:sp>
        <p:nvSpPr>
          <p:cNvPr id="33" name="Text 32">
            <a:extLst>
              <a:ext uri="{FF2B5EF4-FFF2-40B4-BE49-F238E27FC236}">
                <a16:creationId xmlns:a16="http://schemas.microsoft.com/office/drawing/2014/main" id="{311BF958-71E3-BE02-1D82-D2C5FA1465A1}"/>
              </a:ext>
            </a:extLst>
          </p:cNvPr>
          <p:cNvSpPr/>
          <p:nvPr/>
        </p:nvSpPr>
        <p:spPr>
          <a:xfrm>
            <a:off x="635317" y="5782827"/>
            <a:ext cx="11338560" cy="42672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r>
              <a:rPr lang="ru-RU" sz="1333" b="1" noProof="1">
                <a:solidFill>
                  <a:schemeClr val="bg1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Цветовое кодирование карточек SCAFFOLD: Лаймово-жёлтый = LifeComp  |  Оранжевый = DigComp  |  Фиолетовый = EntreComp  |  </a:t>
            </a:r>
          </a:p>
          <a:p>
            <a:r>
              <a:rPr lang="ru-RU" sz="1333" b="1" noProof="1">
                <a:solidFill>
                  <a:schemeClr val="bg1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Зелёный = GreenComp  |  Голубой = Сквозные компетенции</a:t>
            </a:r>
            <a:endParaRPr lang="ru-RU" sz="1333" noProof="1">
              <a:solidFill>
                <a:schemeClr val="bg1"/>
              </a:solidFill>
            </a:endParaRPr>
          </a:p>
        </p:txBody>
      </p:sp>
      <p:sp>
        <p:nvSpPr>
          <p:cNvPr id="34" name="Text 33">
            <a:extLst>
              <a:ext uri="{FF2B5EF4-FFF2-40B4-BE49-F238E27FC236}">
                <a16:creationId xmlns:a16="http://schemas.microsoft.com/office/drawing/2014/main" id="{0BD3FA00-358E-B408-4259-FCA04469C689}"/>
              </a:ext>
            </a:extLst>
          </p:cNvPr>
          <p:cNvSpPr/>
          <p:nvPr/>
        </p:nvSpPr>
        <p:spPr>
          <a:xfrm>
            <a:off x="635317" y="6283156"/>
            <a:ext cx="11338560" cy="30480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r>
              <a:rPr lang="ru-RU" sz="1267" i="1" noProof="1">
                <a:solidFill>
                  <a:schemeClr val="bg1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Назовите эти цвета, когда участники открывают свои колоды — это значительно экономит время при работе с Карточкой 1.</a:t>
            </a:r>
            <a:endParaRPr lang="ru-RU" sz="1267" noProof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952262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0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11F4C087-C93E-B880-584E-130F3AD22F6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DB84476-BC29-4407-9D57-B2E562B8968B}" type="slidenum">
              <a:rPr lang="ru-RU" noProof="1" smtClean="0"/>
              <a:pPr/>
              <a:t>105</a:t>
            </a:fld>
            <a:endParaRPr lang="ru-RU" noProof="1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5A473DF-DCC6-58E4-27C2-3F9EDB86466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noProof="1"/>
              <a:t>Ожидаемые результаты: 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8EFD62B5-E439-9342-C5F1-B8019A6B1C63}"/>
              </a:ext>
            </a:extLst>
          </p:cNvPr>
          <p:cNvSpPr txBox="1"/>
          <p:nvPr/>
        </p:nvSpPr>
        <p:spPr>
          <a:xfrm>
            <a:off x="635316" y="1745673"/>
            <a:ext cx="10291763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+mj-lt"/>
              <a:buAutoNum type="arabicPeriod"/>
            </a:pPr>
            <a:r>
              <a:rPr lang="ru-RU" sz="2400" noProof="1">
                <a:solidFill>
                  <a:schemeClr val="bg1"/>
                </a:solidFill>
              </a:rPr>
              <a:t>Разработать сессию профессионального развития педагогов с использованием SCAFFOLD</a:t>
            </a:r>
          </a:p>
          <a:p>
            <a:pPr marL="342900" indent="-342900">
              <a:buFont typeface="+mj-lt"/>
              <a:buAutoNum type="arabicPeriod"/>
            </a:pPr>
            <a:r>
              <a:rPr lang="ru-RU" sz="2400" noProof="1">
                <a:solidFill>
                  <a:schemeClr val="bg1"/>
                </a:solidFill>
              </a:rPr>
              <a:t>Использовать SCAFFOLD для выявления пробелов в дизайне и содержании профессионального развития педагогов</a:t>
            </a:r>
          </a:p>
          <a:p>
            <a:pPr marL="342900" indent="-342900">
              <a:buFont typeface="+mj-lt"/>
              <a:buAutoNum type="arabicPeriod"/>
            </a:pPr>
            <a:endParaRPr lang="ru-RU" sz="2400" noProof="1">
              <a:solidFill>
                <a:schemeClr val="bg1"/>
              </a:solidFill>
            </a:endParaRPr>
          </a:p>
          <a:p>
            <a:pPr marL="342900" indent="-342900">
              <a:buFont typeface="+mj-lt"/>
              <a:buAutoNum type="arabicPeriod"/>
            </a:pPr>
            <a:endParaRPr lang="ru-RU" sz="2400" noProof="1">
              <a:solidFill>
                <a:schemeClr val="bg1"/>
              </a:solidFill>
            </a:endParaRPr>
          </a:p>
        </p:txBody>
      </p:sp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79668C3A-DF46-D6C7-3BF1-B27764F1389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7086349"/>
              </p:ext>
            </p:extLst>
          </p:nvPr>
        </p:nvGraphicFramePr>
        <p:xfrm>
          <a:off x="623888" y="3612991"/>
          <a:ext cx="10933112" cy="365760"/>
        </p:xfrm>
        <a:graphic>
          <a:graphicData uri="http://schemas.openxmlformats.org/drawingml/2006/table">
            <a:tbl>
              <a:tblPr/>
              <a:tblGrid>
                <a:gridCol w="10933112">
                  <a:extLst>
                    <a:ext uri="{9D8B030D-6E8A-4147-A177-3AD203B41FA5}">
                      <a16:colId xmlns:a16="http://schemas.microsoft.com/office/drawing/2014/main" val="1613388537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>
                        <a:buNone/>
                      </a:pPr>
                      <a:endParaRPr lang="ru-RU" noProof="1"/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60594547"/>
                  </a:ext>
                </a:extLst>
              </a:tr>
            </a:tbl>
          </a:graphicData>
        </a:graphic>
      </p:graphicFrame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00670DBC-BE96-E4FE-A1DA-09495CED9B5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31648610"/>
              </p:ext>
            </p:extLst>
          </p:nvPr>
        </p:nvGraphicFramePr>
        <p:xfrm>
          <a:off x="623888" y="3612991"/>
          <a:ext cx="10933112" cy="365760"/>
        </p:xfrm>
        <a:graphic>
          <a:graphicData uri="http://schemas.openxmlformats.org/drawingml/2006/table">
            <a:tbl>
              <a:tblPr/>
              <a:tblGrid>
                <a:gridCol w="10933112">
                  <a:extLst>
                    <a:ext uri="{9D8B030D-6E8A-4147-A177-3AD203B41FA5}">
                      <a16:colId xmlns:a16="http://schemas.microsoft.com/office/drawing/2014/main" val="778531542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>
                        <a:buNone/>
                      </a:pPr>
                      <a:endParaRPr lang="ru-RU" noProof="1"/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3102865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38667447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0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9E9B036-DB37-8E82-03E4-0628537672F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5316" y="193280"/>
            <a:ext cx="9916697" cy="1080120"/>
          </a:xfrm>
        </p:spPr>
        <p:txBody>
          <a:bodyPr>
            <a:normAutofit fontScale="90000"/>
          </a:bodyPr>
          <a:lstStyle/>
          <a:p>
            <a:r>
              <a:rPr lang="ru-RU" noProof="1"/>
              <a:t>Три задания по разработке — краткий обзор (распечатанные задания заранее размещены на столах)</a:t>
            </a:r>
          </a:p>
        </p:txBody>
      </p:sp>
      <p:sp>
        <p:nvSpPr>
          <p:cNvPr id="3" name="Shape 2">
            <a:extLst>
              <a:ext uri="{FF2B5EF4-FFF2-40B4-BE49-F238E27FC236}">
                <a16:creationId xmlns:a16="http://schemas.microsoft.com/office/drawing/2014/main" id="{49456082-D416-03AA-0F29-DBA6F0D8CBC4}"/>
              </a:ext>
            </a:extLst>
          </p:cNvPr>
          <p:cNvSpPr/>
          <p:nvPr/>
        </p:nvSpPr>
        <p:spPr>
          <a:xfrm>
            <a:off x="635316" y="1502564"/>
            <a:ext cx="11338560" cy="1731264"/>
          </a:xfrm>
          <a:prstGeom prst="rect">
            <a:avLst/>
          </a:prstGeom>
          <a:solidFill>
            <a:srgbClr val="E3F2FD"/>
          </a:solidFill>
          <a:ln w="15240">
            <a:solidFill>
              <a:srgbClr val="1565C0"/>
            </a:solidFill>
            <a:prstDash val="solid"/>
          </a:ln>
          <a:effectLst>
            <a:outerShdw blurRad="76200" dist="38100" dir="8100000" algn="bl" rotWithShape="0">
              <a:srgbClr val="000000">
                <a:alpha val="10000"/>
              </a:srgbClr>
            </a:outerShdw>
          </a:effectLst>
        </p:spPr>
        <p:txBody>
          <a:bodyPr/>
          <a:lstStyle/>
          <a:p>
            <a:endParaRPr lang="ru-RU" sz="1867" noProof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Shape 3">
            <a:extLst>
              <a:ext uri="{FF2B5EF4-FFF2-40B4-BE49-F238E27FC236}">
                <a16:creationId xmlns:a16="http://schemas.microsoft.com/office/drawing/2014/main" id="{4EEDF475-6457-4803-EE31-56CCB0BB1F56}"/>
              </a:ext>
            </a:extLst>
          </p:cNvPr>
          <p:cNvSpPr/>
          <p:nvPr/>
        </p:nvSpPr>
        <p:spPr>
          <a:xfrm>
            <a:off x="635316" y="1502564"/>
            <a:ext cx="877824" cy="1731264"/>
          </a:xfrm>
          <a:prstGeom prst="rect">
            <a:avLst/>
          </a:prstGeom>
          <a:solidFill>
            <a:srgbClr val="1565C0"/>
          </a:solidFill>
          <a:ln w="12700">
            <a:solidFill>
              <a:srgbClr val="1565C0"/>
            </a:solidFill>
            <a:prstDash val="solid"/>
          </a:ln>
        </p:spPr>
        <p:txBody>
          <a:bodyPr/>
          <a:lstStyle/>
          <a:p>
            <a:endParaRPr lang="ru-RU" sz="1867" noProof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Text 4">
            <a:extLst>
              <a:ext uri="{FF2B5EF4-FFF2-40B4-BE49-F238E27FC236}">
                <a16:creationId xmlns:a16="http://schemas.microsoft.com/office/drawing/2014/main" id="{885A30E2-C5C8-1B44-2C93-1DCA6E12B1E1}"/>
              </a:ext>
            </a:extLst>
          </p:cNvPr>
          <p:cNvSpPr/>
          <p:nvPr/>
        </p:nvSpPr>
        <p:spPr>
          <a:xfrm>
            <a:off x="635316" y="1502564"/>
            <a:ext cx="877824" cy="1731264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algn="ctr"/>
            <a:r>
              <a:rPr lang="ru-RU" sz="3200" b="1" noProof="1">
                <a:solidFill>
                  <a:srgbClr val="FFFFFF"/>
                </a:solidFill>
                <a:latin typeface="Arial" panose="020B0604020202020204" pitchFamily="34" charset="0"/>
                <a:ea typeface="Georgia" pitchFamily="34" charset="-122"/>
                <a:cs typeface="Arial" panose="020B0604020202020204" pitchFamily="34" charset="0"/>
              </a:rPr>
              <a:t>А</a:t>
            </a:r>
            <a:endParaRPr lang="ru-RU" sz="3200" noProof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Text 5">
            <a:extLst>
              <a:ext uri="{FF2B5EF4-FFF2-40B4-BE49-F238E27FC236}">
                <a16:creationId xmlns:a16="http://schemas.microsoft.com/office/drawing/2014/main" id="{5427E664-BA17-7D00-2E8E-A492F70A5436}"/>
              </a:ext>
            </a:extLst>
          </p:cNvPr>
          <p:cNvSpPr/>
          <p:nvPr/>
        </p:nvSpPr>
        <p:spPr>
          <a:xfrm>
            <a:off x="1671636" y="1575716"/>
            <a:ext cx="5913120" cy="36576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r>
              <a:rPr lang="ru-RU" sz="1333" b="1" noProof="1">
                <a:solidFill>
                  <a:srgbClr val="16303A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20 педагогов средней школы, городская школа, смешанные предметы</a:t>
            </a:r>
            <a:endParaRPr lang="ru-RU" sz="1333" noProof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Text 6">
            <a:extLst>
              <a:ext uri="{FF2B5EF4-FFF2-40B4-BE49-F238E27FC236}">
                <a16:creationId xmlns:a16="http://schemas.microsoft.com/office/drawing/2014/main" id="{88A3FD7C-2535-554F-F895-E973885784DD}"/>
              </a:ext>
            </a:extLst>
          </p:cNvPr>
          <p:cNvSpPr/>
          <p:nvPr/>
        </p:nvSpPr>
        <p:spPr>
          <a:xfrm>
            <a:off x="1671636" y="1965860"/>
            <a:ext cx="5913120" cy="54864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r>
              <a:rPr lang="ru-RU" sz="1067" noProof="1">
                <a:solidFill>
                  <a:srgbClr val="3D6673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Контекст: Ранее участвовали в профессиональном развитии педагогов, но описывают его как основанное на лекциях и оторванное от практики. Директор поддерживает, но нет структур последующей работы.</a:t>
            </a:r>
            <a:endParaRPr lang="ru-RU" sz="1067" noProof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Text 7">
            <a:extLst>
              <a:ext uri="{FF2B5EF4-FFF2-40B4-BE49-F238E27FC236}">
                <a16:creationId xmlns:a16="http://schemas.microsoft.com/office/drawing/2014/main" id="{41BC832E-9B54-34A0-567C-23E7F6393502}"/>
              </a:ext>
            </a:extLst>
          </p:cNvPr>
          <p:cNvSpPr/>
          <p:nvPr/>
        </p:nvSpPr>
        <p:spPr>
          <a:xfrm>
            <a:off x="1671636" y="2538884"/>
            <a:ext cx="5913120" cy="585216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r>
              <a:rPr lang="ru-RU" sz="1067" noProof="1">
                <a:solidFill>
                  <a:srgbClr val="3D6673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Пробел: LifeComp — личностные/социальные компетенции; профессиональные отношения и благополучие обучающихся. </a:t>
            </a:r>
            <a:endParaRPr lang="ru-RU" sz="1067" noProof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Shape 8">
            <a:extLst>
              <a:ext uri="{FF2B5EF4-FFF2-40B4-BE49-F238E27FC236}">
                <a16:creationId xmlns:a16="http://schemas.microsoft.com/office/drawing/2014/main" id="{A344C360-5249-AF40-DE9D-A031868F9F88}"/>
              </a:ext>
            </a:extLst>
          </p:cNvPr>
          <p:cNvSpPr/>
          <p:nvPr/>
        </p:nvSpPr>
        <p:spPr>
          <a:xfrm>
            <a:off x="7670100" y="1575716"/>
            <a:ext cx="4169664" cy="1560576"/>
          </a:xfrm>
          <a:prstGeom prst="rect">
            <a:avLst/>
          </a:prstGeom>
          <a:solidFill>
            <a:srgbClr val="1565C0"/>
          </a:solidFill>
          <a:ln w="12700">
            <a:solidFill>
              <a:srgbClr val="1565C0"/>
            </a:solidFill>
            <a:prstDash val="solid"/>
          </a:ln>
        </p:spPr>
        <p:txBody>
          <a:bodyPr/>
          <a:lstStyle/>
          <a:p>
            <a:endParaRPr lang="ru-RU" sz="1867" noProof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Text 9">
            <a:extLst>
              <a:ext uri="{FF2B5EF4-FFF2-40B4-BE49-F238E27FC236}">
                <a16:creationId xmlns:a16="http://schemas.microsoft.com/office/drawing/2014/main" id="{FF3FBB96-D648-BAB6-C652-41D1B7619780}"/>
              </a:ext>
            </a:extLst>
          </p:cNvPr>
          <p:cNvSpPr/>
          <p:nvPr/>
        </p:nvSpPr>
        <p:spPr>
          <a:xfrm>
            <a:off x="7792020" y="1624484"/>
            <a:ext cx="3925824" cy="30480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r>
              <a:rPr lang="ru-RU" sz="933" b="1" noProof="1">
                <a:solidFill>
                  <a:srgbClr val="CCDDEE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Основной ИК:</a:t>
            </a:r>
            <a:endParaRPr lang="ru-RU" sz="933" noProof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Text 10">
            <a:extLst>
              <a:ext uri="{FF2B5EF4-FFF2-40B4-BE49-F238E27FC236}">
                <a16:creationId xmlns:a16="http://schemas.microsoft.com/office/drawing/2014/main" id="{B384A7FF-69CB-352D-12AC-4ED038CEA0B3}"/>
              </a:ext>
            </a:extLst>
          </p:cNvPr>
          <p:cNvSpPr/>
          <p:nvPr/>
        </p:nvSpPr>
        <p:spPr>
          <a:xfrm>
            <a:off x="7792020" y="1929284"/>
            <a:ext cx="3925824" cy="512064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r>
              <a:rPr lang="ru-RU" sz="1467" b="1" noProof="1">
                <a:solidFill>
                  <a:srgbClr val="FFFFFF"/>
                </a:solidFill>
                <a:latin typeface="Arial" panose="020B0604020202020204" pitchFamily="34" charset="0"/>
                <a:ea typeface="Georgia" pitchFamily="34" charset="-122"/>
                <a:cs typeface="Arial" panose="020B0604020202020204" pitchFamily="34" charset="0"/>
              </a:rPr>
              <a:t>ИК 4 — Вы действуете, а не просто слушаете</a:t>
            </a:r>
            <a:endParaRPr lang="ru-RU" sz="1467" noProof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Text 11">
            <a:extLst>
              <a:ext uri="{FF2B5EF4-FFF2-40B4-BE49-F238E27FC236}">
                <a16:creationId xmlns:a16="http://schemas.microsoft.com/office/drawing/2014/main" id="{A27A3521-F260-CAF0-E021-CBCC83BF7257}"/>
              </a:ext>
            </a:extLst>
          </p:cNvPr>
          <p:cNvSpPr/>
          <p:nvPr/>
        </p:nvSpPr>
        <p:spPr>
          <a:xfrm>
            <a:off x="7792020" y="2453540"/>
            <a:ext cx="3925824" cy="60960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r>
              <a:rPr lang="ru-RU" sz="933" i="1" noProof="1">
                <a:solidFill>
                  <a:srgbClr val="FFFFFF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Каждый этап должен требовать от педагогов каких-то действий — обсуждать, создавать, проверять, рефлексировать.</a:t>
            </a:r>
            <a:endParaRPr lang="ru-RU" sz="933" noProof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Shape 12">
            <a:extLst>
              <a:ext uri="{FF2B5EF4-FFF2-40B4-BE49-F238E27FC236}">
                <a16:creationId xmlns:a16="http://schemas.microsoft.com/office/drawing/2014/main" id="{7976A4F0-2D38-A551-10DD-51E41A2DD76A}"/>
              </a:ext>
            </a:extLst>
          </p:cNvPr>
          <p:cNvSpPr/>
          <p:nvPr/>
        </p:nvSpPr>
        <p:spPr>
          <a:xfrm>
            <a:off x="635316" y="3262852"/>
            <a:ext cx="11338560" cy="1731264"/>
          </a:xfrm>
          <a:prstGeom prst="rect">
            <a:avLst/>
          </a:prstGeom>
          <a:solidFill>
            <a:srgbClr val="F3E5F5"/>
          </a:solidFill>
          <a:ln w="15240">
            <a:solidFill>
              <a:srgbClr val="6A1B9A"/>
            </a:solidFill>
            <a:prstDash val="solid"/>
          </a:ln>
          <a:effectLst>
            <a:outerShdw blurRad="76200" dist="38100" dir="8100000" algn="bl" rotWithShape="0">
              <a:srgbClr val="000000">
                <a:alpha val="10000"/>
              </a:srgbClr>
            </a:outerShdw>
          </a:effectLst>
        </p:spPr>
        <p:txBody>
          <a:bodyPr/>
          <a:lstStyle/>
          <a:p>
            <a:endParaRPr lang="ru-RU" sz="1867" noProof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Shape 13">
            <a:extLst>
              <a:ext uri="{FF2B5EF4-FFF2-40B4-BE49-F238E27FC236}">
                <a16:creationId xmlns:a16="http://schemas.microsoft.com/office/drawing/2014/main" id="{5BCB59A0-4412-5941-A2FF-F600855DC7DC}"/>
              </a:ext>
            </a:extLst>
          </p:cNvPr>
          <p:cNvSpPr/>
          <p:nvPr/>
        </p:nvSpPr>
        <p:spPr>
          <a:xfrm>
            <a:off x="635316" y="3262852"/>
            <a:ext cx="877824" cy="1731264"/>
          </a:xfrm>
          <a:prstGeom prst="rect">
            <a:avLst/>
          </a:prstGeom>
          <a:solidFill>
            <a:srgbClr val="6A1B9A"/>
          </a:solidFill>
          <a:ln w="12700">
            <a:solidFill>
              <a:srgbClr val="6A1B9A"/>
            </a:solidFill>
            <a:prstDash val="solid"/>
          </a:ln>
        </p:spPr>
        <p:txBody>
          <a:bodyPr/>
          <a:lstStyle/>
          <a:p>
            <a:endParaRPr lang="ru-RU" sz="1867" noProof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Text 14">
            <a:extLst>
              <a:ext uri="{FF2B5EF4-FFF2-40B4-BE49-F238E27FC236}">
                <a16:creationId xmlns:a16="http://schemas.microsoft.com/office/drawing/2014/main" id="{31356C7D-A798-FE32-F3F7-705EC62C351E}"/>
              </a:ext>
            </a:extLst>
          </p:cNvPr>
          <p:cNvSpPr/>
          <p:nvPr/>
        </p:nvSpPr>
        <p:spPr>
          <a:xfrm>
            <a:off x="635316" y="3262852"/>
            <a:ext cx="877824" cy="1731264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algn="ctr"/>
            <a:r>
              <a:rPr lang="ru-RU" sz="3200" b="1" noProof="1">
                <a:solidFill>
                  <a:srgbClr val="FFFFFF"/>
                </a:solidFill>
                <a:latin typeface="Arial" panose="020B0604020202020204" pitchFamily="34" charset="0"/>
                <a:ea typeface="Georgia" pitchFamily="34" charset="-122"/>
                <a:cs typeface="Arial" panose="020B0604020202020204" pitchFamily="34" charset="0"/>
              </a:rPr>
              <a:t>Б</a:t>
            </a:r>
            <a:endParaRPr lang="ru-RU" sz="3200" noProof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Text 15">
            <a:extLst>
              <a:ext uri="{FF2B5EF4-FFF2-40B4-BE49-F238E27FC236}">
                <a16:creationId xmlns:a16="http://schemas.microsoft.com/office/drawing/2014/main" id="{5AFFF567-433F-FBD1-A232-99828F53834D}"/>
              </a:ext>
            </a:extLst>
          </p:cNvPr>
          <p:cNvSpPr/>
          <p:nvPr/>
        </p:nvSpPr>
        <p:spPr>
          <a:xfrm>
            <a:off x="1671636" y="3336004"/>
            <a:ext cx="5913120" cy="36576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r>
              <a:rPr lang="ru-RU" sz="1333" b="1" noProof="1">
                <a:solidFill>
                  <a:srgbClr val="16303A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18 преподавателей предметов ПОО из трёх разных колледжей (технологии, экономика, агрономия)</a:t>
            </a:r>
            <a:endParaRPr lang="ru-RU" sz="1333" noProof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Text 16">
            <a:extLst>
              <a:ext uri="{FF2B5EF4-FFF2-40B4-BE49-F238E27FC236}">
                <a16:creationId xmlns:a16="http://schemas.microsoft.com/office/drawing/2014/main" id="{17DB77E7-C3AB-6667-7A35-016415958848}"/>
              </a:ext>
            </a:extLst>
          </p:cNvPr>
          <p:cNvSpPr/>
          <p:nvPr/>
        </p:nvSpPr>
        <p:spPr>
          <a:xfrm>
            <a:off x="1671636" y="3726148"/>
            <a:ext cx="5913120" cy="54864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r>
              <a:rPr lang="ru-RU" sz="1067" noProof="1">
                <a:solidFill>
                  <a:srgbClr val="3D6673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Контекст: Опытные практики, ограниченный опыт активного/компетентностно-ориентированного профессионального развития педагогов. Разные учебные заведения — нет общей культуры профессионального обучения.</a:t>
            </a:r>
            <a:endParaRPr lang="ru-RU" sz="1067" noProof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Text 17">
            <a:extLst>
              <a:ext uri="{FF2B5EF4-FFF2-40B4-BE49-F238E27FC236}">
                <a16:creationId xmlns:a16="http://schemas.microsoft.com/office/drawing/2014/main" id="{519FF1D6-958C-18D0-B538-B2D9451AF961}"/>
              </a:ext>
            </a:extLst>
          </p:cNvPr>
          <p:cNvSpPr/>
          <p:nvPr/>
        </p:nvSpPr>
        <p:spPr>
          <a:xfrm>
            <a:off x="1671636" y="4299172"/>
            <a:ext cx="5913120" cy="585216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r>
              <a:rPr lang="ru-RU" sz="1067" noProof="1">
                <a:solidFill>
                  <a:srgbClr val="3D6673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Пробел: LifeComp — умение учиться, управление неопределённостью, межинституциональное сотрудничество.</a:t>
            </a:r>
            <a:endParaRPr lang="ru-RU" sz="1067" noProof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Shape 18">
            <a:extLst>
              <a:ext uri="{FF2B5EF4-FFF2-40B4-BE49-F238E27FC236}">
                <a16:creationId xmlns:a16="http://schemas.microsoft.com/office/drawing/2014/main" id="{591F15F8-D4CB-79A0-B141-1698D84B8BC6}"/>
              </a:ext>
            </a:extLst>
          </p:cNvPr>
          <p:cNvSpPr/>
          <p:nvPr/>
        </p:nvSpPr>
        <p:spPr>
          <a:xfrm>
            <a:off x="7670100" y="3336004"/>
            <a:ext cx="4169664" cy="1560576"/>
          </a:xfrm>
          <a:prstGeom prst="rect">
            <a:avLst/>
          </a:prstGeom>
          <a:solidFill>
            <a:srgbClr val="6A1B9A"/>
          </a:solidFill>
          <a:ln w="12700">
            <a:solidFill>
              <a:srgbClr val="6A1B9A"/>
            </a:solidFill>
            <a:prstDash val="solid"/>
          </a:ln>
        </p:spPr>
        <p:txBody>
          <a:bodyPr/>
          <a:lstStyle/>
          <a:p>
            <a:endParaRPr lang="ru-RU" sz="1867" noProof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" name="Text 19">
            <a:extLst>
              <a:ext uri="{FF2B5EF4-FFF2-40B4-BE49-F238E27FC236}">
                <a16:creationId xmlns:a16="http://schemas.microsoft.com/office/drawing/2014/main" id="{B6C6A010-2B16-E695-A86D-C79E5BBA2553}"/>
              </a:ext>
            </a:extLst>
          </p:cNvPr>
          <p:cNvSpPr/>
          <p:nvPr/>
        </p:nvSpPr>
        <p:spPr>
          <a:xfrm>
            <a:off x="7792020" y="3384772"/>
            <a:ext cx="3925824" cy="30480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r>
              <a:rPr lang="ru-RU" sz="933" b="1" noProof="1">
                <a:solidFill>
                  <a:srgbClr val="CCDDEE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Основной ИК:</a:t>
            </a:r>
            <a:endParaRPr lang="ru-RU" sz="933" noProof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" name="Text 20">
            <a:extLst>
              <a:ext uri="{FF2B5EF4-FFF2-40B4-BE49-F238E27FC236}">
                <a16:creationId xmlns:a16="http://schemas.microsoft.com/office/drawing/2014/main" id="{2B377766-D999-F3D6-1683-6E651FA9E948}"/>
              </a:ext>
            </a:extLst>
          </p:cNvPr>
          <p:cNvSpPr/>
          <p:nvPr/>
        </p:nvSpPr>
        <p:spPr>
          <a:xfrm>
            <a:off x="7792020" y="3689572"/>
            <a:ext cx="3925824" cy="512064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r>
              <a:rPr lang="ru-RU" sz="1467" b="1" noProof="1">
                <a:solidFill>
                  <a:srgbClr val="FFFFFF"/>
                </a:solidFill>
                <a:latin typeface="Arial" panose="020B0604020202020204" pitchFamily="34" charset="0"/>
                <a:ea typeface="Georgia" pitchFamily="34" charset="-122"/>
                <a:cs typeface="Arial" panose="020B0604020202020204" pitchFamily="34" charset="0"/>
              </a:rPr>
              <a:t>ИК 5 — Вы учитесь вместе с коллегами</a:t>
            </a:r>
            <a:endParaRPr lang="ru-RU" sz="1467" noProof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2" name="Text 21">
            <a:extLst>
              <a:ext uri="{FF2B5EF4-FFF2-40B4-BE49-F238E27FC236}">
                <a16:creationId xmlns:a16="http://schemas.microsoft.com/office/drawing/2014/main" id="{24D993D8-8EC5-41B6-6DB7-D0C235E68311}"/>
              </a:ext>
            </a:extLst>
          </p:cNvPr>
          <p:cNvSpPr/>
          <p:nvPr/>
        </p:nvSpPr>
        <p:spPr>
          <a:xfrm>
            <a:off x="7792020" y="4213828"/>
            <a:ext cx="3925824" cy="60960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r>
              <a:rPr lang="ru-RU" sz="933" i="1" noProof="1">
                <a:solidFill>
                  <a:srgbClr val="FFFFFF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Обмен опытом между коллегами встроен в структуру, а не предоставлен случаю. Педагоги должны уходить, зная что-то полезное о коллеге, чего не знали раньше.</a:t>
            </a:r>
            <a:endParaRPr lang="ru-RU" sz="933" noProof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3" name="Shape 22">
            <a:extLst>
              <a:ext uri="{FF2B5EF4-FFF2-40B4-BE49-F238E27FC236}">
                <a16:creationId xmlns:a16="http://schemas.microsoft.com/office/drawing/2014/main" id="{D465D4B3-0226-B9A3-BA9F-9C6A505E3704}"/>
              </a:ext>
            </a:extLst>
          </p:cNvPr>
          <p:cNvSpPr/>
          <p:nvPr/>
        </p:nvSpPr>
        <p:spPr>
          <a:xfrm>
            <a:off x="635316" y="5055508"/>
            <a:ext cx="11338560" cy="1731264"/>
          </a:xfrm>
          <a:prstGeom prst="rect">
            <a:avLst/>
          </a:prstGeom>
          <a:solidFill>
            <a:srgbClr val="FFF3E0"/>
          </a:solidFill>
          <a:ln w="15240">
            <a:solidFill>
              <a:srgbClr val="E65100"/>
            </a:solidFill>
            <a:prstDash val="solid"/>
          </a:ln>
          <a:effectLst>
            <a:outerShdw blurRad="76200" dist="38100" dir="8100000" algn="bl" rotWithShape="0">
              <a:srgbClr val="000000">
                <a:alpha val="10000"/>
              </a:srgbClr>
            </a:outerShdw>
          </a:effectLst>
        </p:spPr>
        <p:txBody>
          <a:bodyPr/>
          <a:lstStyle/>
          <a:p>
            <a:endParaRPr lang="ru-RU" sz="1867" noProof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4" name="Shape 23">
            <a:extLst>
              <a:ext uri="{FF2B5EF4-FFF2-40B4-BE49-F238E27FC236}">
                <a16:creationId xmlns:a16="http://schemas.microsoft.com/office/drawing/2014/main" id="{702B7468-A557-4479-A627-353A9D4260FE}"/>
              </a:ext>
            </a:extLst>
          </p:cNvPr>
          <p:cNvSpPr/>
          <p:nvPr/>
        </p:nvSpPr>
        <p:spPr>
          <a:xfrm>
            <a:off x="635316" y="5055508"/>
            <a:ext cx="877824" cy="1731264"/>
          </a:xfrm>
          <a:prstGeom prst="rect">
            <a:avLst/>
          </a:prstGeom>
          <a:solidFill>
            <a:srgbClr val="E65100"/>
          </a:solidFill>
          <a:ln w="12700">
            <a:solidFill>
              <a:srgbClr val="E65100"/>
            </a:solidFill>
            <a:prstDash val="solid"/>
          </a:ln>
        </p:spPr>
        <p:txBody>
          <a:bodyPr/>
          <a:lstStyle/>
          <a:p>
            <a:endParaRPr lang="ru-RU" sz="1867" noProof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5" name="Text 24">
            <a:extLst>
              <a:ext uri="{FF2B5EF4-FFF2-40B4-BE49-F238E27FC236}">
                <a16:creationId xmlns:a16="http://schemas.microsoft.com/office/drawing/2014/main" id="{F6543CF3-3DC3-AF6E-1FE1-A72A3636C296}"/>
              </a:ext>
            </a:extLst>
          </p:cNvPr>
          <p:cNvSpPr/>
          <p:nvPr/>
        </p:nvSpPr>
        <p:spPr>
          <a:xfrm>
            <a:off x="635316" y="5055508"/>
            <a:ext cx="877824" cy="1731264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algn="ctr"/>
            <a:r>
              <a:rPr lang="ru-RU" sz="3200" b="1" noProof="1">
                <a:solidFill>
                  <a:srgbClr val="FFFFFF"/>
                </a:solidFill>
                <a:latin typeface="Arial" panose="020B0604020202020204" pitchFamily="34" charset="0"/>
                <a:ea typeface="Georgia" pitchFamily="34" charset="-122"/>
                <a:cs typeface="Arial" panose="020B0604020202020204" pitchFamily="34" charset="0"/>
              </a:rPr>
              <a:t>В</a:t>
            </a:r>
            <a:endParaRPr lang="ru-RU" sz="3200" noProof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6" name="Text 25">
            <a:extLst>
              <a:ext uri="{FF2B5EF4-FFF2-40B4-BE49-F238E27FC236}">
                <a16:creationId xmlns:a16="http://schemas.microsoft.com/office/drawing/2014/main" id="{D0E96ABC-90E3-8FA9-5494-3D672369D44F}"/>
              </a:ext>
            </a:extLst>
          </p:cNvPr>
          <p:cNvSpPr/>
          <p:nvPr/>
        </p:nvSpPr>
        <p:spPr>
          <a:xfrm>
            <a:off x="1671636" y="5128660"/>
            <a:ext cx="5913120" cy="36576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r>
              <a:rPr lang="ru-RU" sz="1333" b="1" noProof="1">
                <a:solidFill>
                  <a:srgbClr val="16303A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15 мастеров производственного обучения и практических тренеров из колледжей ПОО и корпоративных учебных центров</a:t>
            </a:r>
            <a:endParaRPr lang="ru-RU" sz="1333" noProof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7" name="Text 26">
            <a:extLst>
              <a:ext uri="{FF2B5EF4-FFF2-40B4-BE49-F238E27FC236}">
                <a16:creationId xmlns:a16="http://schemas.microsoft.com/office/drawing/2014/main" id="{81F61D47-A1E1-21F5-2F3E-5E5272D8F101}"/>
              </a:ext>
            </a:extLst>
          </p:cNvPr>
          <p:cNvSpPr/>
          <p:nvPr/>
        </p:nvSpPr>
        <p:spPr>
          <a:xfrm>
            <a:off x="1671636" y="5518804"/>
            <a:ext cx="5913120" cy="54864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r>
              <a:rPr lang="ru-RU" sz="1067" noProof="1">
                <a:solidFill>
                  <a:srgbClr val="3D6673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Контекст: Глубокая профессиональная экспертиза, минимальный опыт формального профессионального развития педагогов или образовательных рамок. Скептически относятся к теоретически перегруженным подходам.</a:t>
            </a:r>
            <a:endParaRPr lang="ru-RU" sz="1067" noProof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8" name="Text 27">
            <a:extLst>
              <a:ext uri="{FF2B5EF4-FFF2-40B4-BE49-F238E27FC236}">
                <a16:creationId xmlns:a16="http://schemas.microsoft.com/office/drawing/2014/main" id="{5F7384AF-814D-DC0F-0E3A-413B5E220A52}"/>
              </a:ext>
            </a:extLst>
          </p:cNvPr>
          <p:cNvSpPr/>
          <p:nvPr/>
        </p:nvSpPr>
        <p:spPr>
          <a:xfrm>
            <a:off x="1671636" y="6091828"/>
            <a:ext cx="5913120" cy="585216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r>
              <a:rPr lang="ru-RU" sz="1067" noProof="1">
                <a:solidFill>
                  <a:srgbClr val="3D6673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Пробел: LifeComp — передача профессиональных знаний, предоставление структурированной обратной связи, поддержка обучения других в условиях производства.</a:t>
            </a:r>
            <a:endParaRPr lang="ru-RU" sz="1067" noProof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9" name="Shape 28">
            <a:extLst>
              <a:ext uri="{FF2B5EF4-FFF2-40B4-BE49-F238E27FC236}">
                <a16:creationId xmlns:a16="http://schemas.microsoft.com/office/drawing/2014/main" id="{675D6C99-FE26-34BC-7869-25715D9FFA53}"/>
              </a:ext>
            </a:extLst>
          </p:cNvPr>
          <p:cNvSpPr/>
          <p:nvPr/>
        </p:nvSpPr>
        <p:spPr>
          <a:xfrm>
            <a:off x="7670100" y="5128660"/>
            <a:ext cx="4169664" cy="1560576"/>
          </a:xfrm>
          <a:prstGeom prst="rect">
            <a:avLst/>
          </a:prstGeom>
          <a:solidFill>
            <a:srgbClr val="E65100"/>
          </a:solidFill>
          <a:ln w="12700">
            <a:solidFill>
              <a:srgbClr val="E65100"/>
            </a:solidFill>
            <a:prstDash val="solid"/>
          </a:ln>
        </p:spPr>
        <p:txBody>
          <a:bodyPr/>
          <a:lstStyle/>
          <a:p>
            <a:endParaRPr lang="ru-RU" sz="1867" noProof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0" name="Text 29">
            <a:extLst>
              <a:ext uri="{FF2B5EF4-FFF2-40B4-BE49-F238E27FC236}">
                <a16:creationId xmlns:a16="http://schemas.microsoft.com/office/drawing/2014/main" id="{DE78049F-7EDB-282C-4C02-0679B23429A0}"/>
              </a:ext>
            </a:extLst>
          </p:cNvPr>
          <p:cNvSpPr/>
          <p:nvPr/>
        </p:nvSpPr>
        <p:spPr>
          <a:xfrm>
            <a:off x="7792020" y="5177428"/>
            <a:ext cx="3925824" cy="30480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r>
              <a:rPr lang="ru-RU" sz="933" b="1" noProof="1">
                <a:solidFill>
                  <a:srgbClr val="CCDDEE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Основной ИК:</a:t>
            </a:r>
            <a:endParaRPr lang="ru-RU" sz="933" noProof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1" name="Text 30">
            <a:extLst>
              <a:ext uri="{FF2B5EF4-FFF2-40B4-BE49-F238E27FC236}">
                <a16:creationId xmlns:a16="http://schemas.microsoft.com/office/drawing/2014/main" id="{21235DD1-A5C2-7E24-41D2-8AAFC0D792EC}"/>
              </a:ext>
            </a:extLst>
          </p:cNvPr>
          <p:cNvSpPr/>
          <p:nvPr/>
        </p:nvSpPr>
        <p:spPr>
          <a:xfrm>
            <a:off x="7792020" y="5482228"/>
            <a:ext cx="3925824" cy="512064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r>
              <a:rPr lang="ru-RU" sz="1467" b="1" noProof="1">
                <a:solidFill>
                  <a:srgbClr val="FFFFFF"/>
                </a:solidFill>
                <a:latin typeface="Arial" panose="020B0604020202020204" pitchFamily="34" charset="0"/>
                <a:ea typeface="Georgia" pitchFamily="34" charset="-122"/>
                <a:cs typeface="Arial" panose="020B0604020202020204" pitchFamily="34" charset="0"/>
              </a:rPr>
              <a:t>ИК 1 — Связь с вашей реальной работой</a:t>
            </a:r>
            <a:endParaRPr lang="ru-RU" sz="1467" noProof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2" name="Text 31">
            <a:extLst>
              <a:ext uri="{FF2B5EF4-FFF2-40B4-BE49-F238E27FC236}">
                <a16:creationId xmlns:a16="http://schemas.microsoft.com/office/drawing/2014/main" id="{64665C5B-4C0C-F31A-909B-1D66229D3EE3}"/>
              </a:ext>
            </a:extLst>
          </p:cNvPr>
          <p:cNvSpPr/>
          <p:nvPr/>
        </p:nvSpPr>
        <p:spPr>
          <a:xfrm>
            <a:off x="7792020" y="6006484"/>
            <a:ext cx="3925824" cy="60960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r>
              <a:rPr lang="ru-RU" sz="933" i="1" noProof="1">
                <a:solidFill>
                  <a:srgbClr val="FFFFFF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Каждый элемент основан на реальной производственной среде. Ничто не должно восприниматься как академическое упражнение, привнесённое извне.</a:t>
            </a:r>
            <a:endParaRPr lang="ru-RU" sz="933" noProof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3607703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0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38760696-2CFE-CCAD-737D-8C45EDD30B8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DB84476-BC29-4407-9D57-B2E562B8968B}" type="slidenum">
              <a:rPr lang="ru-RU" noProof="1" smtClean="0"/>
              <a:pPr/>
              <a:t>107</a:t>
            </a:fld>
            <a:endParaRPr lang="ru-RU" noProof="1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D676DF5A-ADBF-EB39-FA1D-B1F8F06EB28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noProof="1"/>
              <a:t>Рабочие пары</a:t>
            </a:r>
          </a:p>
        </p:txBody>
      </p:sp>
      <p:sp>
        <p:nvSpPr>
          <p:cNvPr id="5" name="Rectangle 2">
            <a:extLst>
              <a:ext uri="{FF2B5EF4-FFF2-40B4-BE49-F238E27FC236}">
                <a16:creationId xmlns:a16="http://schemas.microsoft.com/office/drawing/2014/main" id="{CC7B71E5-E1DC-9CE3-E76F-121CC817E624}"/>
              </a:ext>
            </a:extLst>
          </p:cNvPr>
          <p:cNvSpPr>
            <a:spLocks noChangeArrowheads="1"/>
          </p:cNvSpPr>
          <p:nvPr/>
        </p:nvSpPr>
        <p:spPr bwMode="auto">
          <a:xfrm>
            <a:off x="635317" y="1714452"/>
            <a:ext cx="4471673" cy="201593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342900" marR="0" lvl="0" indent="-34290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kumimoji="0" lang="ru-RU" sz="2500" b="0" i="0" u="none" strike="noStrike" cap="none" normalizeH="0" baseline="0" noProof="1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Столы 5 + 8 — Задание Б </a:t>
            </a:r>
          </a:p>
          <a:p>
            <a:pPr marL="342900" marR="0" lvl="0" indent="-34290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kumimoji="0" lang="ru-RU" sz="2500" b="0" i="0" u="none" strike="noStrike" cap="none" normalizeH="0" baseline="0" noProof="1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Столы 1 + 2 — Задание Б </a:t>
            </a:r>
          </a:p>
          <a:p>
            <a:pPr marL="342900" marR="0" lvl="0" indent="-34290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kumimoji="0" lang="ru-RU" sz="2500" b="0" i="0" u="none" strike="noStrike" cap="none" normalizeH="0" baseline="0" noProof="1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Столы 4 + 7 — Задание В </a:t>
            </a:r>
          </a:p>
          <a:p>
            <a:pPr marL="342900" marR="0" lvl="0" indent="-34290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kumimoji="0" lang="ru-RU" sz="2500" b="0" i="0" u="none" strike="noStrike" cap="none" normalizeH="0" baseline="0" noProof="1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Столы 3 + 6 — Задание В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2500" b="0" i="0" u="none" strike="noStrike" cap="none" normalizeH="0" baseline="0" noProof="1">
              <a:ln>
                <a:noFill/>
              </a:ln>
              <a:solidFill>
                <a:schemeClr val="bg1"/>
              </a:solidFill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3953239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0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Shape 2">
            <a:extLst>
              <a:ext uri="{FF2B5EF4-FFF2-40B4-BE49-F238E27FC236}">
                <a16:creationId xmlns:a16="http://schemas.microsoft.com/office/drawing/2014/main" id="{7AC35EC6-2DD8-9503-BDC9-7F4268AD998E}"/>
              </a:ext>
            </a:extLst>
          </p:cNvPr>
          <p:cNvSpPr/>
          <p:nvPr/>
        </p:nvSpPr>
        <p:spPr>
          <a:xfrm>
            <a:off x="706286" y="863355"/>
            <a:ext cx="11216640" cy="1365504"/>
          </a:xfrm>
          <a:prstGeom prst="rect">
            <a:avLst/>
          </a:prstGeom>
          <a:solidFill>
            <a:schemeClr val="accent2"/>
          </a:solidFill>
          <a:ln w="12700">
            <a:solidFill>
              <a:srgbClr val="16303A"/>
            </a:solidFill>
            <a:prstDash val="solid"/>
          </a:ln>
        </p:spPr>
        <p:txBody>
          <a:bodyPr/>
          <a:lstStyle/>
          <a:p>
            <a:endParaRPr lang="ru-RU" sz="2400" noProof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0" name="Text 3">
            <a:extLst>
              <a:ext uri="{FF2B5EF4-FFF2-40B4-BE49-F238E27FC236}">
                <a16:creationId xmlns:a16="http://schemas.microsoft.com/office/drawing/2014/main" id="{E49F4CFA-7B00-314A-D548-68F463C7C492}"/>
              </a:ext>
            </a:extLst>
          </p:cNvPr>
          <p:cNvSpPr/>
          <p:nvPr/>
        </p:nvSpPr>
        <p:spPr>
          <a:xfrm>
            <a:off x="950126" y="863355"/>
            <a:ext cx="10850880" cy="1365504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r>
              <a:rPr lang="ru-RU" sz="1467" i="1" noProof="1">
                <a:solidFill>
                  <a:srgbClr val="FFFFFF"/>
                </a:solidFill>
                <a:latin typeface="Arial" panose="020B0604020202020204" pitchFamily="34" charset="0"/>
                <a:ea typeface="Georgia" pitchFamily="34" charset="-122"/>
                <a:cs typeface="Arial" panose="020B0604020202020204" pitchFamily="34" charset="0"/>
              </a:rPr>
              <a:t>SCAFFOLD предоставляет процесс разработки в два этапа: Задание и Планирование. Карточки задания определяют условия — для кого вы разрабатываете, в чём реальная потребность. Карточки планирования формируют сам дизайн — компетенции, метод обучения, что обучающиеся создадут, как вы будете оценивать. Всего семь карточек планирования. Мы начинаем с карточки один, потому что вы начинаете с того, что обучающимся нужно развивать, а не с того, что вы хотите преподавать.</a:t>
            </a:r>
            <a:endParaRPr lang="ru-RU" sz="1467" noProof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1" name="Shape 4">
            <a:extLst>
              <a:ext uri="{FF2B5EF4-FFF2-40B4-BE49-F238E27FC236}">
                <a16:creationId xmlns:a16="http://schemas.microsoft.com/office/drawing/2014/main" id="{B88CCFA8-C6FC-20C8-A8AE-45CDA5324DC4}"/>
              </a:ext>
            </a:extLst>
          </p:cNvPr>
          <p:cNvSpPr/>
          <p:nvPr/>
        </p:nvSpPr>
        <p:spPr>
          <a:xfrm>
            <a:off x="706286" y="2362971"/>
            <a:ext cx="5547360" cy="3840480"/>
          </a:xfrm>
          <a:prstGeom prst="rect">
            <a:avLst/>
          </a:prstGeom>
          <a:solidFill>
            <a:srgbClr val="F0F4F6"/>
          </a:solidFill>
          <a:ln w="19050">
            <a:solidFill>
              <a:srgbClr val="5C7A84"/>
            </a:solidFill>
            <a:prstDash val="solid"/>
          </a:ln>
        </p:spPr>
        <p:txBody>
          <a:bodyPr/>
          <a:lstStyle/>
          <a:p>
            <a:endParaRPr lang="ru-RU" sz="2400" noProof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2" name="Shape 5">
            <a:extLst>
              <a:ext uri="{FF2B5EF4-FFF2-40B4-BE49-F238E27FC236}">
                <a16:creationId xmlns:a16="http://schemas.microsoft.com/office/drawing/2014/main" id="{5E79D60B-F22D-2AB1-EBF5-A00611269D49}"/>
              </a:ext>
            </a:extLst>
          </p:cNvPr>
          <p:cNvSpPr/>
          <p:nvPr/>
        </p:nvSpPr>
        <p:spPr>
          <a:xfrm>
            <a:off x="706286" y="2362971"/>
            <a:ext cx="5547360" cy="512064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12700">
            <a:solidFill>
              <a:srgbClr val="5C7A84"/>
            </a:solidFill>
            <a:prstDash val="solid"/>
          </a:ln>
        </p:spPr>
        <p:txBody>
          <a:bodyPr/>
          <a:lstStyle/>
          <a:p>
            <a:endParaRPr lang="ru-RU" sz="2400" noProof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3" name="Text 6">
            <a:extLst>
              <a:ext uri="{FF2B5EF4-FFF2-40B4-BE49-F238E27FC236}">
                <a16:creationId xmlns:a16="http://schemas.microsoft.com/office/drawing/2014/main" id="{62E05DD0-49CA-FBCF-BCB9-6457450A8863}"/>
              </a:ext>
            </a:extLst>
          </p:cNvPr>
          <p:cNvSpPr/>
          <p:nvPr/>
        </p:nvSpPr>
        <p:spPr>
          <a:xfrm>
            <a:off x="889166" y="2362971"/>
            <a:ext cx="5181600" cy="512064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r>
              <a:rPr lang="ru-RU" sz="1600" b="1" kern="0" spc="133" noProof="1">
                <a:solidFill>
                  <a:srgbClr val="FFFFFF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КАРТОЧКИ ЗАДАНИЯ</a:t>
            </a:r>
            <a:endParaRPr lang="ru-RU" sz="1600" noProof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4" name="Text 7">
            <a:extLst>
              <a:ext uri="{FF2B5EF4-FFF2-40B4-BE49-F238E27FC236}">
                <a16:creationId xmlns:a16="http://schemas.microsoft.com/office/drawing/2014/main" id="{B6BB4141-B858-5D2C-0CFC-8F51F44D3C8A}"/>
              </a:ext>
            </a:extLst>
          </p:cNvPr>
          <p:cNvSpPr/>
          <p:nvPr/>
        </p:nvSpPr>
        <p:spPr>
          <a:xfrm>
            <a:off x="889166" y="2935995"/>
            <a:ext cx="5181600" cy="67056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r>
              <a:rPr lang="ru-RU" sz="1400" i="1" noProof="1">
                <a:solidFill>
                  <a:srgbClr val="3D6673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Задание — кто, где, какие ресурсы</a:t>
            </a:r>
            <a:endParaRPr lang="ru-RU" sz="1400" noProof="1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ru-RU" sz="1400" i="1" noProof="1">
                <a:solidFill>
                  <a:srgbClr val="3D6673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Отложите пока в сторону</a:t>
            </a:r>
            <a:endParaRPr lang="ru-RU" sz="1400" noProof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5" name="Shape 8">
            <a:extLst>
              <a:ext uri="{FF2B5EF4-FFF2-40B4-BE49-F238E27FC236}">
                <a16:creationId xmlns:a16="http://schemas.microsoft.com/office/drawing/2014/main" id="{7D901382-16AF-E253-8FC7-C243FAB5442A}"/>
              </a:ext>
            </a:extLst>
          </p:cNvPr>
          <p:cNvSpPr/>
          <p:nvPr/>
        </p:nvSpPr>
        <p:spPr>
          <a:xfrm>
            <a:off x="6619406" y="2362971"/>
            <a:ext cx="5303520" cy="3840480"/>
          </a:xfrm>
          <a:prstGeom prst="rect">
            <a:avLst/>
          </a:prstGeom>
          <a:solidFill>
            <a:srgbClr val="D6F0F3"/>
          </a:solidFill>
          <a:ln w="19050">
            <a:solidFill>
              <a:srgbClr val="027A87"/>
            </a:solidFill>
            <a:prstDash val="solid"/>
          </a:ln>
        </p:spPr>
        <p:txBody>
          <a:bodyPr/>
          <a:lstStyle/>
          <a:p>
            <a:endParaRPr lang="ru-RU" sz="2400" noProof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6" name="Shape 9">
            <a:extLst>
              <a:ext uri="{FF2B5EF4-FFF2-40B4-BE49-F238E27FC236}">
                <a16:creationId xmlns:a16="http://schemas.microsoft.com/office/drawing/2014/main" id="{40AE93DF-4836-6C4B-BC1D-568E237AE9BD}"/>
              </a:ext>
            </a:extLst>
          </p:cNvPr>
          <p:cNvSpPr/>
          <p:nvPr/>
        </p:nvSpPr>
        <p:spPr>
          <a:xfrm>
            <a:off x="6619406" y="2362971"/>
            <a:ext cx="5303520" cy="512064"/>
          </a:xfrm>
          <a:prstGeom prst="rect">
            <a:avLst/>
          </a:prstGeom>
          <a:solidFill>
            <a:schemeClr val="accent1"/>
          </a:solidFill>
          <a:ln w="12700">
            <a:solidFill>
              <a:srgbClr val="027A87"/>
            </a:solidFill>
            <a:prstDash val="solid"/>
          </a:ln>
        </p:spPr>
        <p:txBody>
          <a:bodyPr/>
          <a:lstStyle/>
          <a:p>
            <a:endParaRPr lang="ru-RU" sz="2400" noProof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7" name="Text 10">
            <a:extLst>
              <a:ext uri="{FF2B5EF4-FFF2-40B4-BE49-F238E27FC236}">
                <a16:creationId xmlns:a16="http://schemas.microsoft.com/office/drawing/2014/main" id="{3F7E0C56-0D6D-38F0-0BBB-1538F5ABF663}"/>
              </a:ext>
            </a:extLst>
          </p:cNvPr>
          <p:cNvSpPr/>
          <p:nvPr/>
        </p:nvSpPr>
        <p:spPr>
          <a:xfrm>
            <a:off x="6802286" y="2362971"/>
            <a:ext cx="5181600" cy="512064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r>
              <a:rPr lang="ru-RU" sz="1600" b="1" kern="0" spc="133" noProof="1">
                <a:solidFill>
                  <a:srgbClr val="FFFFFF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КАРТОЧКИ ПЛАНИРОВАНИЯ</a:t>
            </a:r>
            <a:endParaRPr lang="ru-RU" sz="1600" noProof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8" name="Text 11">
            <a:extLst>
              <a:ext uri="{FF2B5EF4-FFF2-40B4-BE49-F238E27FC236}">
                <a16:creationId xmlns:a16="http://schemas.microsoft.com/office/drawing/2014/main" id="{296E813F-9357-D6AF-E1E3-0AE76B241B32}"/>
              </a:ext>
            </a:extLst>
          </p:cNvPr>
          <p:cNvSpPr/>
          <p:nvPr/>
        </p:nvSpPr>
        <p:spPr>
          <a:xfrm>
            <a:off x="6802286" y="2935995"/>
            <a:ext cx="5181600" cy="67056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r>
              <a:rPr lang="ru-RU" sz="1400" i="1" noProof="1">
                <a:solidFill>
                  <a:srgbClr val="3D6673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Дизайн — карточки с 1 по 7</a:t>
            </a:r>
            <a:endParaRPr lang="ru-RU" sz="1400" noProof="1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ru-RU" sz="1400" i="1" noProof="1">
                <a:solidFill>
                  <a:srgbClr val="3D6673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Все семь используются в Сессиях 5 и 6</a:t>
            </a:r>
            <a:endParaRPr lang="ru-RU" sz="1400" noProof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9" name="Shape 12">
            <a:extLst>
              <a:ext uri="{FF2B5EF4-FFF2-40B4-BE49-F238E27FC236}">
                <a16:creationId xmlns:a16="http://schemas.microsoft.com/office/drawing/2014/main" id="{F779C945-200A-15A0-220D-1B09ACE49282}"/>
              </a:ext>
            </a:extLst>
          </p:cNvPr>
          <p:cNvSpPr/>
          <p:nvPr/>
        </p:nvSpPr>
        <p:spPr>
          <a:xfrm>
            <a:off x="6765710" y="3704091"/>
            <a:ext cx="5157216" cy="304800"/>
          </a:xfrm>
          <a:prstGeom prst="rect">
            <a:avLst/>
          </a:prstGeom>
          <a:solidFill>
            <a:srgbClr val="027A87"/>
          </a:solidFill>
          <a:ln w="12700">
            <a:solidFill>
              <a:srgbClr val="027A87"/>
            </a:solidFill>
            <a:prstDash val="solid"/>
          </a:ln>
        </p:spPr>
        <p:txBody>
          <a:bodyPr/>
          <a:lstStyle/>
          <a:p>
            <a:endParaRPr lang="ru-RU" sz="2400" noProof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0" name="Text 13">
            <a:extLst>
              <a:ext uri="{FF2B5EF4-FFF2-40B4-BE49-F238E27FC236}">
                <a16:creationId xmlns:a16="http://schemas.microsoft.com/office/drawing/2014/main" id="{5D4F6714-3748-1FB4-EADD-1FE0580AA4A8}"/>
              </a:ext>
            </a:extLst>
          </p:cNvPr>
          <p:cNvSpPr/>
          <p:nvPr/>
        </p:nvSpPr>
        <p:spPr>
          <a:xfrm>
            <a:off x="6838862" y="3704091"/>
            <a:ext cx="5059680" cy="30480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r>
              <a:rPr lang="ru-RU" sz="1267" b="1" noProof="1">
                <a:solidFill>
                  <a:srgbClr val="FFFFFF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1. Выбор компетенций  ◀ СЕГОДНЯ</a:t>
            </a:r>
            <a:endParaRPr lang="ru-RU" sz="1267" noProof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1" name="Shape 14">
            <a:extLst>
              <a:ext uri="{FF2B5EF4-FFF2-40B4-BE49-F238E27FC236}">
                <a16:creationId xmlns:a16="http://schemas.microsoft.com/office/drawing/2014/main" id="{8807CB25-B89C-6B78-CB7E-E0E56014C66D}"/>
              </a:ext>
            </a:extLst>
          </p:cNvPr>
          <p:cNvSpPr/>
          <p:nvPr/>
        </p:nvSpPr>
        <p:spPr>
          <a:xfrm>
            <a:off x="6765710" y="4033275"/>
            <a:ext cx="5157216" cy="304800"/>
          </a:xfrm>
          <a:prstGeom prst="rect">
            <a:avLst/>
          </a:prstGeom>
          <a:solidFill>
            <a:srgbClr val="027A87"/>
          </a:solidFill>
          <a:ln w="12700">
            <a:solidFill>
              <a:srgbClr val="027A87"/>
            </a:solidFill>
            <a:prstDash val="solid"/>
          </a:ln>
        </p:spPr>
        <p:txBody>
          <a:bodyPr/>
          <a:lstStyle/>
          <a:p>
            <a:endParaRPr lang="ru-RU" sz="2400" noProof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2" name="Text 15">
            <a:extLst>
              <a:ext uri="{FF2B5EF4-FFF2-40B4-BE49-F238E27FC236}">
                <a16:creationId xmlns:a16="http://schemas.microsoft.com/office/drawing/2014/main" id="{D74FC3BD-4C7D-C5A7-3F55-20E40AE343C7}"/>
              </a:ext>
            </a:extLst>
          </p:cNvPr>
          <p:cNvSpPr/>
          <p:nvPr/>
        </p:nvSpPr>
        <p:spPr>
          <a:xfrm>
            <a:off x="6838862" y="4033275"/>
            <a:ext cx="5059680" cy="30480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r>
              <a:rPr lang="ru-RU" sz="1267" b="1" noProof="1">
                <a:solidFill>
                  <a:srgbClr val="FFFFFF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2. Определение уровня компетенции  ◀ СЕГОДНЯ</a:t>
            </a:r>
            <a:endParaRPr lang="ru-RU" sz="1267" noProof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3" name="Shape 16">
            <a:extLst>
              <a:ext uri="{FF2B5EF4-FFF2-40B4-BE49-F238E27FC236}">
                <a16:creationId xmlns:a16="http://schemas.microsoft.com/office/drawing/2014/main" id="{EA7B4BA3-2258-149D-0A21-403B49492A36}"/>
              </a:ext>
            </a:extLst>
          </p:cNvPr>
          <p:cNvSpPr/>
          <p:nvPr/>
        </p:nvSpPr>
        <p:spPr>
          <a:xfrm>
            <a:off x="6765710" y="4362459"/>
            <a:ext cx="5157216" cy="304800"/>
          </a:xfrm>
          <a:prstGeom prst="rect">
            <a:avLst/>
          </a:prstGeom>
          <a:solidFill>
            <a:srgbClr val="027A87"/>
          </a:solidFill>
          <a:ln w="12700">
            <a:solidFill>
              <a:srgbClr val="027A87"/>
            </a:solidFill>
            <a:prstDash val="solid"/>
          </a:ln>
        </p:spPr>
        <p:txBody>
          <a:bodyPr/>
          <a:lstStyle/>
          <a:p>
            <a:endParaRPr lang="ru-RU" sz="2400" noProof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4" name="Text 17">
            <a:extLst>
              <a:ext uri="{FF2B5EF4-FFF2-40B4-BE49-F238E27FC236}">
                <a16:creationId xmlns:a16="http://schemas.microsoft.com/office/drawing/2014/main" id="{A3C08005-112F-8A4B-8E3C-D6A54942888B}"/>
              </a:ext>
            </a:extLst>
          </p:cNvPr>
          <p:cNvSpPr/>
          <p:nvPr/>
        </p:nvSpPr>
        <p:spPr>
          <a:xfrm>
            <a:off x="6838862" y="4362459"/>
            <a:ext cx="5059680" cy="30480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r>
              <a:rPr lang="ru-RU" sz="1267" b="1" noProof="1">
                <a:solidFill>
                  <a:srgbClr val="FFFFFF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3. Выбор метода обучения  ◀ СЕГОДНЯ</a:t>
            </a:r>
            <a:endParaRPr lang="ru-RU" sz="1267" noProof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5" name="Shape 18">
            <a:extLst>
              <a:ext uri="{FF2B5EF4-FFF2-40B4-BE49-F238E27FC236}">
                <a16:creationId xmlns:a16="http://schemas.microsoft.com/office/drawing/2014/main" id="{255AE019-FBA8-02D1-0529-B43B9AD76909}"/>
              </a:ext>
            </a:extLst>
          </p:cNvPr>
          <p:cNvSpPr/>
          <p:nvPr/>
        </p:nvSpPr>
        <p:spPr>
          <a:xfrm>
            <a:off x="6765710" y="4691643"/>
            <a:ext cx="5157216" cy="304800"/>
          </a:xfrm>
          <a:prstGeom prst="rect">
            <a:avLst/>
          </a:prstGeom>
          <a:solidFill>
            <a:srgbClr val="D6F0F3"/>
          </a:solidFill>
          <a:ln w="12700">
            <a:solidFill>
              <a:srgbClr val="B2D8DE"/>
            </a:solidFill>
            <a:prstDash val="solid"/>
          </a:ln>
        </p:spPr>
        <p:txBody>
          <a:bodyPr/>
          <a:lstStyle/>
          <a:p>
            <a:endParaRPr lang="ru-RU" sz="2400" noProof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6" name="Text 19">
            <a:extLst>
              <a:ext uri="{FF2B5EF4-FFF2-40B4-BE49-F238E27FC236}">
                <a16:creationId xmlns:a16="http://schemas.microsoft.com/office/drawing/2014/main" id="{13DEE1C9-1A39-A371-BAD9-FCB0F9640B01}"/>
              </a:ext>
            </a:extLst>
          </p:cNvPr>
          <p:cNvSpPr/>
          <p:nvPr/>
        </p:nvSpPr>
        <p:spPr>
          <a:xfrm>
            <a:off x="6838862" y="4691643"/>
            <a:ext cx="5059680" cy="30480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r>
              <a:rPr lang="ru-RU" sz="1267" noProof="1">
                <a:solidFill>
                  <a:srgbClr val="3D6673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4. Определение результатов обучения</a:t>
            </a:r>
            <a:endParaRPr lang="ru-RU" sz="1267" noProof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7" name="Shape 20">
            <a:extLst>
              <a:ext uri="{FF2B5EF4-FFF2-40B4-BE49-F238E27FC236}">
                <a16:creationId xmlns:a16="http://schemas.microsoft.com/office/drawing/2014/main" id="{D17491BD-61A7-C308-E9CC-8DA46CC9CB01}"/>
              </a:ext>
            </a:extLst>
          </p:cNvPr>
          <p:cNvSpPr/>
          <p:nvPr/>
        </p:nvSpPr>
        <p:spPr>
          <a:xfrm>
            <a:off x="6765710" y="5020827"/>
            <a:ext cx="5157216" cy="304800"/>
          </a:xfrm>
          <a:prstGeom prst="rect">
            <a:avLst/>
          </a:prstGeom>
          <a:solidFill>
            <a:srgbClr val="D6F0F3"/>
          </a:solidFill>
          <a:ln w="12700">
            <a:solidFill>
              <a:srgbClr val="B2D8DE"/>
            </a:solidFill>
            <a:prstDash val="solid"/>
          </a:ln>
        </p:spPr>
        <p:txBody>
          <a:bodyPr/>
          <a:lstStyle/>
          <a:p>
            <a:endParaRPr lang="ru-RU" sz="2400" noProof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8" name="Text 21">
            <a:extLst>
              <a:ext uri="{FF2B5EF4-FFF2-40B4-BE49-F238E27FC236}">
                <a16:creationId xmlns:a16="http://schemas.microsoft.com/office/drawing/2014/main" id="{70AE5419-1697-B9D1-87E2-1F096A43B32B}"/>
              </a:ext>
            </a:extLst>
          </p:cNvPr>
          <p:cNvSpPr/>
          <p:nvPr/>
        </p:nvSpPr>
        <p:spPr>
          <a:xfrm>
            <a:off x="6838862" y="5020827"/>
            <a:ext cx="5059680" cy="30480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r>
              <a:rPr lang="ru-RU" sz="1267" noProof="1">
                <a:solidFill>
                  <a:srgbClr val="3D6673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5. Разработка оценивания</a:t>
            </a:r>
            <a:endParaRPr lang="ru-RU" sz="1267" noProof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9" name="Shape 22">
            <a:extLst>
              <a:ext uri="{FF2B5EF4-FFF2-40B4-BE49-F238E27FC236}">
                <a16:creationId xmlns:a16="http://schemas.microsoft.com/office/drawing/2014/main" id="{1B88AA07-7206-5775-4994-C90AD9537B75}"/>
              </a:ext>
            </a:extLst>
          </p:cNvPr>
          <p:cNvSpPr/>
          <p:nvPr/>
        </p:nvSpPr>
        <p:spPr>
          <a:xfrm>
            <a:off x="6765710" y="5350011"/>
            <a:ext cx="5157216" cy="304800"/>
          </a:xfrm>
          <a:prstGeom prst="rect">
            <a:avLst/>
          </a:prstGeom>
          <a:solidFill>
            <a:srgbClr val="D6F0F3"/>
          </a:solidFill>
          <a:ln w="12700">
            <a:solidFill>
              <a:srgbClr val="B2D8DE"/>
            </a:solidFill>
            <a:prstDash val="solid"/>
          </a:ln>
        </p:spPr>
        <p:txBody>
          <a:bodyPr/>
          <a:lstStyle/>
          <a:p>
            <a:endParaRPr lang="ru-RU" sz="2400" noProof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0" name="Text 23">
            <a:extLst>
              <a:ext uri="{FF2B5EF4-FFF2-40B4-BE49-F238E27FC236}">
                <a16:creationId xmlns:a16="http://schemas.microsoft.com/office/drawing/2014/main" id="{82BC8DF8-E886-CAFA-394E-45D656E00E4C}"/>
              </a:ext>
            </a:extLst>
          </p:cNvPr>
          <p:cNvSpPr/>
          <p:nvPr/>
        </p:nvSpPr>
        <p:spPr>
          <a:xfrm>
            <a:off x="6838862" y="5350011"/>
            <a:ext cx="5059680" cy="30480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r>
              <a:rPr lang="ru-RU" sz="1267" noProof="1">
                <a:solidFill>
                  <a:srgbClr val="3D6673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6. Планирование последовательности обучения</a:t>
            </a:r>
            <a:endParaRPr lang="ru-RU" sz="1267" noProof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1" name="Shape 24">
            <a:extLst>
              <a:ext uri="{FF2B5EF4-FFF2-40B4-BE49-F238E27FC236}">
                <a16:creationId xmlns:a16="http://schemas.microsoft.com/office/drawing/2014/main" id="{4B4E8635-D6FE-0A43-CD3E-04ADC66FC038}"/>
              </a:ext>
            </a:extLst>
          </p:cNvPr>
          <p:cNvSpPr/>
          <p:nvPr/>
        </p:nvSpPr>
        <p:spPr>
          <a:xfrm>
            <a:off x="6765710" y="5679195"/>
            <a:ext cx="5157216" cy="304800"/>
          </a:xfrm>
          <a:prstGeom prst="rect">
            <a:avLst/>
          </a:prstGeom>
          <a:solidFill>
            <a:srgbClr val="D6F0F3"/>
          </a:solidFill>
          <a:ln w="12700">
            <a:solidFill>
              <a:srgbClr val="B2D8DE"/>
            </a:solidFill>
            <a:prstDash val="solid"/>
          </a:ln>
        </p:spPr>
        <p:txBody>
          <a:bodyPr/>
          <a:lstStyle/>
          <a:p>
            <a:endParaRPr lang="ru-RU" sz="2400" noProof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2" name="Text 25">
            <a:extLst>
              <a:ext uri="{FF2B5EF4-FFF2-40B4-BE49-F238E27FC236}">
                <a16:creationId xmlns:a16="http://schemas.microsoft.com/office/drawing/2014/main" id="{4A4E9D5C-BDC4-502F-C50A-BBBB9F76A8BE}"/>
              </a:ext>
            </a:extLst>
          </p:cNvPr>
          <p:cNvSpPr/>
          <p:nvPr/>
        </p:nvSpPr>
        <p:spPr>
          <a:xfrm>
            <a:off x="6838862" y="5679195"/>
            <a:ext cx="5059680" cy="30480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r>
              <a:rPr lang="ru-RU" sz="1267" noProof="1">
                <a:solidFill>
                  <a:srgbClr val="3D6673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7. Разработка для переноса знаний</a:t>
            </a:r>
            <a:endParaRPr lang="ru-RU" sz="1267" noProof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3" name="Text 26">
            <a:extLst>
              <a:ext uri="{FF2B5EF4-FFF2-40B4-BE49-F238E27FC236}">
                <a16:creationId xmlns:a16="http://schemas.microsoft.com/office/drawing/2014/main" id="{8388B932-0EF2-FB09-598E-735131666A38}"/>
              </a:ext>
            </a:extLst>
          </p:cNvPr>
          <p:cNvSpPr/>
          <p:nvPr/>
        </p:nvSpPr>
        <p:spPr>
          <a:xfrm>
            <a:off x="706286" y="6325371"/>
            <a:ext cx="11216640" cy="30480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r>
              <a:rPr lang="ru-RU" sz="1333" i="1" noProof="1">
                <a:solidFill>
                  <a:srgbClr val="5C7A84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Попросите участников найти в колоде карточки планирования и разложить их лицом вверх по порядку номеров на столе. Карточки задания отложить в сторону.</a:t>
            </a:r>
            <a:endParaRPr lang="ru-RU" sz="1333" noProof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053A623D-164D-629B-C38D-C22E20D2F2FC}"/>
              </a:ext>
            </a:extLst>
          </p:cNvPr>
          <p:cNvSpPr txBox="1"/>
          <p:nvPr/>
        </p:nvSpPr>
        <p:spPr>
          <a:xfrm>
            <a:off x="706286" y="227829"/>
            <a:ext cx="609600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b="1" kern="0" spc="150" noProof="1">
                <a:solidFill>
                  <a:srgbClr val="FFFFFF"/>
                </a:solidFill>
                <a:latin typeface="Calibri" pitchFamily="34" charset="0"/>
                <a:cs typeface="Calibri" pitchFamily="34" charset="-120"/>
              </a:rPr>
              <a:t>Начало разработки SCAFFOLD дизайна</a:t>
            </a:r>
            <a:endParaRPr lang="ru-RU" noProof="1"/>
          </a:p>
        </p:txBody>
      </p:sp>
    </p:spTree>
    <p:extLst>
      <p:ext uri="{BB962C8B-B14F-4D97-AF65-F5344CB8AC3E}">
        <p14:creationId xmlns:p14="http://schemas.microsoft.com/office/powerpoint/2010/main" val="44606527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0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D4DEF42-726E-5D6E-E4D1-36E11EE8BBE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2667" noProof="1">
                <a:latin typeface="Georgia" pitchFamily="34" charset="0"/>
                <a:ea typeface="Georgia" pitchFamily="34" charset="-122"/>
                <a:cs typeface="Georgia" pitchFamily="34" charset="-120"/>
              </a:rPr>
              <a:t>Выбор компетенций</a:t>
            </a:r>
            <a:endParaRPr lang="ru-RU" sz="2667" noProof="1"/>
          </a:p>
        </p:txBody>
      </p:sp>
      <p:sp>
        <p:nvSpPr>
          <p:cNvPr id="6" name="Shape 4">
            <a:extLst>
              <a:ext uri="{FF2B5EF4-FFF2-40B4-BE49-F238E27FC236}">
                <a16:creationId xmlns:a16="http://schemas.microsoft.com/office/drawing/2014/main" id="{F05B62C3-DE6B-E819-1F01-A42AAD065662}"/>
              </a:ext>
            </a:extLst>
          </p:cNvPr>
          <p:cNvSpPr/>
          <p:nvPr/>
        </p:nvSpPr>
        <p:spPr>
          <a:xfrm>
            <a:off x="635317" y="1388068"/>
            <a:ext cx="11216640" cy="2001944"/>
          </a:xfrm>
          <a:prstGeom prst="rect">
            <a:avLst/>
          </a:prstGeom>
          <a:solidFill>
            <a:srgbClr val="D6F0F3"/>
          </a:solidFill>
          <a:ln w="12700">
            <a:solidFill>
              <a:srgbClr val="039AAA"/>
            </a:solidFill>
            <a:prstDash val="solid"/>
          </a:ln>
        </p:spPr>
        <p:txBody>
          <a:bodyPr/>
          <a:lstStyle/>
          <a:p>
            <a:endParaRPr lang="ru-RU" sz="2400" noProof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Shape 5">
            <a:extLst>
              <a:ext uri="{FF2B5EF4-FFF2-40B4-BE49-F238E27FC236}">
                <a16:creationId xmlns:a16="http://schemas.microsoft.com/office/drawing/2014/main" id="{E23DFB4F-CEE8-2EB9-A749-CFA75C2D7FBE}"/>
              </a:ext>
            </a:extLst>
          </p:cNvPr>
          <p:cNvSpPr/>
          <p:nvPr/>
        </p:nvSpPr>
        <p:spPr>
          <a:xfrm>
            <a:off x="635317" y="1388068"/>
            <a:ext cx="121920" cy="2001944"/>
          </a:xfrm>
          <a:prstGeom prst="rect">
            <a:avLst/>
          </a:prstGeom>
          <a:solidFill>
            <a:schemeClr val="accent4"/>
          </a:solidFill>
          <a:ln w="12700">
            <a:solidFill>
              <a:srgbClr val="027A87"/>
            </a:solidFill>
            <a:prstDash val="solid"/>
          </a:ln>
        </p:spPr>
        <p:txBody>
          <a:bodyPr/>
          <a:lstStyle/>
          <a:p>
            <a:endParaRPr lang="ru-RU" sz="2400" noProof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Text 6">
            <a:extLst>
              <a:ext uri="{FF2B5EF4-FFF2-40B4-BE49-F238E27FC236}">
                <a16:creationId xmlns:a16="http://schemas.microsoft.com/office/drawing/2014/main" id="{3DF6EA5D-A28E-F8CA-6808-FDC434E9A7E3}"/>
              </a:ext>
            </a:extLst>
          </p:cNvPr>
          <p:cNvSpPr/>
          <p:nvPr/>
        </p:nvSpPr>
        <p:spPr>
          <a:xfrm>
            <a:off x="1001077" y="1485604"/>
            <a:ext cx="10607040" cy="36576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r>
              <a:rPr lang="ru-RU" sz="1467" b="1" noProof="1">
                <a:solidFill>
                  <a:srgbClr val="027A87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Задание за столом  </a:t>
            </a:r>
            <a:endParaRPr lang="ru-RU" sz="1467" noProof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Text 7">
            <a:extLst>
              <a:ext uri="{FF2B5EF4-FFF2-40B4-BE49-F238E27FC236}">
                <a16:creationId xmlns:a16="http://schemas.microsoft.com/office/drawing/2014/main" id="{EFDE806F-6976-1A4C-6B15-E55E1BFB122B}"/>
              </a:ext>
            </a:extLst>
          </p:cNvPr>
          <p:cNvSpPr/>
          <p:nvPr/>
        </p:nvSpPr>
        <p:spPr>
          <a:xfrm>
            <a:off x="1001077" y="1900132"/>
            <a:ext cx="10607040" cy="1219200"/>
          </a:xfrm>
          <a:prstGeom prst="rect">
            <a:avLst/>
          </a:prstGeom>
          <a:noFill/>
          <a:ln/>
        </p:spPr>
        <p:txBody>
          <a:bodyPr wrap="square" rtlCol="0" anchor="t"/>
          <a:lstStyle/>
          <a:p>
            <a:r>
              <a:rPr lang="ru-RU" sz="1600" i="1" noProof="1">
                <a:solidFill>
                  <a:srgbClr val="16303A"/>
                </a:solidFill>
                <a:latin typeface="Arial" panose="020B0604020202020204" pitchFamily="34" charset="0"/>
                <a:ea typeface="Georgia" pitchFamily="34" charset="-122"/>
                <a:cs typeface="Arial" panose="020B0604020202020204" pitchFamily="34" charset="0"/>
              </a:rPr>
              <a:t>В вашем задании указана LifeComp как рамка компетенций и назван конкретный компетентностный пробел для вашей группы педагогов. Найдите карточки компетенций LifeComp — они лаймово-жёлтого цвета. Выберите две или три наиболее актуальные для группы в вашем задании. По каждой выбранной карточке напишите одно предложение: почему эта компетенция важна для данной конкретной группы педагогов в данном конкретном контексте?</a:t>
            </a:r>
            <a:endParaRPr lang="ru-RU" sz="1600" noProof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Shape 8">
            <a:extLst>
              <a:ext uri="{FF2B5EF4-FFF2-40B4-BE49-F238E27FC236}">
                <a16:creationId xmlns:a16="http://schemas.microsoft.com/office/drawing/2014/main" id="{F1A7DF3D-F3B8-1556-2F25-05DB50FEE119}"/>
              </a:ext>
            </a:extLst>
          </p:cNvPr>
          <p:cNvSpPr/>
          <p:nvPr/>
        </p:nvSpPr>
        <p:spPr>
          <a:xfrm>
            <a:off x="635317" y="3519020"/>
            <a:ext cx="11216640" cy="914400"/>
          </a:xfrm>
          <a:prstGeom prst="rect">
            <a:avLst/>
          </a:prstGeom>
          <a:solidFill>
            <a:srgbClr val="FFFFFF"/>
          </a:solidFill>
          <a:ln w="10160">
            <a:solidFill>
              <a:srgbClr val="B2D8DE"/>
            </a:solidFill>
            <a:prstDash val="solid"/>
          </a:ln>
          <a:effectLst>
            <a:outerShdw blurRad="76200" dist="38100" dir="8100000" algn="bl" rotWithShape="0">
              <a:srgbClr val="000000">
                <a:alpha val="10000"/>
              </a:srgbClr>
            </a:outerShdw>
          </a:effectLst>
        </p:spPr>
        <p:txBody>
          <a:bodyPr/>
          <a:lstStyle/>
          <a:p>
            <a:endParaRPr lang="ru-RU" sz="2400" noProof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Text 9">
            <a:extLst>
              <a:ext uri="{FF2B5EF4-FFF2-40B4-BE49-F238E27FC236}">
                <a16:creationId xmlns:a16="http://schemas.microsoft.com/office/drawing/2014/main" id="{FA92E116-F75A-3FEA-D0B1-2E3B6DCB2B68}"/>
              </a:ext>
            </a:extLst>
          </p:cNvPr>
          <p:cNvSpPr/>
          <p:nvPr/>
        </p:nvSpPr>
        <p:spPr>
          <a:xfrm>
            <a:off x="879157" y="3579980"/>
            <a:ext cx="10728960" cy="341376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r>
              <a:rPr lang="ru-RU" sz="1467" b="1" noProof="1">
                <a:solidFill>
                  <a:srgbClr val="027A87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Принцип разработки:</a:t>
            </a:r>
            <a:endParaRPr lang="ru-RU" sz="1467" noProof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Text 10">
            <a:extLst>
              <a:ext uri="{FF2B5EF4-FFF2-40B4-BE49-F238E27FC236}">
                <a16:creationId xmlns:a16="http://schemas.microsoft.com/office/drawing/2014/main" id="{24C2D7A1-18AE-A75F-59C3-289CBA650FB9}"/>
              </a:ext>
            </a:extLst>
          </p:cNvPr>
          <p:cNvSpPr/>
          <p:nvPr/>
        </p:nvSpPr>
        <p:spPr>
          <a:xfrm>
            <a:off x="879157" y="3921356"/>
            <a:ext cx="10728960" cy="42672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r>
              <a:rPr lang="ru-RU" sz="1533" noProof="1">
                <a:solidFill>
                  <a:srgbClr val="16303A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Выбор компетенции определяет всё последующее — метод обучения, оценивание, результат. Невозможно разработать компетентностно-ориентированную сессию, если сначала выбирать метод обучения.</a:t>
            </a:r>
            <a:endParaRPr lang="ru-RU" sz="1533" noProof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Shape 11">
            <a:extLst>
              <a:ext uri="{FF2B5EF4-FFF2-40B4-BE49-F238E27FC236}">
                <a16:creationId xmlns:a16="http://schemas.microsoft.com/office/drawing/2014/main" id="{3E715E59-A8AA-F731-DD37-9E4365A03398}"/>
              </a:ext>
            </a:extLst>
          </p:cNvPr>
          <p:cNvSpPr/>
          <p:nvPr/>
        </p:nvSpPr>
        <p:spPr>
          <a:xfrm>
            <a:off x="635317" y="4567532"/>
            <a:ext cx="11216640" cy="731520"/>
          </a:xfrm>
          <a:prstGeom prst="rect">
            <a:avLst/>
          </a:prstGeom>
          <a:solidFill>
            <a:srgbClr val="D6F0F3"/>
          </a:solidFill>
          <a:ln w="12700">
            <a:solidFill>
              <a:srgbClr val="039AAA"/>
            </a:solidFill>
            <a:prstDash val="solid"/>
          </a:ln>
        </p:spPr>
        <p:txBody>
          <a:bodyPr/>
          <a:lstStyle/>
          <a:p>
            <a:endParaRPr lang="ru-RU" sz="2400" noProof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Text 12">
            <a:extLst>
              <a:ext uri="{FF2B5EF4-FFF2-40B4-BE49-F238E27FC236}">
                <a16:creationId xmlns:a16="http://schemas.microsoft.com/office/drawing/2014/main" id="{3C94233F-F5CB-7D78-BFFF-405B64045645}"/>
              </a:ext>
            </a:extLst>
          </p:cNvPr>
          <p:cNvSpPr/>
          <p:nvPr/>
        </p:nvSpPr>
        <p:spPr>
          <a:xfrm>
            <a:off x="879157" y="4567532"/>
            <a:ext cx="10850880" cy="73152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r>
              <a:rPr lang="ru-RU" sz="1467" noProof="1">
                <a:solidFill>
                  <a:srgbClr val="16303A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Разбор : Два стола делятся, какие карточки они выбрали и почему. Обратите внимание: одна и та же рамка даёт разные компетентностные выборы для разных групп педагогов.</a:t>
            </a:r>
            <a:endParaRPr lang="ru-RU" sz="1467" noProof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Shape 15">
            <a:extLst>
              <a:ext uri="{FF2B5EF4-FFF2-40B4-BE49-F238E27FC236}">
                <a16:creationId xmlns:a16="http://schemas.microsoft.com/office/drawing/2014/main" id="{76C754DF-164C-F990-804A-B61F6789FB36}"/>
              </a:ext>
            </a:extLst>
          </p:cNvPr>
          <p:cNvSpPr/>
          <p:nvPr/>
        </p:nvSpPr>
        <p:spPr>
          <a:xfrm>
            <a:off x="635317" y="5616236"/>
            <a:ext cx="11216640" cy="414528"/>
          </a:xfrm>
          <a:prstGeom prst="rect">
            <a:avLst/>
          </a:prstGeom>
          <a:solidFill>
            <a:srgbClr val="E8940A"/>
          </a:solidFill>
          <a:ln w="12700">
            <a:solidFill>
              <a:srgbClr val="E8940A"/>
            </a:solidFill>
            <a:prstDash val="solid"/>
          </a:ln>
        </p:spPr>
        <p:txBody>
          <a:bodyPr/>
          <a:lstStyle/>
          <a:p>
            <a:endParaRPr lang="ru-RU" sz="2400" noProof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Text 16">
            <a:extLst>
              <a:ext uri="{FF2B5EF4-FFF2-40B4-BE49-F238E27FC236}">
                <a16:creationId xmlns:a16="http://schemas.microsoft.com/office/drawing/2014/main" id="{20219690-EF65-E064-7785-D64F464F09A4}"/>
              </a:ext>
            </a:extLst>
          </p:cNvPr>
          <p:cNvSpPr/>
          <p:nvPr/>
        </p:nvSpPr>
        <p:spPr>
          <a:xfrm>
            <a:off x="635317" y="5616236"/>
            <a:ext cx="11216640" cy="414528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algn="ctr"/>
            <a:r>
              <a:rPr lang="ru-RU" sz="1200" b="1" noProof="1">
                <a:solidFill>
                  <a:srgbClr val="FFFFFF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SCAFFOLD: Принцип 3.3 — ставить обучающегося в центр. Вопрос не в том, что вы хотите преподавать. А в том, что нужно развивать данной конкретной группе.</a:t>
            </a:r>
            <a:endParaRPr lang="ru-RU" sz="1200" noProof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983618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Shape 5">
            <a:extLst>
              <a:ext uri="{FF2B5EF4-FFF2-40B4-BE49-F238E27FC236}">
                <a16:creationId xmlns:a16="http://schemas.microsoft.com/office/drawing/2014/main" id="{191F6436-33CA-4AF1-48E9-CE7E8E39BABF}"/>
              </a:ext>
            </a:extLst>
          </p:cNvPr>
          <p:cNvSpPr/>
          <p:nvPr/>
        </p:nvSpPr>
        <p:spPr>
          <a:xfrm>
            <a:off x="515816" y="1478180"/>
            <a:ext cx="11099408" cy="406691"/>
          </a:xfrm>
          <a:prstGeom prst="rect">
            <a:avLst/>
          </a:prstGeom>
          <a:solidFill>
            <a:srgbClr val="FFFFFF"/>
          </a:solidFill>
          <a:ln w="6350">
            <a:solidFill>
              <a:srgbClr val="B2D8DE"/>
            </a:solidFill>
            <a:prstDash val="solid"/>
          </a:ln>
        </p:spPr>
        <p:txBody>
          <a:bodyPr/>
          <a:lstStyle/>
          <a:p>
            <a:endParaRPr lang="ru-RU" sz="2400" noProof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BD1B1E9C-9D79-EEBC-6C3E-476541809B2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3200" kern="0" spc="267" noProof="1">
                <a:solidFill>
                  <a:srgbClr val="FFFFFF"/>
                </a:solidFill>
                <a:latin typeface="Arial" panose="020B0604020202020204" pitchFamily="34" charset="0"/>
                <a:ea typeface="Calibri" pitchFamily="34" charset="-122"/>
              </a:rPr>
              <a:t>СЕССИЯ 1  ·  ОБЗОР</a:t>
            </a:r>
            <a:endParaRPr lang="ru-RU" noProof="1"/>
          </a:p>
        </p:txBody>
      </p:sp>
      <p:sp>
        <p:nvSpPr>
          <p:cNvPr id="6" name="Text 2">
            <a:extLst>
              <a:ext uri="{FF2B5EF4-FFF2-40B4-BE49-F238E27FC236}">
                <a16:creationId xmlns:a16="http://schemas.microsoft.com/office/drawing/2014/main" id="{81170028-90CE-F6A5-64B8-F1CB475AD4A4}"/>
              </a:ext>
            </a:extLst>
          </p:cNvPr>
          <p:cNvSpPr/>
          <p:nvPr/>
        </p:nvSpPr>
        <p:spPr>
          <a:xfrm>
            <a:off x="576776" y="1502564"/>
            <a:ext cx="1828800" cy="42672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r>
              <a:rPr lang="ru-RU" sz="1333" b="1" kern="0" spc="133" noProof="1">
                <a:solidFill>
                  <a:srgbClr val="027A87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ВРЕМЯ</a:t>
            </a:r>
            <a:endParaRPr lang="ru-RU" sz="1333" noProof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Text 3">
            <a:extLst>
              <a:ext uri="{FF2B5EF4-FFF2-40B4-BE49-F238E27FC236}">
                <a16:creationId xmlns:a16="http://schemas.microsoft.com/office/drawing/2014/main" id="{DB170009-C9E8-0D1C-C601-C16D43F92133}"/>
              </a:ext>
            </a:extLst>
          </p:cNvPr>
          <p:cNvSpPr/>
          <p:nvPr/>
        </p:nvSpPr>
        <p:spPr>
          <a:xfrm>
            <a:off x="2649416" y="1502564"/>
            <a:ext cx="6949440" cy="42672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r>
              <a:rPr lang="ru-RU" sz="1333" b="1" kern="0" spc="133" noProof="1">
                <a:solidFill>
                  <a:srgbClr val="027A87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АКТИВНОСТЬ</a:t>
            </a:r>
            <a:endParaRPr lang="ru-RU" sz="1333" noProof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Text 4">
            <a:extLst>
              <a:ext uri="{FF2B5EF4-FFF2-40B4-BE49-F238E27FC236}">
                <a16:creationId xmlns:a16="http://schemas.microsoft.com/office/drawing/2014/main" id="{A17FEC93-3992-7603-DE1E-0E78623827BF}"/>
              </a:ext>
            </a:extLst>
          </p:cNvPr>
          <p:cNvSpPr/>
          <p:nvPr/>
        </p:nvSpPr>
        <p:spPr>
          <a:xfrm>
            <a:off x="9181513" y="1502564"/>
            <a:ext cx="2316480" cy="42672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r>
              <a:rPr lang="ru-RU" sz="1333" b="1" kern="0" spc="133" noProof="1">
                <a:solidFill>
                  <a:srgbClr val="027A87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ФОРМАТ</a:t>
            </a:r>
            <a:endParaRPr lang="ru-RU" sz="1333" noProof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Shape 5">
            <a:extLst>
              <a:ext uri="{FF2B5EF4-FFF2-40B4-BE49-F238E27FC236}">
                <a16:creationId xmlns:a16="http://schemas.microsoft.com/office/drawing/2014/main" id="{8B9AD89E-9C2C-AF7F-E55D-FDF8D58FB2D8}"/>
              </a:ext>
            </a:extLst>
          </p:cNvPr>
          <p:cNvSpPr/>
          <p:nvPr/>
        </p:nvSpPr>
        <p:spPr>
          <a:xfrm>
            <a:off x="515816" y="1953668"/>
            <a:ext cx="11099408" cy="829056"/>
          </a:xfrm>
          <a:prstGeom prst="rect">
            <a:avLst/>
          </a:prstGeom>
          <a:solidFill>
            <a:srgbClr val="FFFFFF"/>
          </a:solidFill>
          <a:ln w="6350">
            <a:solidFill>
              <a:srgbClr val="B2D8DE"/>
            </a:solidFill>
            <a:prstDash val="solid"/>
          </a:ln>
        </p:spPr>
        <p:txBody>
          <a:bodyPr/>
          <a:lstStyle/>
          <a:p>
            <a:endParaRPr lang="ru-RU" sz="2400" noProof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Text 6">
            <a:extLst>
              <a:ext uri="{FF2B5EF4-FFF2-40B4-BE49-F238E27FC236}">
                <a16:creationId xmlns:a16="http://schemas.microsoft.com/office/drawing/2014/main" id="{DD92F2E4-96A2-FBF7-9908-DCE397DEBB04}"/>
              </a:ext>
            </a:extLst>
          </p:cNvPr>
          <p:cNvSpPr/>
          <p:nvPr/>
        </p:nvSpPr>
        <p:spPr>
          <a:xfrm>
            <a:off x="576776" y="2014628"/>
            <a:ext cx="1828800" cy="73152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r>
              <a:rPr lang="ru-RU" sz="1467" b="1" noProof="1">
                <a:solidFill>
                  <a:srgbClr val="027A87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09:30 – 09:40</a:t>
            </a:r>
            <a:endParaRPr lang="ru-RU" sz="1467" noProof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Text 7">
            <a:extLst>
              <a:ext uri="{FF2B5EF4-FFF2-40B4-BE49-F238E27FC236}">
                <a16:creationId xmlns:a16="http://schemas.microsoft.com/office/drawing/2014/main" id="{9301DBE2-835C-9DB7-238C-9D90AE0F3A08}"/>
              </a:ext>
            </a:extLst>
          </p:cNvPr>
          <p:cNvSpPr/>
          <p:nvPr/>
        </p:nvSpPr>
        <p:spPr>
          <a:xfrm>
            <a:off x="2649416" y="2014628"/>
            <a:ext cx="6949440" cy="73152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r>
              <a:rPr lang="ru-RU" sz="1600" noProof="1">
                <a:solidFill>
                  <a:srgbClr val="16303A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Связь с вводным вебинаром — что вы нам уже рассказали</a:t>
            </a:r>
            <a:endParaRPr lang="ru-RU" sz="1600" noProof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Text 8">
            <a:extLst>
              <a:ext uri="{FF2B5EF4-FFF2-40B4-BE49-F238E27FC236}">
                <a16:creationId xmlns:a16="http://schemas.microsoft.com/office/drawing/2014/main" id="{FBD415E8-4477-7235-8552-7D6F6B3ECD86}"/>
              </a:ext>
            </a:extLst>
          </p:cNvPr>
          <p:cNvSpPr/>
          <p:nvPr/>
        </p:nvSpPr>
        <p:spPr>
          <a:xfrm>
            <a:off x="9181513" y="2014628"/>
            <a:ext cx="2316480" cy="73152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r>
              <a:rPr lang="ru-RU" sz="1600" noProof="1">
                <a:solidFill>
                  <a:srgbClr val="16303A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Показ на пленарном заседании + краткое введение</a:t>
            </a:r>
            <a:endParaRPr lang="ru-RU" sz="1600" noProof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Shape 9">
            <a:extLst>
              <a:ext uri="{FF2B5EF4-FFF2-40B4-BE49-F238E27FC236}">
                <a16:creationId xmlns:a16="http://schemas.microsoft.com/office/drawing/2014/main" id="{38F82969-D734-5DD3-374B-FEA3783C07CE}"/>
              </a:ext>
            </a:extLst>
          </p:cNvPr>
          <p:cNvSpPr/>
          <p:nvPr/>
        </p:nvSpPr>
        <p:spPr>
          <a:xfrm>
            <a:off x="515816" y="2831492"/>
            <a:ext cx="11099408" cy="829056"/>
          </a:xfrm>
          <a:prstGeom prst="rect">
            <a:avLst/>
          </a:prstGeom>
          <a:solidFill>
            <a:srgbClr val="D6F0F3"/>
          </a:solidFill>
          <a:ln w="6350">
            <a:solidFill>
              <a:srgbClr val="B2D8DE"/>
            </a:solidFill>
            <a:prstDash val="solid"/>
          </a:ln>
        </p:spPr>
        <p:txBody>
          <a:bodyPr/>
          <a:lstStyle/>
          <a:p>
            <a:endParaRPr lang="ru-RU" sz="2400" noProof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Text 10">
            <a:extLst>
              <a:ext uri="{FF2B5EF4-FFF2-40B4-BE49-F238E27FC236}">
                <a16:creationId xmlns:a16="http://schemas.microsoft.com/office/drawing/2014/main" id="{A1A78FA5-82BB-F4B0-EA0E-5532962BBC5B}"/>
              </a:ext>
            </a:extLst>
          </p:cNvPr>
          <p:cNvSpPr/>
          <p:nvPr/>
        </p:nvSpPr>
        <p:spPr>
          <a:xfrm>
            <a:off x="576776" y="2892452"/>
            <a:ext cx="1828800" cy="73152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r>
              <a:rPr lang="ru-RU" sz="1467" b="1" noProof="1">
                <a:solidFill>
                  <a:srgbClr val="027A87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09:40 – 10:10</a:t>
            </a:r>
            <a:endParaRPr lang="ru-RU" sz="1467" noProof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Text 11">
            <a:extLst>
              <a:ext uri="{FF2B5EF4-FFF2-40B4-BE49-F238E27FC236}">
                <a16:creationId xmlns:a16="http://schemas.microsoft.com/office/drawing/2014/main" id="{DE14EE09-4F89-791A-CBDB-BBDF69781F97}"/>
              </a:ext>
            </a:extLst>
          </p:cNvPr>
          <p:cNvSpPr/>
          <p:nvPr/>
        </p:nvSpPr>
        <p:spPr>
          <a:xfrm>
            <a:off x="2649416" y="2892452"/>
            <a:ext cx="6949440" cy="73152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r>
              <a:rPr lang="ru-RU" sz="1600" noProof="1">
                <a:solidFill>
                  <a:srgbClr val="16303A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Основная активность — Сортировка свидетельств</a:t>
            </a:r>
            <a:endParaRPr lang="ru-RU" sz="1600" noProof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Text 12">
            <a:extLst>
              <a:ext uri="{FF2B5EF4-FFF2-40B4-BE49-F238E27FC236}">
                <a16:creationId xmlns:a16="http://schemas.microsoft.com/office/drawing/2014/main" id="{B5F1854E-3843-6575-EF64-85B1EB01FEFD}"/>
              </a:ext>
            </a:extLst>
          </p:cNvPr>
          <p:cNvSpPr/>
          <p:nvPr/>
        </p:nvSpPr>
        <p:spPr>
          <a:xfrm>
            <a:off x="9181513" y="2892452"/>
            <a:ext cx="2316480" cy="73152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r>
              <a:rPr lang="ru-RU" sz="1600" noProof="1">
                <a:solidFill>
                  <a:srgbClr val="16303A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Коллективное задание за столом</a:t>
            </a:r>
            <a:endParaRPr lang="ru-RU" sz="1600" noProof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Shape 13">
            <a:extLst>
              <a:ext uri="{FF2B5EF4-FFF2-40B4-BE49-F238E27FC236}">
                <a16:creationId xmlns:a16="http://schemas.microsoft.com/office/drawing/2014/main" id="{46575AC3-B4D7-EF91-1734-D31995E9452C}"/>
              </a:ext>
            </a:extLst>
          </p:cNvPr>
          <p:cNvSpPr/>
          <p:nvPr/>
        </p:nvSpPr>
        <p:spPr>
          <a:xfrm>
            <a:off x="515816" y="3709316"/>
            <a:ext cx="11099408" cy="829056"/>
          </a:xfrm>
          <a:prstGeom prst="rect">
            <a:avLst/>
          </a:prstGeom>
          <a:solidFill>
            <a:srgbClr val="FFFFFF"/>
          </a:solidFill>
          <a:ln w="6350">
            <a:solidFill>
              <a:srgbClr val="B2D8DE"/>
            </a:solidFill>
            <a:prstDash val="solid"/>
          </a:ln>
        </p:spPr>
        <p:txBody>
          <a:bodyPr/>
          <a:lstStyle/>
          <a:p>
            <a:endParaRPr lang="ru-RU" sz="2400" noProof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Text 14">
            <a:extLst>
              <a:ext uri="{FF2B5EF4-FFF2-40B4-BE49-F238E27FC236}">
                <a16:creationId xmlns:a16="http://schemas.microsoft.com/office/drawing/2014/main" id="{81EEC0CF-156C-4617-FA44-9AD58D3E6433}"/>
              </a:ext>
            </a:extLst>
          </p:cNvPr>
          <p:cNvSpPr/>
          <p:nvPr/>
        </p:nvSpPr>
        <p:spPr>
          <a:xfrm>
            <a:off x="576776" y="3770276"/>
            <a:ext cx="1828800" cy="73152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r>
              <a:rPr lang="ru-RU" sz="1467" b="1" noProof="1">
                <a:solidFill>
                  <a:srgbClr val="027A87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10:10 – 10:30</a:t>
            </a:r>
            <a:endParaRPr lang="ru-RU" sz="1467" noProof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Text 15">
            <a:extLst>
              <a:ext uri="{FF2B5EF4-FFF2-40B4-BE49-F238E27FC236}">
                <a16:creationId xmlns:a16="http://schemas.microsoft.com/office/drawing/2014/main" id="{78D14837-8CA2-693D-4A50-064341FE38E6}"/>
              </a:ext>
            </a:extLst>
          </p:cNvPr>
          <p:cNvSpPr/>
          <p:nvPr/>
        </p:nvSpPr>
        <p:spPr>
          <a:xfrm>
            <a:off x="2649416" y="3770276"/>
            <a:ext cx="6949440" cy="73152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r>
              <a:rPr lang="ru-RU" sz="1600" noProof="1">
                <a:solidFill>
                  <a:srgbClr val="16303A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Связь с SCAFFOLD</a:t>
            </a:r>
            <a:endParaRPr lang="ru-RU" sz="1600" noProof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" name="Text 16">
            <a:extLst>
              <a:ext uri="{FF2B5EF4-FFF2-40B4-BE49-F238E27FC236}">
                <a16:creationId xmlns:a16="http://schemas.microsoft.com/office/drawing/2014/main" id="{8560E32F-4263-EE21-A076-9E96BEC2838F}"/>
              </a:ext>
            </a:extLst>
          </p:cNvPr>
          <p:cNvSpPr/>
          <p:nvPr/>
        </p:nvSpPr>
        <p:spPr>
          <a:xfrm>
            <a:off x="9181513" y="3770276"/>
            <a:ext cx="2316480" cy="73152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r>
              <a:rPr lang="ru-RU" sz="1600" noProof="1">
                <a:solidFill>
                  <a:srgbClr val="16303A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Изучение карточек + метарефлексия</a:t>
            </a:r>
            <a:endParaRPr lang="ru-RU" sz="1600" noProof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" name="Shape 17">
            <a:extLst>
              <a:ext uri="{FF2B5EF4-FFF2-40B4-BE49-F238E27FC236}">
                <a16:creationId xmlns:a16="http://schemas.microsoft.com/office/drawing/2014/main" id="{BA36F572-7559-FCDE-61E1-7D6523A0C6B5}"/>
              </a:ext>
            </a:extLst>
          </p:cNvPr>
          <p:cNvSpPr/>
          <p:nvPr/>
        </p:nvSpPr>
        <p:spPr>
          <a:xfrm>
            <a:off x="515816" y="4587140"/>
            <a:ext cx="11099408" cy="829056"/>
          </a:xfrm>
          <a:prstGeom prst="rect">
            <a:avLst/>
          </a:prstGeom>
          <a:solidFill>
            <a:srgbClr val="D6F0F3"/>
          </a:solidFill>
          <a:ln w="6350">
            <a:solidFill>
              <a:srgbClr val="B2D8DE"/>
            </a:solidFill>
            <a:prstDash val="solid"/>
          </a:ln>
        </p:spPr>
        <p:txBody>
          <a:bodyPr/>
          <a:lstStyle/>
          <a:p>
            <a:endParaRPr lang="ru-RU" sz="2400" noProof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2" name="Text 18">
            <a:extLst>
              <a:ext uri="{FF2B5EF4-FFF2-40B4-BE49-F238E27FC236}">
                <a16:creationId xmlns:a16="http://schemas.microsoft.com/office/drawing/2014/main" id="{B7827D80-3680-A277-9894-4EA0D0F56380}"/>
              </a:ext>
            </a:extLst>
          </p:cNvPr>
          <p:cNvSpPr/>
          <p:nvPr/>
        </p:nvSpPr>
        <p:spPr>
          <a:xfrm>
            <a:off x="576776" y="4648100"/>
            <a:ext cx="1828800" cy="73152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r>
              <a:rPr lang="ru-RU" sz="1467" b="1" noProof="1">
                <a:solidFill>
                  <a:srgbClr val="027A87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10:30 – 10:40</a:t>
            </a:r>
            <a:endParaRPr lang="ru-RU" sz="1467" noProof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3" name="Text 19">
            <a:extLst>
              <a:ext uri="{FF2B5EF4-FFF2-40B4-BE49-F238E27FC236}">
                <a16:creationId xmlns:a16="http://schemas.microsoft.com/office/drawing/2014/main" id="{69F65939-6162-4CF6-96B4-BC17E1C7AD38}"/>
              </a:ext>
            </a:extLst>
          </p:cNvPr>
          <p:cNvSpPr/>
          <p:nvPr/>
        </p:nvSpPr>
        <p:spPr>
          <a:xfrm>
            <a:off x="2649416" y="4648100"/>
            <a:ext cx="6949440" cy="73152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r>
              <a:rPr lang="ru-RU" sz="1600" noProof="1">
                <a:solidFill>
                  <a:srgbClr val="16303A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Синтез — Спектр</a:t>
            </a:r>
            <a:endParaRPr lang="ru-RU" sz="1600" noProof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4" name="Text 20">
            <a:extLst>
              <a:ext uri="{FF2B5EF4-FFF2-40B4-BE49-F238E27FC236}">
                <a16:creationId xmlns:a16="http://schemas.microsoft.com/office/drawing/2014/main" id="{FDA5AB2B-5A7C-BCEA-7BF6-C63CC45FA539}"/>
              </a:ext>
            </a:extLst>
          </p:cNvPr>
          <p:cNvSpPr/>
          <p:nvPr/>
        </p:nvSpPr>
        <p:spPr>
          <a:xfrm>
            <a:off x="9181513" y="4648100"/>
            <a:ext cx="2316480" cy="73152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r>
              <a:rPr lang="ru-RU" sz="1600" noProof="1">
                <a:solidFill>
                  <a:srgbClr val="16303A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Обсуждение за столом + группировка на стене</a:t>
            </a:r>
            <a:endParaRPr lang="ru-RU" sz="1600" noProof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5" name="Shape 21">
            <a:extLst>
              <a:ext uri="{FF2B5EF4-FFF2-40B4-BE49-F238E27FC236}">
                <a16:creationId xmlns:a16="http://schemas.microsoft.com/office/drawing/2014/main" id="{820B0952-F6FA-340C-1118-ECDA4900B5F2}"/>
              </a:ext>
            </a:extLst>
          </p:cNvPr>
          <p:cNvSpPr/>
          <p:nvPr/>
        </p:nvSpPr>
        <p:spPr>
          <a:xfrm>
            <a:off x="515816" y="5464964"/>
            <a:ext cx="11099408" cy="829056"/>
          </a:xfrm>
          <a:prstGeom prst="rect">
            <a:avLst/>
          </a:prstGeom>
          <a:solidFill>
            <a:srgbClr val="FFFFFF"/>
          </a:solidFill>
          <a:ln w="6350">
            <a:solidFill>
              <a:srgbClr val="B2D8DE"/>
            </a:solidFill>
            <a:prstDash val="solid"/>
          </a:ln>
        </p:spPr>
        <p:txBody>
          <a:bodyPr/>
          <a:lstStyle/>
          <a:p>
            <a:endParaRPr lang="ru-RU" sz="2400" noProof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6" name="Text 22">
            <a:extLst>
              <a:ext uri="{FF2B5EF4-FFF2-40B4-BE49-F238E27FC236}">
                <a16:creationId xmlns:a16="http://schemas.microsoft.com/office/drawing/2014/main" id="{B1F86E44-8068-B9DF-EC85-719D1B2561E3}"/>
              </a:ext>
            </a:extLst>
          </p:cNvPr>
          <p:cNvSpPr/>
          <p:nvPr/>
        </p:nvSpPr>
        <p:spPr>
          <a:xfrm>
            <a:off x="576776" y="5525924"/>
            <a:ext cx="1828800" cy="73152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r>
              <a:rPr lang="ru-RU" sz="1467" b="1" noProof="1">
                <a:solidFill>
                  <a:srgbClr val="027A87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10:40 – 10:45</a:t>
            </a:r>
            <a:endParaRPr lang="ru-RU" sz="1467" noProof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7" name="Text 23">
            <a:extLst>
              <a:ext uri="{FF2B5EF4-FFF2-40B4-BE49-F238E27FC236}">
                <a16:creationId xmlns:a16="http://schemas.microsoft.com/office/drawing/2014/main" id="{75F018DC-9AF7-03C1-7FB9-18D3ACE6D809}"/>
              </a:ext>
            </a:extLst>
          </p:cNvPr>
          <p:cNvSpPr/>
          <p:nvPr/>
        </p:nvSpPr>
        <p:spPr>
          <a:xfrm>
            <a:off x="2649416" y="5525924"/>
            <a:ext cx="6949440" cy="73152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r>
              <a:rPr lang="ru-RU" sz="1600" noProof="1">
                <a:solidFill>
                  <a:srgbClr val="16303A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Завершение с рефлексией</a:t>
            </a:r>
            <a:endParaRPr lang="ru-RU" sz="1600" noProof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8" name="Text 24">
            <a:extLst>
              <a:ext uri="{FF2B5EF4-FFF2-40B4-BE49-F238E27FC236}">
                <a16:creationId xmlns:a16="http://schemas.microsoft.com/office/drawing/2014/main" id="{E209B5FF-AF87-83FE-DABB-D44D3DCC6597}"/>
              </a:ext>
            </a:extLst>
          </p:cNvPr>
          <p:cNvSpPr/>
          <p:nvPr/>
        </p:nvSpPr>
        <p:spPr>
          <a:xfrm>
            <a:off x="9181513" y="5525924"/>
            <a:ext cx="2316480" cy="73152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r>
              <a:rPr lang="ru-RU" sz="1600" noProof="1">
                <a:solidFill>
                  <a:srgbClr val="16303A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Индивидуальная рефлексия</a:t>
            </a:r>
            <a:endParaRPr lang="ru-RU" sz="1600" noProof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3156958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58265DB-73D4-7214-3878-6C979064DF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noProof="1"/>
              <a:t>Определение уровня компетенции</a:t>
            </a:r>
          </a:p>
        </p:txBody>
      </p:sp>
      <p:sp>
        <p:nvSpPr>
          <p:cNvPr id="17" name="Shape 16">
            <a:extLst>
              <a:ext uri="{FF2B5EF4-FFF2-40B4-BE49-F238E27FC236}">
                <a16:creationId xmlns:a16="http://schemas.microsoft.com/office/drawing/2014/main" id="{096CD97C-DCB4-0A85-FEAB-854621C6C1AD}"/>
              </a:ext>
            </a:extLst>
          </p:cNvPr>
          <p:cNvSpPr/>
          <p:nvPr/>
        </p:nvSpPr>
        <p:spPr>
          <a:xfrm>
            <a:off x="635317" y="1764323"/>
            <a:ext cx="11216640" cy="2786727"/>
          </a:xfrm>
          <a:prstGeom prst="rect">
            <a:avLst/>
          </a:prstGeom>
          <a:solidFill>
            <a:srgbClr val="D6F0F3"/>
          </a:solidFill>
          <a:ln w="12700">
            <a:solidFill>
              <a:srgbClr val="039AAA"/>
            </a:solidFill>
            <a:prstDash val="solid"/>
          </a:ln>
        </p:spPr>
        <p:txBody>
          <a:bodyPr/>
          <a:lstStyle/>
          <a:p>
            <a:endParaRPr lang="ru-RU" sz="2400" noProof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Shape 17">
            <a:extLst>
              <a:ext uri="{FF2B5EF4-FFF2-40B4-BE49-F238E27FC236}">
                <a16:creationId xmlns:a16="http://schemas.microsoft.com/office/drawing/2014/main" id="{C5CD046F-9D8B-DE39-AEB9-906B4EF4EB12}"/>
              </a:ext>
            </a:extLst>
          </p:cNvPr>
          <p:cNvSpPr/>
          <p:nvPr/>
        </p:nvSpPr>
        <p:spPr>
          <a:xfrm>
            <a:off x="635317" y="1764323"/>
            <a:ext cx="121920" cy="2786727"/>
          </a:xfrm>
          <a:prstGeom prst="rect">
            <a:avLst/>
          </a:prstGeom>
          <a:solidFill>
            <a:srgbClr val="027A87"/>
          </a:solidFill>
          <a:ln w="12700">
            <a:solidFill>
              <a:srgbClr val="027A87"/>
            </a:solidFill>
            <a:prstDash val="solid"/>
          </a:ln>
        </p:spPr>
        <p:txBody>
          <a:bodyPr/>
          <a:lstStyle/>
          <a:p>
            <a:endParaRPr lang="ru-RU" sz="2400" noProof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Text 18">
            <a:extLst>
              <a:ext uri="{FF2B5EF4-FFF2-40B4-BE49-F238E27FC236}">
                <a16:creationId xmlns:a16="http://schemas.microsoft.com/office/drawing/2014/main" id="{EAF60B51-6EF6-9815-2FEF-BC952124D024}"/>
              </a:ext>
            </a:extLst>
          </p:cNvPr>
          <p:cNvSpPr/>
          <p:nvPr/>
        </p:nvSpPr>
        <p:spPr>
          <a:xfrm>
            <a:off x="1001077" y="1830056"/>
            <a:ext cx="10607040" cy="36576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r>
              <a:rPr lang="ru-RU" sz="2500" b="1" noProof="1">
                <a:solidFill>
                  <a:srgbClr val="027A87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Задание за столами </a:t>
            </a:r>
            <a:endParaRPr lang="ru-RU" sz="2500" noProof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" name="Shape 20">
            <a:extLst>
              <a:ext uri="{FF2B5EF4-FFF2-40B4-BE49-F238E27FC236}">
                <a16:creationId xmlns:a16="http://schemas.microsoft.com/office/drawing/2014/main" id="{4D691B94-3663-52BF-863B-DE08C29DFA21}"/>
              </a:ext>
            </a:extLst>
          </p:cNvPr>
          <p:cNvSpPr/>
          <p:nvPr/>
        </p:nvSpPr>
        <p:spPr>
          <a:xfrm>
            <a:off x="635317" y="4812809"/>
            <a:ext cx="11216640" cy="755904"/>
          </a:xfrm>
          <a:prstGeom prst="rect">
            <a:avLst/>
          </a:prstGeom>
          <a:solidFill>
            <a:srgbClr val="D6F0F3"/>
          </a:solidFill>
          <a:ln w="12700">
            <a:solidFill>
              <a:srgbClr val="039AAA"/>
            </a:solidFill>
            <a:prstDash val="solid"/>
          </a:ln>
        </p:spPr>
        <p:txBody>
          <a:bodyPr/>
          <a:lstStyle/>
          <a:p>
            <a:endParaRPr lang="ru-RU" sz="2400" noProof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2" name="Text 21">
            <a:extLst>
              <a:ext uri="{FF2B5EF4-FFF2-40B4-BE49-F238E27FC236}">
                <a16:creationId xmlns:a16="http://schemas.microsoft.com/office/drawing/2014/main" id="{48E062D4-B3C6-90FE-742D-424140EF415C}"/>
              </a:ext>
            </a:extLst>
          </p:cNvPr>
          <p:cNvSpPr/>
          <p:nvPr/>
        </p:nvSpPr>
        <p:spPr>
          <a:xfrm>
            <a:off x="879157" y="4812809"/>
            <a:ext cx="10850880" cy="755904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r>
              <a:rPr lang="ru-RU" sz="1467" noProof="1">
                <a:solidFill>
                  <a:srgbClr val="16303A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Связь с ИК 1: Диагностический момент — это первый момент тесной связи с практикой. Если ваша диагностика просит педагогов принести нечто реальное из их рабочего контекста, вы уже встроили ИК 1 в дизайн до того, как сессия по-настоящему началась.</a:t>
            </a:r>
            <a:endParaRPr lang="ru-RU" sz="1467" noProof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E941C35A-7416-221E-7B7B-79A01787358D}"/>
              </a:ext>
            </a:extLst>
          </p:cNvPr>
          <p:cNvSpPr txBox="1"/>
          <p:nvPr/>
        </p:nvSpPr>
        <p:spPr>
          <a:xfrm>
            <a:off x="635317" y="5789225"/>
            <a:ext cx="11216640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buNone/>
            </a:pPr>
            <a:r>
              <a:rPr lang="ru-RU" sz="2000" noProof="1">
                <a:solidFill>
                  <a:schemeClr val="bg1"/>
                </a:solidFill>
              </a:rPr>
              <a:t>Сравните ваши идеи со столом-партнёром и выберите метод диагностического оценивания.</a:t>
            </a:r>
          </a:p>
        </p:txBody>
      </p:sp>
      <p:sp>
        <p:nvSpPr>
          <p:cNvPr id="24" name="Rectangle 1">
            <a:extLst>
              <a:ext uri="{FF2B5EF4-FFF2-40B4-BE49-F238E27FC236}">
                <a16:creationId xmlns:a16="http://schemas.microsoft.com/office/drawing/2014/main" id="{19A78ABB-D52E-A08C-1F33-8BDFCFFE7E1B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01077" y="2311604"/>
            <a:ext cx="10607040" cy="21236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2200" b="0" i="0" u="none" strike="noStrike" cap="none" normalizeH="0" baseline="0" noProof="1">
                <a:ln>
                  <a:noFill/>
                </a:ln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Что вы знаете или можете обоснованно предположить об исходном уровне педагогов из вашего брифа? И как мог бы выглядеть короткий, активный диагностический момент в начале вашей сессии — нечто, что покажет вам, где находятся участники, и при этом не будет ощущаться как тест? Подумайте конкретно об этой группе. Вам нужно выяснить, что ваши обучающиеся знают, понимают и умеют делать в отношении LifeComp. Как вы это сделаете?</a:t>
            </a:r>
            <a:endParaRPr kumimoji="0" lang="ru-RU" sz="2200" b="0" i="0" u="none" strike="noStrike" cap="none" normalizeH="0" baseline="0" noProof="1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6210407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953444B-6E39-18F7-CF2A-4E738205638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5317" y="231059"/>
            <a:ext cx="10994791" cy="1080120"/>
          </a:xfrm>
        </p:spPr>
        <p:txBody>
          <a:bodyPr>
            <a:normAutofit/>
          </a:bodyPr>
          <a:lstStyle/>
          <a:p>
            <a:r>
              <a:rPr lang="ru-RU" noProof="1"/>
              <a:t>Семь методов обучения SCAFFOLD:</a:t>
            </a:r>
          </a:p>
        </p:txBody>
      </p:sp>
      <p:sp>
        <p:nvSpPr>
          <p:cNvPr id="3" name="Shape 3">
            <a:extLst>
              <a:ext uri="{FF2B5EF4-FFF2-40B4-BE49-F238E27FC236}">
                <a16:creationId xmlns:a16="http://schemas.microsoft.com/office/drawing/2014/main" id="{1F55C179-D68E-A825-652F-D20D03BA8D9E}"/>
              </a:ext>
            </a:extLst>
          </p:cNvPr>
          <p:cNvSpPr/>
          <p:nvPr/>
        </p:nvSpPr>
        <p:spPr>
          <a:xfrm>
            <a:off x="635316" y="1311179"/>
            <a:ext cx="5547360" cy="1243584"/>
          </a:xfrm>
          <a:prstGeom prst="rect">
            <a:avLst/>
          </a:prstGeom>
          <a:solidFill>
            <a:schemeClr val="accent2"/>
          </a:solidFill>
          <a:ln w="6350">
            <a:solidFill>
              <a:srgbClr val="039AAA"/>
            </a:solidFill>
            <a:prstDash val="solid"/>
          </a:ln>
        </p:spPr>
        <p:txBody>
          <a:bodyPr/>
          <a:lstStyle/>
          <a:p>
            <a:endParaRPr lang="ru-RU" sz="2400" noProof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Shape 4">
            <a:extLst>
              <a:ext uri="{FF2B5EF4-FFF2-40B4-BE49-F238E27FC236}">
                <a16:creationId xmlns:a16="http://schemas.microsoft.com/office/drawing/2014/main" id="{7AC424C0-1C3C-6CCB-B0A3-BD619A975306}"/>
              </a:ext>
            </a:extLst>
          </p:cNvPr>
          <p:cNvSpPr/>
          <p:nvPr/>
        </p:nvSpPr>
        <p:spPr>
          <a:xfrm>
            <a:off x="781620" y="1676939"/>
            <a:ext cx="463296" cy="463296"/>
          </a:xfrm>
          <a:prstGeom prst="ellipse">
            <a:avLst/>
          </a:prstGeom>
          <a:solidFill>
            <a:schemeClr val="accent2">
              <a:lumMod val="60000"/>
              <a:lumOff val="40000"/>
            </a:schemeClr>
          </a:solidFill>
          <a:ln w="12700">
            <a:solidFill>
              <a:srgbClr val="027A87"/>
            </a:solidFill>
            <a:prstDash val="solid"/>
          </a:ln>
        </p:spPr>
        <p:txBody>
          <a:bodyPr/>
          <a:lstStyle/>
          <a:p>
            <a:endParaRPr lang="ru-RU" sz="2400" noProof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Text 5">
            <a:extLst>
              <a:ext uri="{FF2B5EF4-FFF2-40B4-BE49-F238E27FC236}">
                <a16:creationId xmlns:a16="http://schemas.microsoft.com/office/drawing/2014/main" id="{FFBC1663-BF42-F952-5DC0-7A1E1C611004}"/>
              </a:ext>
            </a:extLst>
          </p:cNvPr>
          <p:cNvSpPr/>
          <p:nvPr/>
        </p:nvSpPr>
        <p:spPr>
          <a:xfrm>
            <a:off x="781620" y="1676939"/>
            <a:ext cx="463296" cy="463296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algn="ctr"/>
            <a:r>
              <a:rPr lang="ru-RU" sz="1733" b="1" noProof="1">
                <a:solidFill>
                  <a:srgbClr val="FFFFFF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1</a:t>
            </a:r>
            <a:endParaRPr lang="ru-RU" sz="1733" noProof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Text 6">
            <a:extLst>
              <a:ext uri="{FF2B5EF4-FFF2-40B4-BE49-F238E27FC236}">
                <a16:creationId xmlns:a16="http://schemas.microsoft.com/office/drawing/2014/main" id="{03BA25BF-77D8-1181-3FD1-DEA8CA8FA752}"/>
              </a:ext>
            </a:extLst>
          </p:cNvPr>
          <p:cNvSpPr/>
          <p:nvPr/>
        </p:nvSpPr>
        <p:spPr>
          <a:xfrm>
            <a:off x="1427796" y="1384331"/>
            <a:ext cx="4608576" cy="42672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r>
              <a:rPr lang="ru-RU" sz="1600" b="1" noProof="1">
                <a:solidFill>
                  <a:schemeClr val="bg1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Проектно-ориентированное обучение</a:t>
            </a:r>
            <a:endParaRPr lang="ru-RU" sz="1600" noProof="1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Text 7">
            <a:extLst>
              <a:ext uri="{FF2B5EF4-FFF2-40B4-BE49-F238E27FC236}">
                <a16:creationId xmlns:a16="http://schemas.microsoft.com/office/drawing/2014/main" id="{C6B1CE41-4F31-3F1D-5D31-698DA3B208B4}"/>
              </a:ext>
            </a:extLst>
          </p:cNvPr>
          <p:cNvSpPr/>
          <p:nvPr/>
        </p:nvSpPr>
        <p:spPr>
          <a:xfrm>
            <a:off x="1427796" y="1823243"/>
            <a:ext cx="4608576" cy="67056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r>
              <a:rPr lang="ru-RU" sz="1333" noProof="1">
                <a:solidFill>
                  <a:srgbClr val="FFFFFF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Обучающиеся работают над реальной, протяжённой задачей, которая производит ощутимый результат для реальной аудитории.</a:t>
            </a:r>
            <a:endParaRPr lang="ru-RU" sz="1333" noProof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Shape 8">
            <a:extLst>
              <a:ext uri="{FF2B5EF4-FFF2-40B4-BE49-F238E27FC236}">
                <a16:creationId xmlns:a16="http://schemas.microsoft.com/office/drawing/2014/main" id="{E47B8A74-B019-7C0D-1FFE-36C92F054359}"/>
              </a:ext>
            </a:extLst>
          </p:cNvPr>
          <p:cNvSpPr/>
          <p:nvPr/>
        </p:nvSpPr>
        <p:spPr>
          <a:xfrm>
            <a:off x="635316" y="2676683"/>
            <a:ext cx="5547360" cy="1243584"/>
          </a:xfrm>
          <a:prstGeom prst="rect">
            <a:avLst/>
          </a:prstGeom>
          <a:solidFill>
            <a:schemeClr val="accent2"/>
          </a:solidFill>
          <a:ln w="6350">
            <a:solidFill>
              <a:srgbClr val="039AAA"/>
            </a:solidFill>
            <a:prstDash val="solid"/>
          </a:ln>
        </p:spPr>
        <p:txBody>
          <a:bodyPr/>
          <a:lstStyle/>
          <a:p>
            <a:endParaRPr lang="ru-RU" sz="2400" noProof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Shape 9">
            <a:extLst>
              <a:ext uri="{FF2B5EF4-FFF2-40B4-BE49-F238E27FC236}">
                <a16:creationId xmlns:a16="http://schemas.microsoft.com/office/drawing/2014/main" id="{CF4EAB7B-8808-4AB5-00E0-9DC1006D2272}"/>
              </a:ext>
            </a:extLst>
          </p:cNvPr>
          <p:cNvSpPr/>
          <p:nvPr/>
        </p:nvSpPr>
        <p:spPr>
          <a:xfrm>
            <a:off x="781620" y="3042443"/>
            <a:ext cx="463296" cy="463296"/>
          </a:xfrm>
          <a:prstGeom prst="ellipse">
            <a:avLst/>
          </a:prstGeom>
          <a:solidFill>
            <a:schemeClr val="accent2">
              <a:lumMod val="60000"/>
              <a:lumOff val="40000"/>
            </a:schemeClr>
          </a:solidFill>
          <a:ln w="12700">
            <a:solidFill>
              <a:srgbClr val="027A87"/>
            </a:solidFill>
            <a:prstDash val="solid"/>
          </a:ln>
        </p:spPr>
        <p:txBody>
          <a:bodyPr/>
          <a:lstStyle/>
          <a:p>
            <a:endParaRPr lang="ru-RU" sz="2400" noProof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Text 10">
            <a:extLst>
              <a:ext uri="{FF2B5EF4-FFF2-40B4-BE49-F238E27FC236}">
                <a16:creationId xmlns:a16="http://schemas.microsoft.com/office/drawing/2014/main" id="{A74BB9A1-76E9-8E4F-FB7B-27F34721D7A8}"/>
              </a:ext>
            </a:extLst>
          </p:cNvPr>
          <p:cNvSpPr/>
          <p:nvPr/>
        </p:nvSpPr>
        <p:spPr>
          <a:xfrm>
            <a:off x="781620" y="3042443"/>
            <a:ext cx="463296" cy="463296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algn="ctr"/>
            <a:r>
              <a:rPr lang="ru-RU" sz="1733" b="1" noProof="1">
                <a:solidFill>
                  <a:srgbClr val="FFFFFF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2</a:t>
            </a:r>
            <a:endParaRPr lang="ru-RU" sz="1733" noProof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Text 11">
            <a:extLst>
              <a:ext uri="{FF2B5EF4-FFF2-40B4-BE49-F238E27FC236}">
                <a16:creationId xmlns:a16="http://schemas.microsoft.com/office/drawing/2014/main" id="{5D0423D4-D9BE-D44A-C1B9-469494505B94}"/>
              </a:ext>
            </a:extLst>
          </p:cNvPr>
          <p:cNvSpPr/>
          <p:nvPr/>
        </p:nvSpPr>
        <p:spPr>
          <a:xfrm>
            <a:off x="1427796" y="2749835"/>
            <a:ext cx="4608576" cy="42672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r>
              <a:rPr lang="ru-RU" sz="1600" b="1" noProof="1">
                <a:solidFill>
                  <a:schemeClr val="bg1"/>
                </a:solidFill>
              </a:rPr>
              <a:t>Личностно-ориентированное обучение</a:t>
            </a:r>
            <a:endParaRPr lang="ru-RU" sz="1600" b="1" noProof="1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Text 12">
            <a:extLst>
              <a:ext uri="{FF2B5EF4-FFF2-40B4-BE49-F238E27FC236}">
                <a16:creationId xmlns:a16="http://schemas.microsoft.com/office/drawing/2014/main" id="{5BDB014E-019C-2890-EF1E-BFA5B0BEAA63}"/>
              </a:ext>
            </a:extLst>
          </p:cNvPr>
          <p:cNvSpPr/>
          <p:nvPr/>
        </p:nvSpPr>
        <p:spPr>
          <a:xfrm>
            <a:off x="1427796" y="3188747"/>
            <a:ext cx="4608576" cy="67056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r>
              <a:rPr lang="ru-RU" sz="1333" noProof="1">
                <a:solidFill>
                  <a:srgbClr val="FFFFFF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Обучающиеся берут на себя ответственность за процесс обучения — ставят цели, направляют деятельность, оценивают прогресс.</a:t>
            </a:r>
            <a:endParaRPr lang="ru-RU" sz="1333" noProof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Shape 13">
            <a:extLst>
              <a:ext uri="{FF2B5EF4-FFF2-40B4-BE49-F238E27FC236}">
                <a16:creationId xmlns:a16="http://schemas.microsoft.com/office/drawing/2014/main" id="{00F7A2B1-E350-474E-0C81-6F16BF9ECF09}"/>
              </a:ext>
            </a:extLst>
          </p:cNvPr>
          <p:cNvSpPr/>
          <p:nvPr/>
        </p:nvSpPr>
        <p:spPr>
          <a:xfrm>
            <a:off x="635316" y="4042187"/>
            <a:ext cx="5547360" cy="1243584"/>
          </a:xfrm>
          <a:prstGeom prst="rect">
            <a:avLst/>
          </a:prstGeom>
          <a:solidFill>
            <a:schemeClr val="accent2"/>
          </a:solidFill>
          <a:ln w="6350">
            <a:solidFill>
              <a:srgbClr val="039AAA"/>
            </a:solidFill>
            <a:prstDash val="solid"/>
          </a:ln>
        </p:spPr>
        <p:txBody>
          <a:bodyPr/>
          <a:lstStyle/>
          <a:p>
            <a:endParaRPr lang="ru-RU" sz="2400" noProof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Shape 14">
            <a:extLst>
              <a:ext uri="{FF2B5EF4-FFF2-40B4-BE49-F238E27FC236}">
                <a16:creationId xmlns:a16="http://schemas.microsoft.com/office/drawing/2014/main" id="{3D0A21C7-BEEB-95C0-460D-140AC65619F8}"/>
              </a:ext>
            </a:extLst>
          </p:cNvPr>
          <p:cNvSpPr/>
          <p:nvPr/>
        </p:nvSpPr>
        <p:spPr>
          <a:xfrm>
            <a:off x="781620" y="4407947"/>
            <a:ext cx="463296" cy="463296"/>
          </a:xfrm>
          <a:prstGeom prst="ellipse">
            <a:avLst/>
          </a:prstGeom>
          <a:solidFill>
            <a:schemeClr val="accent2">
              <a:lumMod val="60000"/>
              <a:lumOff val="40000"/>
            </a:schemeClr>
          </a:solidFill>
          <a:ln w="12700">
            <a:solidFill>
              <a:srgbClr val="027A87"/>
            </a:solidFill>
            <a:prstDash val="solid"/>
          </a:ln>
        </p:spPr>
        <p:txBody>
          <a:bodyPr/>
          <a:lstStyle/>
          <a:p>
            <a:endParaRPr lang="ru-RU" sz="2400" noProof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Text 15">
            <a:extLst>
              <a:ext uri="{FF2B5EF4-FFF2-40B4-BE49-F238E27FC236}">
                <a16:creationId xmlns:a16="http://schemas.microsoft.com/office/drawing/2014/main" id="{71790BEF-0A1E-66D9-F804-B7600974538A}"/>
              </a:ext>
            </a:extLst>
          </p:cNvPr>
          <p:cNvSpPr/>
          <p:nvPr/>
        </p:nvSpPr>
        <p:spPr>
          <a:xfrm>
            <a:off x="781620" y="4407947"/>
            <a:ext cx="463296" cy="463296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algn="ctr"/>
            <a:r>
              <a:rPr lang="ru-RU" sz="1733" b="1" noProof="1">
                <a:solidFill>
                  <a:srgbClr val="FFFFFF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3</a:t>
            </a:r>
            <a:endParaRPr lang="ru-RU" sz="1733" noProof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Text 16">
            <a:extLst>
              <a:ext uri="{FF2B5EF4-FFF2-40B4-BE49-F238E27FC236}">
                <a16:creationId xmlns:a16="http://schemas.microsoft.com/office/drawing/2014/main" id="{E8A65735-EFB9-8C6F-37B6-039B6035D13E}"/>
              </a:ext>
            </a:extLst>
          </p:cNvPr>
          <p:cNvSpPr/>
          <p:nvPr/>
        </p:nvSpPr>
        <p:spPr>
          <a:xfrm>
            <a:off x="1427796" y="4115339"/>
            <a:ext cx="4608576" cy="42672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r>
              <a:rPr lang="ru-RU" sz="1600" b="1" noProof="1">
                <a:solidFill>
                  <a:schemeClr val="bg1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Педагогика создания ценностей</a:t>
            </a:r>
            <a:endParaRPr lang="ru-RU" sz="1600" noProof="1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Text 17">
            <a:extLst>
              <a:ext uri="{FF2B5EF4-FFF2-40B4-BE49-F238E27FC236}">
                <a16:creationId xmlns:a16="http://schemas.microsoft.com/office/drawing/2014/main" id="{BAFDEB60-4F70-2C8F-B7AE-120EEF3329CD}"/>
              </a:ext>
            </a:extLst>
          </p:cNvPr>
          <p:cNvSpPr/>
          <p:nvPr/>
        </p:nvSpPr>
        <p:spPr>
          <a:xfrm>
            <a:off x="1427796" y="4554251"/>
            <a:ext cx="4608576" cy="67056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r>
              <a:rPr lang="ru-RU" sz="1333" noProof="1">
                <a:solidFill>
                  <a:srgbClr val="FFFFFF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Обучение производит нечто, имеющее реальную ценность для сообщества за пределами аудитории.</a:t>
            </a:r>
            <a:endParaRPr lang="ru-RU" sz="1333" noProof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Shape 18">
            <a:extLst>
              <a:ext uri="{FF2B5EF4-FFF2-40B4-BE49-F238E27FC236}">
                <a16:creationId xmlns:a16="http://schemas.microsoft.com/office/drawing/2014/main" id="{332068EF-180D-8A34-9083-0E4C7A7B0B83}"/>
              </a:ext>
            </a:extLst>
          </p:cNvPr>
          <p:cNvSpPr/>
          <p:nvPr/>
        </p:nvSpPr>
        <p:spPr>
          <a:xfrm>
            <a:off x="635316" y="5407691"/>
            <a:ext cx="5547360" cy="1243584"/>
          </a:xfrm>
          <a:prstGeom prst="rect">
            <a:avLst/>
          </a:prstGeom>
          <a:solidFill>
            <a:schemeClr val="accent2"/>
          </a:solidFill>
          <a:ln w="6350">
            <a:solidFill>
              <a:srgbClr val="039AAA"/>
            </a:solidFill>
            <a:prstDash val="solid"/>
          </a:ln>
        </p:spPr>
        <p:txBody>
          <a:bodyPr/>
          <a:lstStyle/>
          <a:p>
            <a:endParaRPr lang="ru-RU" sz="2400" noProof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Shape 19">
            <a:extLst>
              <a:ext uri="{FF2B5EF4-FFF2-40B4-BE49-F238E27FC236}">
                <a16:creationId xmlns:a16="http://schemas.microsoft.com/office/drawing/2014/main" id="{D034BE4E-BFE5-E45F-623A-2C106D2F8C12}"/>
              </a:ext>
            </a:extLst>
          </p:cNvPr>
          <p:cNvSpPr/>
          <p:nvPr/>
        </p:nvSpPr>
        <p:spPr>
          <a:xfrm>
            <a:off x="781620" y="5773451"/>
            <a:ext cx="463296" cy="463296"/>
          </a:xfrm>
          <a:prstGeom prst="ellipse">
            <a:avLst/>
          </a:prstGeom>
          <a:solidFill>
            <a:schemeClr val="accent2">
              <a:lumMod val="60000"/>
              <a:lumOff val="40000"/>
            </a:schemeClr>
          </a:solidFill>
          <a:ln w="12700">
            <a:solidFill>
              <a:srgbClr val="027A87"/>
            </a:solidFill>
            <a:prstDash val="solid"/>
          </a:ln>
        </p:spPr>
        <p:txBody>
          <a:bodyPr/>
          <a:lstStyle/>
          <a:p>
            <a:endParaRPr lang="ru-RU" sz="2400" noProof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" name="Text 20">
            <a:extLst>
              <a:ext uri="{FF2B5EF4-FFF2-40B4-BE49-F238E27FC236}">
                <a16:creationId xmlns:a16="http://schemas.microsoft.com/office/drawing/2014/main" id="{C6063FA1-6E88-9B9A-2109-CFC7F4B12726}"/>
              </a:ext>
            </a:extLst>
          </p:cNvPr>
          <p:cNvSpPr/>
          <p:nvPr/>
        </p:nvSpPr>
        <p:spPr>
          <a:xfrm>
            <a:off x="781620" y="5773451"/>
            <a:ext cx="463296" cy="463296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algn="ctr"/>
            <a:r>
              <a:rPr lang="ru-RU" sz="1733" b="1" noProof="1">
                <a:solidFill>
                  <a:srgbClr val="FFFFFF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4</a:t>
            </a:r>
            <a:endParaRPr lang="ru-RU" sz="1733" noProof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" name="Text 21">
            <a:extLst>
              <a:ext uri="{FF2B5EF4-FFF2-40B4-BE49-F238E27FC236}">
                <a16:creationId xmlns:a16="http://schemas.microsoft.com/office/drawing/2014/main" id="{A1A5E49F-F62F-D7AD-50E3-5A1CC7834F9B}"/>
              </a:ext>
            </a:extLst>
          </p:cNvPr>
          <p:cNvSpPr/>
          <p:nvPr/>
        </p:nvSpPr>
        <p:spPr>
          <a:xfrm>
            <a:off x="1427796" y="5480843"/>
            <a:ext cx="4608576" cy="42672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r>
              <a:rPr lang="ru-RU" sz="1600" b="1" noProof="1">
                <a:solidFill>
                  <a:schemeClr val="bg1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Обучение в сотрудничестве</a:t>
            </a:r>
            <a:endParaRPr lang="ru-RU" sz="1600" noProof="1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2" name="Text 22">
            <a:extLst>
              <a:ext uri="{FF2B5EF4-FFF2-40B4-BE49-F238E27FC236}">
                <a16:creationId xmlns:a16="http://schemas.microsoft.com/office/drawing/2014/main" id="{55F0F1FB-2F10-8D63-8001-EF96D81DD2A0}"/>
              </a:ext>
            </a:extLst>
          </p:cNvPr>
          <p:cNvSpPr/>
          <p:nvPr/>
        </p:nvSpPr>
        <p:spPr>
          <a:xfrm>
            <a:off x="1427796" y="5919755"/>
            <a:ext cx="4608576" cy="67056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r>
              <a:rPr lang="ru-RU" sz="1400" noProof="1">
                <a:solidFill>
                  <a:schemeClr val="bg1"/>
                </a:solidFill>
              </a:rPr>
              <a:t>Структурированные совместные задания, в которых взаимозависимость встроена в дизайн — отдельный человек не может добиться успеха в одиночку.</a:t>
            </a:r>
            <a:endParaRPr lang="ru-RU" sz="1333" noProof="1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3" name="Shape 23">
            <a:extLst>
              <a:ext uri="{FF2B5EF4-FFF2-40B4-BE49-F238E27FC236}">
                <a16:creationId xmlns:a16="http://schemas.microsoft.com/office/drawing/2014/main" id="{BC06D688-9ECE-661D-81BC-D9BDE2FDB29F}"/>
              </a:ext>
            </a:extLst>
          </p:cNvPr>
          <p:cNvSpPr/>
          <p:nvPr/>
        </p:nvSpPr>
        <p:spPr>
          <a:xfrm>
            <a:off x="6548436" y="1311179"/>
            <a:ext cx="5401056" cy="1243584"/>
          </a:xfrm>
          <a:prstGeom prst="rect">
            <a:avLst/>
          </a:prstGeom>
          <a:solidFill>
            <a:schemeClr val="accent2"/>
          </a:solidFill>
          <a:ln w="6350">
            <a:solidFill>
              <a:srgbClr val="039AAA"/>
            </a:solidFill>
            <a:prstDash val="solid"/>
          </a:ln>
        </p:spPr>
        <p:txBody>
          <a:bodyPr/>
          <a:lstStyle/>
          <a:p>
            <a:endParaRPr lang="ru-RU" sz="2400" noProof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4" name="Shape 24">
            <a:extLst>
              <a:ext uri="{FF2B5EF4-FFF2-40B4-BE49-F238E27FC236}">
                <a16:creationId xmlns:a16="http://schemas.microsoft.com/office/drawing/2014/main" id="{545C37C8-6F6C-64FA-30BB-DA9C64068B18}"/>
              </a:ext>
            </a:extLst>
          </p:cNvPr>
          <p:cNvSpPr/>
          <p:nvPr/>
        </p:nvSpPr>
        <p:spPr>
          <a:xfrm>
            <a:off x="6694740" y="1676939"/>
            <a:ext cx="463296" cy="463296"/>
          </a:xfrm>
          <a:prstGeom prst="ellipse">
            <a:avLst/>
          </a:prstGeom>
          <a:solidFill>
            <a:schemeClr val="accent2">
              <a:lumMod val="60000"/>
              <a:lumOff val="40000"/>
            </a:schemeClr>
          </a:solidFill>
          <a:ln w="12700">
            <a:solidFill>
              <a:srgbClr val="027A87"/>
            </a:solidFill>
            <a:prstDash val="solid"/>
          </a:ln>
        </p:spPr>
        <p:txBody>
          <a:bodyPr/>
          <a:lstStyle/>
          <a:p>
            <a:endParaRPr lang="ru-RU" sz="2400" noProof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5" name="Text 25">
            <a:extLst>
              <a:ext uri="{FF2B5EF4-FFF2-40B4-BE49-F238E27FC236}">
                <a16:creationId xmlns:a16="http://schemas.microsoft.com/office/drawing/2014/main" id="{4CF67966-18AE-2A9D-92CD-C3598E22693F}"/>
              </a:ext>
            </a:extLst>
          </p:cNvPr>
          <p:cNvSpPr/>
          <p:nvPr/>
        </p:nvSpPr>
        <p:spPr>
          <a:xfrm>
            <a:off x="6694740" y="1676939"/>
            <a:ext cx="463296" cy="463296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algn="ctr"/>
            <a:r>
              <a:rPr lang="ru-RU" sz="1733" b="1" noProof="1">
                <a:solidFill>
                  <a:srgbClr val="FFFFFF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5</a:t>
            </a:r>
            <a:endParaRPr lang="ru-RU" sz="1733" noProof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6" name="Text 26">
            <a:extLst>
              <a:ext uri="{FF2B5EF4-FFF2-40B4-BE49-F238E27FC236}">
                <a16:creationId xmlns:a16="http://schemas.microsoft.com/office/drawing/2014/main" id="{1141B6B0-1FC2-3CEB-E1E8-B8260D16B145}"/>
              </a:ext>
            </a:extLst>
          </p:cNvPr>
          <p:cNvSpPr/>
          <p:nvPr/>
        </p:nvSpPr>
        <p:spPr>
          <a:xfrm>
            <a:off x="7340916" y="1384331"/>
            <a:ext cx="4608576" cy="42672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r>
              <a:rPr lang="ru-RU" sz="1600" b="1" noProof="1">
                <a:solidFill>
                  <a:schemeClr val="bg1"/>
                </a:solidFill>
              </a:rPr>
              <a:t>Обучение в игровой форме</a:t>
            </a:r>
            <a:endParaRPr lang="ru-RU" sz="1600" b="1" noProof="1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7" name="Text 27">
            <a:extLst>
              <a:ext uri="{FF2B5EF4-FFF2-40B4-BE49-F238E27FC236}">
                <a16:creationId xmlns:a16="http://schemas.microsoft.com/office/drawing/2014/main" id="{29B26B1C-8315-EC9F-BC6F-0B3450BEEC4D}"/>
              </a:ext>
            </a:extLst>
          </p:cNvPr>
          <p:cNvSpPr/>
          <p:nvPr/>
        </p:nvSpPr>
        <p:spPr>
          <a:xfrm>
            <a:off x="7340916" y="1823243"/>
            <a:ext cx="4608576" cy="67056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r>
              <a:rPr lang="ru-RU" sz="1333" noProof="1">
                <a:solidFill>
                  <a:srgbClr val="FFFFFF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Игры, симуляции и игровые структуры, которые делают аналитическое задание более увлекательным, не снижая его строгости.</a:t>
            </a:r>
            <a:endParaRPr lang="ru-RU" sz="1333" noProof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8" name="Shape 28">
            <a:extLst>
              <a:ext uri="{FF2B5EF4-FFF2-40B4-BE49-F238E27FC236}">
                <a16:creationId xmlns:a16="http://schemas.microsoft.com/office/drawing/2014/main" id="{4C4A02A9-1143-3610-AD7E-DD8F9C9CD7A6}"/>
              </a:ext>
            </a:extLst>
          </p:cNvPr>
          <p:cNvSpPr/>
          <p:nvPr/>
        </p:nvSpPr>
        <p:spPr>
          <a:xfrm>
            <a:off x="6548436" y="2676683"/>
            <a:ext cx="5401056" cy="1243584"/>
          </a:xfrm>
          <a:prstGeom prst="rect">
            <a:avLst/>
          </a:prstGeom>
          <a:solidFill>
            <a:schemeClr val="accent2"/>
          </a:solidFill>
          <a:ln w="6350">
            <a:solidFill>
              <a:srgbClr val="039AAA"/>
            </a:solidFill>
            <a:prstDash val="solid"/>
          </a:ln>
        </p:spPr>
        <p:txBody>
          <a:bodyPr/>
          <a:lstStyle/>
          <a:p>
            <a:endParaRPr lang="ru-RU" sz="2400" noProof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1" name="Text 31">
            <a:extLst>
              <a:ext uri="{FF2B5EF4-FFF2-40B4-BE49-F238E27FC236}">
                <a16:creationId xmlns:a16="http://schemas.microsoft.com/office/drawing/2014/main" id="{0A552C69-F7DE-537D-03C5-CE93804AF604}"/>
              </a:ext>
            </a:extLst>
          </p:cNvPr>
          <p:cNvSpPr/>
          <p:nvPr/>
        </p:nvSpPr>
        <p:spPr>
          <a:xfrm>
            <a:off x="7340916" y="2749835"/>
            <a:ext cx="4608576" cy="42672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r>
              <a:rPr lang="ru-RU" sz="1600" b="1" noProof="1">
                <a:solidFill>
                  <a:schemeClr val="bg1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Лабораторный метод</a:t>
            </a:r>
            <a:endParaRPr lang="ru-RU" sz="1600" noProof="1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2" name="Text 32">
            <a:extLst>
              <a:ext uri="{FF2B5EF4-FFF2-40B4-BE49-F238E27FC236}">
                <a16:creationId xmlns:a16="http://schemas.microsoft.com/office/drawing/2014/main" id="{4CC9B287-7C31-3219-45F2-6C3B8B88A929}"/>
              </a:ext>
            </a:extLst>
          </p:cNvPr>
          <p:cNvSpPr/>
          <p:nvPr/>
        </p:nvSpPr>
        <p:spPr>
          <a:xfrm>
            <a:off x="7340916" y="3188747"/>
            <a:ext cx="4608576" cy="67056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r>
              <a:rPr lang="ru-RU" sz="1333" noProof="1">
                <a:solidFill>
                  <a:srgbClr val="FFFFFF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Участники учатся, экспериментируя, принимая решения, проверяя их по критериям и пересматривая.</a:t>
            </a:r>
            <a:endParaRPr lang="ru-RU" sz="1333" noProof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3" name="Shape 33">
            <a:extLst>
              <a:ext uri="{FF2B5EF4-FFF2-40B4-BE49-F238E27FC236}">
                <a16:creationId xmlns:a16="http://schemas.microsoft.com/office/drawing/2014/main" id="{F8C2D1CB-E4C5-D14F-9A9D-A042D53AB15A}"/>
              </a:ext>
            </a:extLst>
          </p:cNvPr>
          <p:cNvSpPr/>
          <p:nvPr/>
        </p:nvSpPr>
        <p:spPr>
          <a:xfrm>
            <a:off x="6548436" y="4042187"/>
            <a:ext cx="5401056" cy="1243584"/>
          </a:xfrm>
          <a:prstGeom prst="rect">
            <a:avLst/>
          </a:prstGeom>
          <a:solidFill>
            <a:schemeClr val="accent2"/>
          </a:solidFill>
          <a:ln w="6350">
            <a:solidFill>
              <a:srgbClr val="039AAA"/>
            </a:solidFill>
            <a:prstDash val="solid"/>
          </a:ln>
        </p:spPr>
        <p:txBody>
          <a:bodyPr/>
          <a:lstStyle/>
          <a:p>
            <a:endParaRPr lang="ru-RU" sz="2400" noProof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4" name="Shape 34">
            <a:extLst>
              <a:ext uri="{FF2B5EF4-FFF2-40B4-BE49-F238E27FC236}">
                <a16:creationId xmlns:a16="http://schemas.microsoft.com/office/drawing/2014/main" id="{4D9ED6BC-6773-24A4-BDD3-4437D73CA3DF}"/>
              </a:ext>
            </a:extLst>
          </p:cNvPr>
          <p:cNvSpPr/>
          <p:nvPr/>
        </p:nvSpPr>
        <p:spPr>
          <a:xfrm>
            <a:off x="6694740" y="4407947"/>
            <a:ext cx="463296" cy="463296"/>
          </a:xfrm>
          <a:prstGeom prst="ellipse">
            <a:avLst/>
          </a:prstGeom>
          <a:solidFill>
            <a:schemeClr val="accent2">
              <a:lumMod val="60000"/>
              <a:lumOff val="40000"/>
            </a:schemeClr>
          </a:solidFill>
          <a:ln w="12700">
            <a:solidFill>
              <a:srgbClr val="027A87"/>
            </a:solidFill>
            <a:prstDash val="solid"/>
          </a:ln>
        </p:spPr>
        <p:txBody>
          <a:bodyPr/>
          <a:lstStyle/>
          <a:p>
            <a:endParaRPr lang="ru-RU" sz="2400" noProof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5" name="Text 35">
            <a:extLst>
              <a:ext uri="{FF2B5EF4-FFF2-40B4-BE49-F238E27FC236}">
                <a16:creationId xmlns:a16="http://schemas.microsoft.com/office/drawing/2014/main" id="{D8784179-1731-583D-3D4B-5C8F5B04D5AD}"/>
              </a:ext>
            </a:extLst>
          </p:cNvPr>
          <p:cNvSpPr/>
          <p:nvPr/>
        </p:nvSpPr>
        <p:spPr>
          <a:xfrm>
            <a:off x="6694740" y="4407947"/>
            <a:ext cx="463296" cy="463296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algn="ctr"/>
            <a:r>
              <a:rPr lang="ru-RU" sz="1733" b="1" noProof="1">
                <a:solidFill>
                  <a:srgbClr val="FFFFFF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7</a:t>
            </a:r>
            <a:endParaRPr lang="ru-RU" sz="1733" noProof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6" name="Text 36">
            <a:extLst>
              <a:ext uri="{FF2B5EF4-FFF2-40B4-BE49-F238E27FC236}">
                <a16:creationId xmlns:a16="http://schemas.microsoft.com/office/drawing/2014/main" id="{628C4F27-D319-FE36-FD16-E0F6CBED4D7B}"/>
              </a:ext>
            </a:extLst>
          </p:cNvPr>
          <p:cNvSpPr/>
          <p:nvPr/>
        </p:nvSpPr>
        <p:spPr>
          <a:xfrm>
            <a:off x="7340916" y="4115339"/>
            <a:ext cx="4608576" cy="42672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r>
              <a:rPr lang="ru-RU" sz="1600" b="1" noProof="1">
                <a:solidFill>
                  <a:schemeClr val="bg1"/>
                </a:solidFill>
              </a:rPr>
              <a:t>Сервисное обучение</a:t>
            </a:r>
            <a:endParaRPr lang="ru-RU" sz="1600" b="1" noProof="1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7" name="Text 37">
            <a:extLst>
              <a:ext uri="{FF2B5EF4-FFF2-40B4-BE49-F238E27FC236}">
                <a16:creationId xmlns:a16="http://schemas.microsoft.com/office/drawing/2014/main" id="{282B8E0F-782A-C1D8-FC3A-ACA95C450384}"/>
              </a:ext>
            </a:extLst>
          </p:cNvPr>
          <p:cNvSpPr/>
          <p:nvPr/>
        </p:nvSpPr>
        <p:spPr>
          <a:xfrm>
            <a:off x="7340916" y="4554251"/>
            <a:ext cx="4608576" cy="67056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r>
              <a:rPr lang="ru-RU" sz="1333" noProof="1">
                <a:solidFill>
                  <a:srgbClr val="FFFFFF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Обучение через структурированный вклад в сообщество с явной связью с профессиональной практикой.</a:t>
            </a:r>
            <a:endParaRPr lang="ru-RU" sz="1333" noProof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8" name="Shape 24">
            <a:extLst>
              <a:ext uri="{FF2B5EF4-FFF2-40B4-BE49-F238E27FC236}">
                <a16:creationId xmlns:a16="http://schemas.microsoft.com/office/drawing/2014/main" id="{8169E68F-2690-38AA-91B5-4BD7F3E038F3}"/>
              </a:ext>
            </a:extLst>
          </p:cNvPr>
          <p:cNvSpPr/>
          <p:nvPr/>
        </p:nvSpPr>
        <p:spPr>
          <a:xfrm>
            <a:off x="6731316" y="3066827"/>
            <a:ext cx="463296" cy="463296"/>
          </a:xfrm>
          <a:prstGeom prst="ellipse">
            <a:avLst/>
          </a:prstGeom>
          <a:solidFill>
            <a:schemeClr val="accent2">
              <a:lumMod val="60000"/>
              <a:lumOff val="40000"/>
            </a:schemeClr>
          </a:solidFill>
          <a:ln w="12700">
            <a:solidFill>
              <a:srgbClr val="027A87"/>
            </a:solidFill>
            <a:prstDash val="solid"/>
          </a:ln>
        </p:spPr>
        <p:txBody>
          <a:bodyPr/>
          <a:lstStyle/>
          <a:p>
            <a:endParaRPr lang="ru-RU" sz="2400" noProof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9" name="Text 25">
            <a:extLst>
              <a:ext uri="{FF2B5EF4-FFF2-40B4-BE49-F238E27FC236}">
                <a16:creationId xmlns:a16="http://schemas.microsoft.com/office/drawing/2014/main" id="{EA462046-D7A6-F62A-1300-1F9867FDEC10}"/>
              </a:ext>
            </a:extLst>
          </p:cNvPr>
          <p:cNvSpPr/>
          <p:nvPr/>
        </p:nvSpPr>
        <p:spPr>
          <a:xfrm>
            <a:off x="6731316" y="3050524"/>
            <a:ext cx="463296" cy="463296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algn="ctr"/>
            <a:r>
              <a:rPr lang="ru-RU" sz="1733" b="1" noProof="1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6</a:t>
            </a:r>
            <a:endParaRPr lang="ru-RU" sz="1733" noProof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5204087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48C340B-3A31-0450-7611-B8FBEE4643B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5317" y="167264"/>
            <a:ext cx="7815651" cy="1080120"/>
          </a:xfrm>
        </p:spPr>
        <p:txBody>
          <a:bodyPr/>
          <a:lstStyle/>
          <a:p>
            <a:r>
              <a:rPr lang="ru-RU" noProof="1"/>
              <a:t>Выбор метода обучения</a:t>
            </a:r>
          </a:p>
        </p:txBody>
      </p:sp>
      <p:sp>
        <p:nvSpPr>
          <p:cNvPr id="4" name="Shape 3">
            <a:extLst>
              <a:ext uri="{FF2B5EF4-FFF2-40B4-BE49-F238E27FC236}">
                <a16:creationId xmlns:a16="http://schemas.microsoft.com/office/drawing/2014/main" id="{2B5AD630-74A8-9D50-47B2-9F3274FDD64F}"/>
              </a:ext>
            </a:extLst>
          </p:cNvPr>
          <p:cNvSpPr/>
          <p:nvPr/>
        </p:nvSpPr>
        <p:spPr>
          <a:xfrm>
            <a:off x="487680" y="1247383"/>
            <a:ext cx="11460480" cy="2309423"/>
          </a:xfrm>
          <a:prstGeom prst="rect">
            <a:avLst/>
          </a:prstGeom>
          <a:solidFill>
            <a:srgbClr val="D6F0F3"/>
          </a:solidFill>
          <a:ln w="12700">
            <a:solidFill>
              <a:srgbClr val="039AAA"/>
            </a:solidFill>
            <a:prstDash val="solid"/>
          </a:ln>
        </p:spPr>
        <p:txBody>
          <a:bodyPr/>
          <a:lstStyle/>
          <a:p>
            <a:endParaRPr lang="ru-RU" sz="2400" noProof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Shape 4">
            <a:extLst>
              <a:ext uri="{FF2B5EF4-FFF2-40B4-BE49-F238E27FC236}">
                <a16:creationId xmlns:a16="http://schemas.microsoft.com/office/drawing/2014/main" id="{7E1A22EE-2713-EFC5-069E-7E297E05F836}"/>
              </a:ext>
            </a:extLst>
          </p:cNvPr>
          <p:cNvSpPr/>
          <p:nvPr/>
        </p:nvSpPr>
        <p:spPr>
          <a:xfrm>
            <a:off x="487680" y="1247384"/>
            <a:ext cx="121920" cy="2309421"/>
          </a:xfrm>
          <a:prstGeom prst="rect">
            <a:avLst/>
          </a:prstGeom>
          <a:solidFill>
            <a:srgbClr val="027A87"/>
          </a:solidFill>
          <a:ln w="12700">
            <a:solidFill>
              <a:srgbClr val="027A87"/>
            </a:solidFill>
            <a:prstDash val="solid"/>
          </a:ln>
        </p:spPr>
        <p:txBody>
          <a:bodyPr/>
          <a:lstStyle/>
          <a:p>
            <a:endParaRPr lang="ru-RU" sz="2400" noProof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Text 5">
            <a:extLst>
              <a:ext uri="{FF2B5EF4-FFF2-40B4-BE49-F238E27FC236}">
                <a16:creationId xmlns:a16="http://schemas.microsoft.com/office/drawing/2014/main" id="{46DC72A8-264C-F541-0A48-DCA34C2F00C2}"/>
              </a:ext>
            </a:extLst>
          </p:cNvPr>
          <p:cNvSpPr/>
          <p:nvPr/>
        </p:nvSpPr>
        <p:spPr>
          <a:xfrm>
            <a:off x="853440" y="1344920"/>
            <a:ext cx="10607040" cy="36576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r>
              <a:rPr lang="ru-RU" sz="1467" b="1" noProof="1">
                <a:solidFill>
                  <a:srgbClr val="027A87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Задание за столом </a:t>
            </a:r>
            <a:endParaRPr lang="ru-RU" sz="1467" noProof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Text 6">
            <a:extLst>
              <a:ext uri="{FF2B5EF4-FFF2-40B4-BE49-F238E27FC236}">
                <a16:creationId xmlns:a16="http://schemas.microsoft.com/office/drawing/2014/main" id="{D8FF4182-205B-43E4-C457-CF15EB7F327D}"/>
              </a:ext>
            </a:extLst>
          </p:cNvPr>
          <p:cNvSpPr/>
          <p:nvPr/>
        </p:nvSpPr>
        <p:spPr>
          <a:xfrm>
            <a:off x="853440" y="1759448"/>
            <a:ext cx="10850880" cy="1341120"/>
          </a:xfrm>
          <a:prstGeom prst="rect">
            <a:avLst/>
          </a:prstGeom>
          <a:noFill/>
          <a:ln/>
        </p:spPr>
        <p:txBody>
          <a:bodyPr wrap="square" rtlCol="0" anchor="t"/>
          <a:lstStyle/>
          <a:p>
            <a:r>
              <a:rPr lang="ru-RU" i="1" noProof="1">
                <a:solidFill>
                  <a:srgbClr val="16303A"/>
                </a:solidFill>
                <a:latin typeface="Arial" panose="020B0604020202020204" pitchFamily="34" charset="0"/>
                <a:ea typeface="Georgia" pitchFamily="34" charset="-122"/>
                <a:cs typeface="Arial" panose="020B0604020202020204" pitchFamily="34" charset="0"/>
              </a:rPr>
              <a:t>Рассмотрите каждую карточку метода обучения по двум критериям: активно ли она развивает компетенции LifeComp, выбранные в Карточке 1? И напрямую ли она адресует основной индикатор качества в вашем задании? Выберите один основной метод обучения (добавьте второй, если ваш дизайн этого требует). Запишите под Карточкой 3: какой метод вы выбрали, почему он развивает выявленные компетенции и почему он адресует ваш основной ИК. Будьте конкретны в отношении вашей группы педагогов.</a:t>
            </a:r>
            <a:endParaRPr lang="ru-RU" noProof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Shape 7">
            <a:extLst>
              <a:ext uri="{FF2B5EF4-FFF2-40B4-BE49-F238E27FC236}">
                <a16:creationId xmlns:a16="http://schemas.microsoft.com/office/drawing/2014/main" id="{94D50B7C-0BE7-F9EF-29D7-BAD04B3F8CE8}"/>
              </a:ext>
            </a:extLst>
          </p:cNvPr>
          <p:cNvSpPr/>
          <p:nvPr/>
        </p:nvSpPr>
        <p:spPr>
          <a:xfrm>
            <a:off x="487680" y="3690919"/>
            <a:ext cx="5547360" cy="1048512"/>
          </a:xfrm>
          <a:prstGeom prst="rect">
            <a:avLst/>
          </a:prstGeom>
          <a:solidFill>
            <a:srgbClr val="E8F5EC"/>
          </a:solidFill>
          <a:ln w="12700">
            <a:solidFill>
              <a:srgbClr val="2D8A3E"/>
            </a:solidFill>
            <a:prstDash val="solid"/>
          </a:ln>
        </p:spPr>
        <p:txBody>
          <a:bodyPr/>
          <a:lstStyle/>
          <a:p>
            <a:endParaRPr lang="ru-RU" sz="2400" noProof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Text 8">
            <a:extLst>
              <a:ext uri="{FF2B5EF4-FFF2-40B4-BE49-F238E27FC236}">
                <a16:creationId xmlns:a16="http://schemas.microsoft.com/office/drawing/2014/main" id="{67446D7E-6A77-9E37-5FF5-E387297303B4}"/>
              </a:ext>
            </a:extLst>
          </p:cNvPr>
          <p:cNvSpPr/>
          <p:nvPr/>
        </p:nvSpPr>
        <p:spPr>
          <a:xfrm>
            <a:off x="670560" y="3751879"/>
            <a:ext cx="5181600" cy="341376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r>
              <a:rPr lang="ru-RU" b="1" noProof="1">
                <a:solidFill>
                  <a:srgbClr val="2D8A3E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Критерий 1:</a:t>
            </a:r>
            <a:endParaRPr lang="ru-RU" noProof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Text 9">
            <a:extLst>
              <a:ext uri="{FF2B5EF4-FFF2-40B4-BE49-F238E27FC236}">
                <a16:creationId xmlns:a16="http://schemas.microsoft.com/office/drawing/2014/main" id="{FACD040A-22A6-B3C7-04BA-7C83B9201BA6}"/>
              </a:ext>
            </a:extLst>
          </p:cNvPr>
          <p:cNvSpPr/>
          <p:nvPr/>
        </p:nvSpPr>
        <p:spPr>
          <a:xfrm>
            <a:off x="670560" y="4093255"/>
            <a:ext cx="5181600" cy="463296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r>
              <a:rPr lang="ru-RU" sz="1700" noProof="1">
                <a:solidFill>
                  <a:srgbClr val="16303A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Активно ли он развивает компетенции LifeComp, выбранные в Карточке 1?</a:t>
            </a:r>
            <a:endParaRPr lang="ru-RU" sz="1700" noProof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Shape 10">
            <a:extLst>
              <a:ext uri="{FF2B5EF4-FFF2-40B4-BE49-F238E27FC236}">
                <a16:creationId xmlns:a16="http://schemas.microsoft.com/office/drawing/2014/main" id="{1D1E5734-FD7A-B119-93C7-3F5E1DC65648}"/>
              </a:ext>
            </a:extLst>
          </p:cNvPr>
          <p:cNvSpPr/>
          <p:nvPr/>
        </p:nvSpPr>
        <p:spPr>
          <a:xfrm>
            <a:off x="6400800" y="3690919"/>
            <a:ext cx="5547360" cy="1048512"/>
          </a:xfrm>
          <a:prstGeom prst="rect">
            <a:avLst/>
          </a:prstGeom>
          <a:solidFill>
            <a:srgbClr val="E8F5EC"/>
          </a:solidFill>
          <a:ln w="12700">
            <a:solidFill>
              <a:srgbClr val="2D8A3E"/>
            </a:solidFill>
            <a:prstDash val="solid"/>
          </a:ln>
        </p:spPr>
        <p:txBody>
          <a:bodyPr/>
          <a:lstStyle/>
          <a:p>
            <a:endParaRPr lang="ru-RU" sz="2400" noProof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Text 11">
            <a:extLst>
              <a:ext uri="{FF2B5EF4-FFF2-40B4-BE49-F238E27FC236}">
                <a16:creationId xmlns:a16="http://schemas.microsoft.com/office/drawing/2014/main" id="{106A4824-5AEF-A16A-3A21-52CA41D8B72C}"/>
              </a:ext>
            </a:extLst>
          </p:cNvPr>
          <p:cNvSpPr/>
          <p:nvPr/>
        </p:nvSpPr>
        <p:spPr>
          <a:xfrm>
            <a:off x="6583680" y="3751879"/>
            <a:ext cx="5181600" cy="341376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r>
              <a:rPr lang="ru-RU" b="1" noProof="1">
                <a:solidFill>
                  <a:srgbClr val="2D8A3E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Критерий 2:</a:t>
            </a:r>
            <a:endParaRPr lang="ru-RU" noProof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Text 12">
            <a:extLst>
              <a:ext uri="{FF2B5EF4-FFF2-40B4-BE49-F238E27FC236}">
                <a16:creationId xmlns:a16="http://schemas.microsoft.com/office/drawing/2014/main" id="{8F852A7A-FE60-9721-9A97-B7660643C6D8}"/>
              </a:ext>
            </a:extLst>
          </p:cNvPr>
          <p:cNvSpPr/>
          <p:nvPr/>
        </p:nvSpPr>
        <p:spPr>
          <a:xfrm>
            <a:off x="6583680" y="4093255"/>
            <a:ext cx="5181600" cy="463296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r>
              <a:rPr lang="ru-RU" sz="1700" noProof="1">
                <a:solidFill>
                  <a:srgbClr val="16303A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Напрямую ли он адресует основной индикатор качества в вашем задании (ИК 1, 4 или 5)?</a:t>
            </a:r>
            <a:endParaRPr lang="ru-RU" sz="1700" noProof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Shape 13">
            <a:extLst>
              <a:ext uri="{FF2B5EF4-FFF2-40B4-BE49-F238E27FC236}">
                <a16:creationId xmlns:a16="http://schemas.microsoft.com/office/drawing/2014/main" id="{9D2DAFB0-9C1B-21FC-AA23-B8F90F8959F9}"/>
              </a:ext>
            </a:extLst>
          </p:cNvPr>
          <p:cNvSpPr/>
          <p:nvPr/>
        </p:nvSpPr>
        <p:spPr>
          <a:xfrm>
            <a:off x="487680" y="4944771"/>
            <a:ext cx="11460480" cy="1101389"/>
          </a:xfrm>
          <a:prstGeom prst="rect">
            <a:avLst/>
          </a:prstGeom>
          <a:solidFill>
            <a:srgbClr val="D6F0F3"/>
          </a:solidFill>
          <a:ln w="12700">
            <a:solidFill>
              <a:srgbClr val="039AAA"/>
            </a:solidFill>
            <a:prstDash val="solid"/>
          </a:ln>
        </p:spPr>
        <p:txBody>
          <a:bodyPr/>
          <a:lstStyle/>
          <a:p>
            <a:endParaRPr lang="ru-RU" sz="2400" noProof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Text 14">
            <a:extLst>
              <a:ext uri="{FF2B5EF4-FFF2-40B4-BE49-F238E27FC236}">
                <a16:creationId xmlns:a16="http://schemas.microsoft.com/office/drawing/2014/main" id="{FDB80786-0530-3BA6-1341-5EDEEC0FBE66}"/>
              </a:ext>
            </a:extLst>
          </p:cNvPr>
          <p:cNvSpPr/>
          <p:nvPr/>
        </p:nvSpPr>
        <p:spPr>
          <a:xfrm>
            <a:off x="731520" y="4891431"/>
            <a:ext cx="10728960" cy="341376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r>
              <a:rPr lang="ru-RU" sz="1467" b="1" noProof="1">
                <a:solidFill>
                  <a:srgbClr val="027A87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Разбор:</a:t>
            </a:r>
            <a:endParaRPr lang="ru-RU" sz="1467" noProof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Text 15">
            <a:extLst>
              <a:ext uri="{FF2B5EF4-FFF2-40B4-BE49-F238E27FC236}">
                <a16:creationId xmlns:a16="http://schemas.microsoft.com/office/drawing/2014/main" id="{5D94F994-30AA-07A5-8345-23D0A37DC87D}"/>
              </a:ext>
            </a:extLst>
          </p:cNvPr>
          <p:cNvSpPr/>
          <p:nvPr/>
        </p:nvSpPr>
        <p:spPr>
          <a:xfrm>
            <a:off x="731520" y="5334915"/>
            <a:ext cx="10728960" cy="512064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r>
              <a:rPr lang="ru-RU" sz="1700" noProof="1">
                <a:solidFill>
                  <a:srgbClr val="16303A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Быстрый раунд — каждый стол называет выбранный метод (90 секунд). Затем один стол из каждого задания даёт одну причину. Суть: разные задания привели к разным выборам или к одному выбору по разным причинам. Важно то, можете ли вы объяснить связь одним предложением.</a:t>
            </a:r>
            <a:endParaRPr lang="ru-RU" sz="1700" noProof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Shape 18">
            <a:extLst>
              <a:ext uri="{FF2B5EF4-FFF2-40B4-BE49-F238E27FC236}">
                <a16:creationId xmlns:a16="http://schemas.microsoft.com/office/drawing/2014/main" id="{583B7111-9E38-D093-D583-FCF605C1A1F8}"/>
              </a:ext>
            </a:extLst>
          </p:cNvPr>
          <p:cNvSpPr/>
          <p:nvPr/>
        </p:nvSpPr>
        <p:spPr>
          <a:xfrm>
            <a:off x="487680" y="6176163"/>
            <a:ext cx="11460480" cy="414528"/>
          </a:xfrm>
          <a:prstGeom prst="rect">
            <a:avLst/>
          </a:prstGeom>
          <a:solidFill>
            <a:srgbClr val="E8940A"/>
          </a:solidFill>
          <a:ln w="12700">
            <a:solidFill>
              <a:srgbClr val="E8940A"/>
            </a:solidFill>
            <a:prstDash val="solid"/>
          </a:ln>
        </p:spPr>
        <p:txBody>
          <a:bodyPr/>
          <a:lstStyle/>
          <a:p>
            <a:endParaRPr lang="ru-RU" sz="2400" noProof="1"/>
          </a:p>
        </p:txBody>
      </p:sp>
      <p:sp>
        <p:nvSpPr>
          <p:cNvPr id="18" name="Text 19">
            <a:extLst>
              <a:ext uri="{FF2B5EF4-FFF2-40B4-BE49-F238E27FC236}">
                <a16:creationId xmlns:a16="http://schemas.microsoft.com/office/drawing/2014/main" id="{9C9E2EA4-1C41-2E5E-3684-B759E0CD5C5B}"/>
              </a:ext>
            </a:extLst>
          </p:cNvPr>
          <p:cNvSpPr/>
          <p:nvPr/>
        </p:nvSpPr>
        <p:spPr>
          <a:xfrm>
            <a:off x="487680" y="6176163"/>
            <a:ext cx="11216640" cy="414528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algn="ctr"/>
            <a:r>
              <a:rPr lang="ru-RU" sz="1200" b="1" noProof="1">
                <a:solidFill>
                  <a:srgbClr val="FFFFFF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SCAFFOLD: Метод обучения 4.6 — Лабораторное обучение. Участники экспериментируют с карточками, принимают решения, проверяют их по критериям и пересматривают. Это то же самое, что вы просите делать участников своего профессионального развития педагогов.</a:t>
            </a:r>
            <a:endParaRPr lang="ru-RU" sz="1200" noProof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537546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85E31FD-F128-5282-CEA9-254F53E200B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5317" y="515029"/>
            <a:ext cx="9862636" cy="1080120"/>
          </a:xfrm>
        </p:spPr>
        <p:txBody>
          <a:bodyPr>
            <a:normAutofit/>
          </a:bodyPr>
          <a:lstStyle/>
          <a:p>
            <a:r>
              <a:rPr lang="ru-RU" noProof="1">
                <a:latin typeface="Arial" panose="020B0604020202020204" pitchFamily="34" charset="0"/>
              </a:rPr>
              <a:t>Напишите логику разработки</a:t>
            </a:r>
          </a:p>
        </p:txBody>
      </p:sp>
      <p:sp>
        <p:nvSpPr>
          <p:cNvPr id="4" name="Shape 3">
            <a:extLst>
              <a:ext uri="{FF2B5EF4-FFF2-40B4-BE49-F238E27FC236}">
                <a16:creationId xmlns:a16="http://schemas.microsoft.com/office/drawing/2014/main" id="{D64268B1-4776-F5CB-4FFC-4F4408E9026D}"/>
              </a:ext>
            </a:extLst>
          </p:cNvPr>
          <p:cNvSpPr/>
          <p:nvPr/>
        </p:nvSpPr>
        <p:spPr>
          <a:xfrm>
            <a:off x="635316" y="1595149"/>
            <a:ext cx="11216640" cy="2653002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 w="12700">
            <a:solidFill>
              <a:srgbClr val="16303A"/>
            </a:solidFill>
            <a:prstDash val="solid"/>
          </a:ln>
        </p:spPr>
        <p:txBody>
          <a:bodyPr/>
          <a:lstStyle/>
          <a:p>
            <a:endParaRPr lang="ru-RU" sz="2400" noProof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Text 4">
            <a:extLst>
              <a:ext uri="{FF2B5EF4-FFF2-40B4-BE49-F238E27FC236}">
                <a16:creationId xmlns:a16="http://schemas.microsoft.com/office/drawing/2014/main" id="{716EB79C-621B-64FF-3A0E-110BABAD5969}"/>
              </a:ext>
            </a:extLst>
          </p:cNvPr>
          <p:cNvSpPr/>
          <p:nvPr/>
        </p:nvSpPr>
        <p:spPr>
          <a:xfrm>
            <a:off x="879156" y="1680493"/>
            <a:ext cx="10728960" cy="341376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r>
              <a:rPr lang="ru-RU" sz="2000" b="1" kern="0" spc="133" noProof="1">
                <a:solidFill>
                  <a:srgbClr val="E8940A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Связующее предложение</a:t>
            </a:r>
            <a:endParaRPr lang="ru-RU" sz="2000" noProof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Text 5">
            <a:extLst>
              <a:ext uri="{FF2B5EF4-FFF2-40B4-BE49-F238E27FC236}">
                <a16:creationId xmlns:a16="http://schemas.microsoft.com/office/drawing/2014/main" id="{F689E6D8-73D4-EBF4-37F5-761BA1791997}"/>
              </a:ext>
            </a:extLst>
          </p:cNvPr>
          <p:cNvSpPr/>
          <p:nvPr/>
        </p:nvSpPr>
        <p:spPr>
          <a:xfrm>
            <a:off x="879156" y="2046253"/>
            <a:ext cx="10728960" cy="42672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r>
              <a:rPr lang="ru-RU" sz="2000" noProof="1">
                <a:solidFill>
                  <a:srgbClr val="FFFFFF"/>
                </a:solidFill>
                <a:latin typeface="Arial" panose="020B0604020202020204" pitchFamily="34" charset="0"/>
                <a:ea typeface="Georgia" pitchFamily="34" charset="-122"/>
                <a:cs typeface="Arial" panose="020B0604020202020204" pitchFamily="34" charset="0"/>
              </a:rPr>
              <a:t>"Мы разрабатываем сессию, которая развивает</a:t>
            </a:r>
            <a:endParaRPr lang="ru-RU" sz="2000" noProof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Text 6">
            <a:extLst>
              <a:ext uri="{FF2B5EF4-FFF2-40B4-BE49-F238E27FC236}">
                <a16:creationId xmlns:a16="http://schemas.microsoft.com/office/drawing/2014/main" id="{62F5A680-93A9-5CA6-2273-5493ED6B5D9D}"/>
              </a:ext>
            </a:extLst>
          </p:cNvPr>
          <p:cNvSpPr/>
          <p:nvPr/>
        </p:nvSpPr>
        <p:spPr>
          <a:xfrm>
            <a:off x="1122996" y="2472973"/>
            <a:ext cx="10485120" cy="292608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r>
              <a:rPr lang="ru-RU" sz="2000" i="1" noProof="1">
                <a:solidFill>
                  <a:srgbClr val="039AAA"/>
                </a:solidFill>
                <a:latin typeface="Arial" panose="020B0604020202020204" pitchFamily="34" charset="0"/>
                <a:ea typeface="Georgia" pitchFamily="34" charset="-122"/>
                <a:cs typeface="Arial" panose="020B0604020202020204" pitchFamily="34" charset="0"/>
              </a:rPr>
              <a:t>[выбранные компетенции — Карточка 1] </a:t>
            </a:r>
            <a:endParaRPr lang="ru-RU" sz="2000" noProof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Text 7">
            <a:extLst>
              <a:ext uri="{FF2B5EF4-FFF2-40B4-BE49-F238E27FC236}">
                <a16:creationId xmlns:a16="http://schemas.microsoft.com/office/drawing/2014/main" id="{1CC13D73-EB13-B1C9-FF85-D308D5E1B1B3}"/>
              </a:ext>
            </a:extLst>
          </p:cNvPr>
          <p:cNvSpPr/>
          <p:nvPr/>
        </p:nvSpPr>
        <p:spPr>
          <a:xfrm>
            <a:off x="1122996" y="2777773"/>
            <a:ext cx="10485120" cy="292608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r>
              <a:rPr lang="ru-RU" sz="2000" noProof="1">
                <a:solidFill>
                  <a:srgbClr val="FFFFFF"/>
                </a:solidFill>
                <a:latin typeface="Arial" panose="020B0604020202020204" pitchFamily="34" charset="0"/>
                <a:ea typeface="Georgia" pitchFamily="34" charset="-122"/>
                <a:cs typeface="Arial" panose="020B0604020202020204" pitchFamily="34" charset="0"/>
              </a:rPr>
              <a:t>для [группа педагогов из вашего задания], </a:t>
            </a:r>
            <a:endParaRPr lang="ru-RU" sz="2000" noProof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Text 8">
            <a:extLst>
              <a:ext uri="{FF2B5EF4-FFF2-40B4-BE49-F238E27FC236}">
                <a16:creationId xmlns:a16="http://schemas.microsoft.com/office/drawing/2014/main" id="{017D2F5C-30B7-F257-DB6B-89A77C3CF1A6}"/>
              </a:ext>
            </a:extLst>
          </p:cNvPr>
          <p:cNvSpPr/>
          <p:nvPr/>
        </p:nvSpPr>
        <p:spPr>
          <a:xfrm>
            <a:off x="1122996" y="3082573"/>
            <a:ext cx="10485120" cy="292608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r>
              <a:rPr lang="ru-RU" sz="2000" noProof="1">
                <a:solidFill>
                  <a:srgbClr val="FFFFFF"/>
                </a:solidFill>
                <a:latin typeface="Arial" panose="020B0604020202020204" pitchFamily="34" charset="0"/>
                <a:ea typeface="Georgia" pitchFamily="34" charset="-122"/>
                <a:cs typeface="Arial" panose="020B0604020202020204" pitchFamily="34" charset="0"/>
              </a:rPr>
              <a:t>которые находятся на [исходный уровень — Карточка 2], </a:t>
            </a:r>
            <a:endParaRPr lang="ru-RU" sz="2000" noProof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Text 9">
            <a:extLst>
              <a:ext uri="{FF2B5EF4-FFF2-40B4-BE49-F238E27FC236}">
                <a16:creationId xmlns:a16="http://schemas.microsoft.com/office/drawing/2014/main" id="{436D6754-471A-0728-41F5-E340B9E3EE35}"/>
              </a:ext>
            </a:extLst>
          </p:cNvPr>
          <p:cNvSpPr/>
          <p:nvPr/>
        </p:nvSpPr>
        <p:spPr>
          <a:xfrm>
            <a:off x="1122996" y="3387373"/>
            <a:ext cx="10485120" cy="292608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r>
              <a:rPr lang="ru-RU" sz="2000" i="1" noProof="1">
                <a:solidFill>
                  <a:srgbClr val="039AAA"/>
                </a:solidFill>
                <a:latin typeface="Arial" panose="020B0604020202020204" pitchFamily="34" charset="0"/>
                <a:ea typeface="Georgia" pitchFamily="34" charset="-122"/>
                <a:cs typeface="Arial" panose="020B0604020202020204" pitchFamily="34" charset="0"/>
              </a:rPr>
              <a:t>с использованием [метод обучения — Карточка 3]</a:t>
            </a:r>
            <a:endParaRPr lang="ru-RU" sz="2000" noProof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Text 10">
            <a:extLst>
              <a:ext uri="{FF2B5EF4-FFF2-40B4-BE49-F238E27FC236}">
                <a16:creationId xmlns:a16="http://schemas.microsoft.com/office/drawing/2014/main" id="{17CD4B24-49AB-7FF2-0296-5AECAFF0FD55}"/>
              </a:ext>
            </a:extLst>
          </p:cNvPr>
          <p:cNvSpPr/>
          <p:nvPr/>
        </p:nvSpPr>
        <p:spPr>
          <a:xfrm>
            <a:off x="1122996" y="3692173"/>
            <a:ext cx="10485120" cy="292608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r>
              <a:rPr lang="ru-RU" sz="2000" noProof="1">
                <a:solidFill>
                  <a:schemeClr val="tx2"/>
                </a:solidFill>
              </a:rPr>
              <a:t>что [причина, связывающая компетенции, группу и основной ИК].»</a:t>
            </a:r>
            <a:endParaRPr lang="ru-RU" sz="2000" noProof="1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Text 11">
            <a:extLst>
              <a:ext uri="{FF2B5EF4-FFF2-40B4-BE49-F238E27FC236}">
                <a16:creationId xmlns:a16="http://schemas.microsoft.com/office/drawing/2014/main" id="{A6770CB4-BCCE-4A91-EF24-31595DDA1E1C}"/>
              </a:ext>
            </a:extLst>
          </p:cNvPr>
          <p:cNvSpPr/>
          <p:nvPr/>
        </p:nvSpPr>
        <p:spPr>
          <a:xfrm>
            <a:off x="635316" y="4960903"/>
            <a:ext cx="11094720" cy="463296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r>
              <a:rPr lang="ru-RU" sz="1733" b="1" noProof="1">
                <a:solidFill>
                  <a:schemeClr val="bg1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Это предложение — ваша логика разработки. Если вы не можете написать его чётко, один из трёх ваших выборов требует пересмотра до Сессии 6.</a:t>
            </a:r>
            <a:endParaRPr lang="ru-RU" sz="1733" noProof="1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Shape 14">
            <a:extLst>
              <a:ext uri="{FF2B5EF4-FFF2-40B4-BE49-F238E27FC236}">
                <a16:creationId xmlns:a16="http://schemas.microsoft.com/office/drawing/2014/main" id="{13B26824-CBCE-89EC-B28D-51D1375B7EFE}"/>
              </a:ext>
            </a:extLst>
          </p:cNvPr>
          <p:cNvSpPr/>
          <p:nvPr/>
        </p:nvSpPr>
        <p:spPr>
          <a:xfrm>
            <a:off x="635316" y="5720313"/>
            <a:ext cx="11216640" cy="731520"/>
          </a:xfrm>
          <a:prstGeom prst="rect">
            <a:avLst/>
          </a:prstGeom>
          <a:solidFill>
            <a:srgbClr val="D6F0F3"/>
          </a:solidFill>
          <a:ln w="12700">
            <a:solidFill>
              <a:srgbClr val="039AAA"/>
            </a:solidFill>
            <a:prstDash val="solid"/>
          </a:ln>
        </p:spPr>
        <p:txBody>
          <a:bodyPr/>
          <a:lstStyle/>
          <a:p>
            <a:endParaRPr lang="ru-RU" sz="2400" noProof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Text 15">
            <a:extLst>
              <a:ext uri="{FF2B5EF4-FFF2-40B4-BE49-F238E27FC236}">
                <a16:creationId xmlns:a16="http://schemas.microsoft.com/office/drawing/2014/main" id="{5C24EDA2-892A-E5E7-EB12-2598D4C25D05}"/>
              </a:ext>
            </a:extLst>
          </p:cNvPr>
          <p:cNvSpPr/>
          <p:nvPr/>
        </p:nvSpPr>
        <p:spPr>
          <a:xfrm>
            <a:off x="879156" y="5720313"/>
            <a:ext cx="10850880" cy="73152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r>
              <a:rPr lang="ru-RU" sz="1533" noProof="1">
                <a:solidFill>
                  <a:srgbClr val="16303A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Сессия 6 строит оставшиеся четыре карточки планирования на основе этого предложения. </a:t>
            </a:r>
          </a:p>
          <a:p>
            <a:r>
              <a:rPr lang="ru-RU" sz="1533" noProof="1">
                <a:solidFill>
                  <a:srgbClr val="16303A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Сессия 7: пара столов, работающих над одним заданием, сравнивает, как каждый подошёл к одному и тому же заданию.</a:t>
            </a:r>
            <a:endParaRPr lang="ru-RU" sz="1533" noProof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5794340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hape 3">
            <a:extLst>
              <a:ext uri="{FF2B5EF4-FFF2-40B4-BE49-F238E27FC236}">
                <a16:creationId xmlns:a16="http://schemas.microsoft.com/office/drawing/2014/main" id="{A5779902-E6FC-B937-F8AF-D753E6309B6E}"/>
              </a:ext>
            </a:extLst>
          </p:cNvPr>
          <p:cNvSpPr/>
          <p:nvPr/>
        </p:nvSpPr>
        <p:spPr>
          <a:xfrm>
            <a:off x="609600" y="514350"/>
            <a:ext cx="11043684" cy="4339244"/>
          </a:xfrm>
          <a:prstGeom prst="rect">
            <a:avLst/>
          </a:prstGeom>
          <a:solidFill>
            <a:srgbClr val="0070C0"/>
          </a:solidFill>
          <a:ln w="12700">
            <a:solidFill>
              <a:srgbClr val="039AAA"/>
            </a:solidFill>
            <a:prstDash val="solid"/>
          </a:ln>
        </p:spPr>
        <p:txBody>
          <a:bodyPr/>
          <a:lstStyle/>
          <a:p>
            <a:endParaRPr lang="ru-RU" sz="2400" noProof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Shape 4">
            <a:extLst>
              <a:ext uri="{FF2B5EF4-FFF2-40B4-BE49-F238E27FC236}">
                <a16:creationId xmlns:a16="http://schemas.microsoft.com/office/drawing/2014/main" id="{CC57EC1E-F09E-A79D-7B65-91B3A0D12818}"/>
              </a:ext>
            </a:extLst>
          </p:cNvPr>
          <p:cNvSpPr/>
          <p:nvPr/>
        </p:nvSpPr>
        <p:spPr>
          <a:xfrm>
            <a:off x="609599" y="514350"/>
            <a:ext cx="147249" cy="4339244"/>
          </a:xfrm>
          <a:prstGeom prst="rect">
            <a:avLst/>
          </a:prstGeom>
          <a:solidFill>
            <a:srgbClr val="E8940A"/>
          </a:solidFill>
          <a:ln w="12700">
            <a:solidFill>
              <a:srgbClr val="E8940A"/>
            </a:solidFill>
            <a:prstDash val="solid"/>
          </a:ln>
        </p:spPr>
        <p:txBody>
          <a:bodyPr/>
          <a:lstStyle/>
          <a:p>
            <a:endParaRPr lang="ru-RU" sz="2400" noProof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Text 5">
            <a:extLst>
              <a:ext uri="{FF2B5EF4-FFF2-40B4-BE49-F238E27FC236}">
                <a16:creationId xmlns:a16="http://schemas.microsoft.com/office/drawing/2014/main" id="{C9BF6897-F638-DC4E-4A06-D1FC2082598E}"/>
              </a:ext>
            </a:extLst>
          </p:cNvPr>
          <p:cNvSpPr/>
          <p:nvPr/>
        </p:nvSpPr>
        <p:spPr>
          <a:xfrm>
            <a:off x="975360" y="1302973"/>
            <a:ext cx="10368792" cy="2221693"/>
          </a:xfrm>
          <a:prstGeom prst="rect">
            <a:avLst/>
          </a:prstGeom>
          <a:noFill/>
          <a:ln/>
        </p:spPr>
        <p:txBody>
          <a:bodyPr wrap="square" rtlCol="0" anchor="t"/>
          <a:lstStyle/>
          <a:p>
            <a:r>
              <a:rPr lang="ru-RU" sz="2200" noProof="1">
                <a:solidFill>
                  <a:srgbClr val="FFFFFF"/>
                </a:solidFill>
                <a:latin typeface="Arial" panose="020B0604020202020204" pitchFamily="34" charset="0"/>
                <a:ea typeface="Georgia" pitchFamily="34" charset="-122"/>
                <a:cs typeface="Arial" panose="020B0604020202020204" pitchFamily="34" charset="0"/>
              </a:rPr>
              <a:t>Вы только что приняли три содержательных решения по разработке для конкретной группы педагогов. В типичном процессе планирования профессионального развития педагогов аналогичные решения принимаются за пять минут или вовсе не принимаются осознанно — это одна из главных причин, по которой профессиональное развитие педагогов оказывается типовым и пассивным.</a:t>
            </a:r>
            <a:endParaRPr lang="ru-RU" sz="2200" noProof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Text 6">
            <a:extLst>
              <a:ext uri="{FF2B5EF4-FFF2-40B4-BE49-F238E27FC236}">
                <a16:creationId xmlns:a16="http://schemas.microsoft.com/office/drawing/2014/main" id="{A87AD040-630E-7A86-422E-EB36D21B8237}"/>
              </a:ext>
            </a:extLst>
          </p:cNvPr>
          <p:cNvSpPr/>
          <p:nvPr/>
        </p:nvSpPr>
        <p:spPr>
          <a:xfrm>
            <a:off x="975360" y="3304855"/>
            <a:ext cx="10368792" cy="902563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r>
              <a:rPr lang="ru-RU" sz="2267" b="1" noProof="1">
                <a:solidFill>
                  <a:srgbClr val="E8940A"/>
                </a:solidFill>
                <a:latin typeface="Arial" panose="020B0604020202020204" pitchFamily="34" charset="0"/>
                <a:ea typeface="Georgia" pitchFamily="34" charset="-122"/>
                <a:cs typeface="Arial" panose="020B0604020202020204" pitchFamily="34" charset="0"/>
              </a:rPr>
              <a:t>Карточки планирования делают решения видимыми и осознанными.</a:t>
            </a:r>
            <a:endParaRPr lang="ru-RU" sz="2267" noProof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Text 7">
            <a:extLst>
              <a:ext uri="{FF2B5EF4-FFF2-40B4-BE49-F238E27FC236}">
                <a16:creationId xmlns:a16="http://schemas.microsoft.com/office/drawing/2014/main" id="{BC21C039-D05E-7B00-ED86-103B3A6CE438}"/>
              </a:ext>
            </a:extLst>
          </p:cNvPr>
          <p:cNvSpPr/>
          <p:nvPr/>
        </p:nvSpPr>
        <p:spPr>
          <a:xfrm>
            <a:off x="975360" y="4084301"/>
            <a:ext cx="10368792" cy="659565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r>
              <a:rPr lang="ru-RU" sz="1600" i="1" noProof="1">
                <a:solidFill>
                  <a:schemeClr val="bg1"/>
                </a:solidFill>
                <a:latin typeface="Arial" panose="020B0604020202020204" pitchFamily="34" charset="0"/>
                <a:ea typeface="Georgia" pitchFamily="34" charset="-122"/>
                <a:cs typeface="Arial" panose="020B0604020202020204" pitchFamily="34" charset="0"/>
              </a:rPr>
              <a:t>В сессии 6 остальная часть замысла будет строиться на том, что вы начали здесь. </a:t>
            </a:r>
            <a:endParaRPr lang="ru-RU" sz="1600" noProof="1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Shape 8">
            <a:extLst>
              <a:ext uri="{FF2B5EF4-FFF2-40B4-BE49-F238E27FC236}">
                <a16:creationId xmlns:a16="http://schemas.microsoft.com/office/drawing/2014/main" id="{3978EE05-C9F0-B1F1-2747-602918C83C73}"/>
              </a:ext>
            </a:extLst>
          </p:cNvPr>
          <p:cNvSpPr/>
          <p:nvPr/>
        </p:nvSpPr>
        <p:spPr>
          <a:xfrm>
            <a:off x="609600" y="4767895"/>
            <a:ext cx="11043684" cy="902563"/>
          </a:xfrm>
          <a:prstGeom prst="rect">
            <a:avLst/>
          </a:prstGeom>
          <a:solidFill>
            <a:srgbClr val="027A87"/>
          </a:solidFill>
          <a:ln w="12700">
            <a:solidFill>
              <a:srgbClr val="027A87"/>
            </a:solidFill>
            <a:prstDash val="solid"/>
          </a:ln>
        </p:spPr>
        <p:txBody>
          <a:bodyPr/>
          <a:lstStyle/>
          <a:p>
            <a:endParaRPr lang="ru-RU" sz="2400" noProof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Text 9">
            <a:extLst>
              <a:ext uri="{FF2B5EF4-FFF2-40B4-BE49-F238E27FC236}">
                <a16:creationId xmlns:a16="http://schemas.microsoft.com/office/drawing/2014/main" id="{36C205BF-891B-AFCF-2EEB-BC3E62E68141}"/>
              </a:ext>
            </a:extLst>
          </p:cNvPr>
          <p:cNvSpPr/>
          <p:nvPr/>
        </p:nvSpPr>
        <p:spPr>
          <a:xfrm>
            <a:off x="853439" y="4767895"/>
            <a:ext cx="10675561" cy="902563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r>
              <a:rPr lang="ru-RU" sz="1733" b="1" noProof="1">
                <a:solidFill>
                  <a:srgbClr val="FFFFFF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Карточки остаются на столе на протяжении всего перерыва — не убирайте их</a:t>
            </a:r>
            <a:endParaRPr lang="ru-RU" sz="1733" noProof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Text 10">
            <a:extLst>
              <a:ext uri="{FF2B5EF4-FFF2-40B4-BE49-F238E27FC236}">
                <a16:creationId xmlns:a16="http://schemas.microsoft.com/office/drawing/2014/main" id="{2D1E6440-C0EB-4FA9-0D37-F725CC95633E}"/>
              </a:ext>
            </a:extLst>
          </p:cNvPr>
          <p:cNvSpPr/>
          <p:nvPr/>
        </p:nvSpPr>
        <p:spPr>
          <a:xfrm>
            <a:off x="609600" y="5709140"/>
            <a:ext cx="11043684" cy="607494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r>
              <a:rPr lang="ru-RU" sz="1467" i="1" noProof="1">
                <a:solidFill>
                  <a:schemeClr val="bg1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ДАЛЕЕ: Сессия 6 — завершение карточек планирования 4–7 после перерыва</a:t>
            </a:r>
            <a:endParaRPr lang="ru-RU" sz="1467" noProof="1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1223096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1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hape 0"/>
          <p:cNvSpPr/>
          <p:nvPr/>
        </p:nvSpPr>
        <p:spPr>
          <a:xfrm>
            <a:off x="0" y="0"/>
            <a:ext cx="12192000" cy="1036320"/>
          </a:xfrm>
          <a:prstGeom prst="rect">
            <a:avLst/>
          </a:prstGeom>
          <a:solidFill>
            <a:srgbClr val="16303A"/>
          </a:solidFill>
          <a:ln w="12700">
            <a:solidFill>
              <a:srgbClr val="16303A"/>
            </a:solidFill>
            <a:prstDash val="solid"/>
          </a:ln>
        </p:spPr>
        <p:txBody>
          <a:bodyPr/>
          <a:lstStyle/>
          <a:p>
            <a:endParaRPr lang="ru-RU" sz="2400" noProof="1"/>
          </a:p>
        </p:txBody>
      </p:sp>
      <p:sp>
        <p:nvSpPr>
          <p:cNvPr id="3" name="Text 1"/>
          <p:cNvSpPr/>
          <p:nvPr/>
        </p:nvSpPr>
        <p:spPr>
          <a:xfrm>
            <a:off x="609600" y="0"/>
            <a:ext cx="10972800" cy="103632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r>
              <a:rPr lang="ru-RU" sz="1867" b="1" kern="0" spc="267" noProof="1">
                <a:solidFill>
                  <a:srgbClr val="E8940A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СЕССИЯ 5  |  СПИСОК МАТЕРИАЛОВ</a:t>
            </a:r>
            <a:endParaRPr lang="ru-RU" sz="1867" noProof="1"/>
          </a:p>
        </p:txBody>
      </p:sp>
      <p:sp>
        <p:nvSpPr>
          <p:cNvPr id="4" name="Shape 2"/>
          <p:cNvSpPr/>
          <p:nvPr/>
        </p:nvSpPr>
        <p:spPr>
          <a:xfrm>
            <a:off x="365760" y="1219200"/>
            <a:ext cx="11460480" cy="621792"/>
          </a:xfrm>
          <a:prstGeom prst="rect">
            <a:avLst/>
          </a:prstGeom>
          <a:solidFill>
            <a:srgbClr val="FFFFFF"/>
          </a:solidFill>
          <a:ln w="5080">
            <a:solidFill>
              <a:srgbClr val="B2D8DE"/>
            </a:solidFill>
            <a:prstDash val="solid"/>
          </a:ln>
        </p:spPr>
        <p:txBody>
          <a:bodyPr/>
          <a:lstStyle/>
          <a:p>
            <a:endParaRPr lang="ru-RU" sz="2400" noProof="1"/>
          </a:p>
        </p:txBody>
      </p:sp>
      <p:sp>
        <p:nvSpPr>
          <p:cNvPr id="5" name="Shape 3"/>
          <p:cNvSpPr/>
          <p:nvPr/>
        </p:nvSpPr>
        <p:spPr>
          <a:xfrm>
            <a:off x="487680" y="1365504"/>
            <a:ext cx="316992" cy="316992"/>
          </a:xfrm>
          <a:prstGeom prst="rect">
            <a:avLst/>
          </a:prstGeom>
          <a:solidFill>
            <a:srgbClr val="FFFFFF"/>
          </a:solidFill>
          <a:ln w="19050">
            <a:solidFill>
              <a:srgbClr val="027A87"/>
            </a:solidFill>
            <a:prstDash val="solid"/>
          </a:ln>
        </p:spPr>
        <p:txBody>
          <a:bodyPr/>
          <a:lstStyle/>
          <a:p>
            <a:endParaRPr lang="ru-RU" sz="2400" noProof="1"/>
          </a:p>
        </p:txBody>
      </p:sp>
      <p:sp>
        <p:nvSpPr>
          <p:cNvPr id="6" name="Text 4"/>
          <p:cNvSpPr/>
          <p:nvPr/>
        </p:nvSpPr>
        <p:spPr>
          <a:xfrm>
            <a:off x="1036320" y="1219200"/>
            <a:ext cx="3901440" cy="621792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r>
              <a:rPr lang="ru-RU" sz="1467" b="1" noProof="1">
                <a:solidFill>
                  <a:srgbClr val="16303A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Колоды карточек SCAFFOLD</a:t>
            </a:r>
            <a:endParaRPr lang="ru-RU" sz="1467" noProof="1"/>
          </a:p>
        </p:txBody>
      </p:sp>
      <p:sp>
        <p:nvSpPr>
          <p:cNvPr id="7" name="Text 5"/>
          <p:cNvSpPr/>
          <p:nvPr/>
        </p:nvSpPr>
        <p:spPr>
          <a:xfrm>
            <a:off x="5059680" y="1219200"/>
            <a:ext cx="6583680" cy="621792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r>
              <a:rPr lang="ru-RU" sz="1400" noProof="1">
                <a:solidFill>
                  <a:srgbClr val="3D6673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По одной на стол — уже на месте с Дня 1</a:t>
            </a:r>
            <a:endParaRPr lang="ru-RU" sz="1400" noProof="1"/>
          </a:p>
        </p:txBody>
      </p:sp>
      <p:sp>
        <p:nvSpPr>
          <p:cNvPr id="8" name="Shape 6"/>
          <p:cNvSpPr/>
          <p:nvPr/>
        </p:nvSpPr>
        <p:spPr>
          <a:xfrm>
            <a:off x="365760" y="1914144"/>
            <a:ext cx="11460480" cy="621792"/>
          </a:xfrm>
          <a:prstGeom prst="rect">
            <a:avLst/>
          </a:prstGeom>
          <a:solidFill>
            <a:srgbClr val="D6F0F3"/>
          </a:solidFill>
          <a:ln w="5080">
            <a:solidFill>
              <a:srgbClr val="B2D8DE"/>
            </a:solidFill>
            <a:prstDash val="solid"/>
          </a:ln>
        </p:spPr>
        <p:txBody>
          <a:bodyPr/>
          <a:lstStyle/>
          <a:p>
            <a:endParaRPr lang="ru-RU" sz="2400" noProof="1"/>
          </a:p>
        </p:txBody>
      </p:sp>
      <p:sp>
        <p:nvSpPr>
          <p:cNvPr id="9" name="Shape 7"/>
          <p:cNvSpPr/>
          <p:nvPr/>
        </p:nvSpPr>
        <p:spPr>
          <a:xfrm>
            <a:off x="487680" y="2060448"/>
            <a:ext cx="316992" cy="316992"/>
          </a:xfrm>
          <a:prstGeom prst="rect">
            <a:avLst/>
          </a:prstGeom>
          <a:solidFill>
            <a:srgbClr val="FFFFFF"/>
          </a:solidFill>
          <a:ln w="19050">
            <a:solidFill>
              <a:srgbClr val="027A87"/>
            </a:solidFill>
            <a:prstDash val="solid"/>
          </a:ln>
        </p:spPr>
        <p:txBody>
          <a:bodyPr/>
          <a:lstStyle/>
          <a:p>
            <a:endParaRPr lang="ru-RU" sz="2400" noProof="1"/>
          </a:p>
        </p:txBody>
      </p:sp>
      <p:sp>
        <p:nvSpPr>
          <p:cNvPr id="10" name="Text 8"/>
          <p:cNvSpPr/>
          <p:nvPr/>
        </p:nvSpPr>
        <p:spPr>
          <a:xfrm>
            <a:off x="1036320" y="1914144"/>
            <a:ext cx="3901440" cy="621792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r>
              <a:rPr lang="ru-RU" sz="1467" b="1" noProof="1">
                <a:solidFill>
                  <a:srgbClr val="16303A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Распечатанные задания</a:t>
            </a:r>
            <a:endParaRPr lang="ru-RU" sz="1467" noProof="1"/>
          </a:p>
        </p:txBody>
      </p:sp>
      <p:sp>
        <p:nvSpPr>
          <p:cNvPr id="11" name="Text 9"/>
          <p:cNvSpPr/>
          <p:nvPr/>
        </p:nvSpPr>
        <p:spPr>
          <a:xfrm>
            <a:off x="5059680" y="1914144"/>
            <a:ext cx="6583680" cy="621792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r>
              <a:rPr lang="ru-RU" sz="1400" noProof="1">
                <a:solidFill>
                  <a:srgbClr val="3D6673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По одному на участника — правильное задание заранее размещено до 09:15. Не смешивайте задания за одним столом.</a:t>
            </a:r>
            <a:endParaRPr lang="ru-RU" sz="1400" noProof="1"/>
          </a:p>
        </p:txBody>
      </p:sp>
      <p:sp>
        <p:nvSpPr>
          <p:cNvPr id="12" name="Shape 10"/>
          <p:cNvSpPr/>
          <p:nvPr/>
        </p:nvSpPr>
        <p:spPr>
          <a:xfrm>
            <a:off x="365760" y="2609088"/>
            <a:ext cx="11460480" cy="621792"/>
          </a:xfrm>
          <a:prstGeom prst="rect">
            <a:avLst/>
          </a:prstGeom>
          <a:solidFill>
            <a:srgbClr val="FFFFFF"/>
          </a:solidFill>
          <a:ln w="5080">
            <a:solidFill>
              <a:srgbClr val="B2D8DE"/>
            </a:solidFill>
            <a:prstDash val="solid"/>
          </a:ln>
        </p:spPr>
        <p:txBody>
          <a:bodyPr/>
          <a:lstStyle/>
          <a:p>
            <a:endParaRPr lang="ru-RU" sz="2400" noProof="1"/>
          </a:p>
        </p:txBody>
      </p:sp>
      <p:sp>
        <p:nvSpPr>
          <p:cNvPr id="13" name="Shape 11"/>
          <p:cNvSpPr/>
          <p:nvPr/>
        </p:nvSpPr>
        <p:spPr>
          <a:xfrm>
            <a:off x="487680" y="2755392"/>
            <a:ext cx="316992" cy="316992"/>
          </a:xfrm>
          <a:prstGeom prst="rect">
            <a:avLst/>
          </a:prstGeom>
          <a:solidFill>
            <a:srgbClr val="FFFFFF"/>
          </a:solidFill>
          <a:ln w="19050">
            <a:solidFill>
              <a:srgbClr val="027A87"/>
            </a:solidFill>
            <a:prstDash val="solid"/>
          </a:ln>
        </p:spPr>
        <p:txBody>
          <a:bodyPr/>
          <a:lstStyle/>
          <a:p>
            <a:endParaRPr lang="ru-RU" sz="2400" noProof="1"/>
          </a:p>
        </p:txBody>
      </p:sp>
      <p:sp>
        <p:nvSpPr>
          <p:cNvPr id="14" name="Text 12"/>
          <p:cNvSpPr/>
          <p:nvPr/>
        </p:nvSpPr>
        <p:spPr>
          <a:xfrm>
            <a:off x="1036320" y="2609088"/>
            <a:ext cx="3901440" cy="621792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r>
              <a:rPr lang="ru-RU" sz="1467" b="1" noProof="1">
                <a:solidFill>
                  <a:srgbClr val="16303A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Справочный лист карточек планирования</a:t>
            </a:r>
            <a:endParaRPr lang="ru-RU" sz="1467" noProof="1"/>
          </a:p>
        </p:txBody>
      </p:sp>
      <p:sp>
        <p:nvSpPr>
          <p:cNvPr id="15" name="Text 13"/>
          <p:cNvSpPr/>
          <p:nvPr/>
        </p:nvSpPr>
        <p:spPr>
          <a:xfrm>
            <a:off x="5059680" y="2609088"/>
            <a:ext cx="6583680" cy="621792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r>
              <a:rPr lang="ru-RU" sz="1400" noProof="1">
                <a:solidFill>
                  <a:srgbClr val="3D6673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По одному на стол, А5 ламинированный — семь названий карточек планирования по порядку</a:t>
            </a:r>
            <a:endParaRPr lang="ru-RU" sz="1400" noProof="1"/>
          </a:p>
        </p:txBody>
      </p:sp>
      <p:sp>
        <p:nvSpPr>
          <p:cNvPr id="16" name="Shape 14"/>
          <p:cNvSpPr/>
          <p:nvPr/>
        </p:nvSpPr>
        <p:spPr>
          <a:xfrm>
            <a:off x="365760" y="3304032"/>
            <a:ext cx="11460480" cy="621792"/>
          </a:xfrm>
          <a:prstGeom prst="rect">
            <a:avLst/>
          </a:prstGeom>
          <a:solidFill>
            <a:srgbClr val="D6F0F3"/>
          </a:solidFill>
          <a:ln w="5080">
            <a:solidFill>
              <a:srgbClr val="B2D8DE"/>
            </a:solidFill>
            <a:prstDash val="solid"/>
          </a:ln>
        </p:spPr>
        <p:txBody>
          <a:bodyPr/>
          <a:lstStyle/>
          <a:p>
            <a:endParaRPr lang="ru-RU" sz="2400" noProof="1"/>
          </a:p>
        </p:txBody>
      </p:sp>
      <p:sp>
        <p:nvSpPr>
          <p:cNvPr id="17" name="Shape 15"/>
          <p:cNvSpPr/>
          <p:nvPr/>
        </p:nvSpPr>
        <p:spPr>
          <a:xfrm>
            <a:off x="487680" y="3450336"/>
            <a:ext cx="316992" cy="316992"/>
          </a:xfrm>
          <a:prstGeom prst="rect">
            <a:avLst/>
          </a:prstGeom>
          <a:solidFill>
            <a:srgbClr val="FFFFFF"/>
          </a:solidFill>
          <a:ln w="19050">
            <a:solidFill>
              <a:srgbClr val="027A87"/>
            </a:solidFill>
            <a:prstDash val="solid"/>
          </a:ln>
        </p:spPr>
        <p:txBody>
          <a:bodyPr/>
          <a:lstStyle/>
          <a:p>
            <a:endParaRPr lang="ru-RU" sz="2400" noProof="1"/>
          </a:p>
        </p:txBody>
      </p:sp>
      <p:sp>
        <p:nvSpPr>
          <p:cNvPr id="18" name="Text 16"/>
          <p:cNvSpPr/>
          <p:nvPr/>
        </p:nvSpPr>
        <p:spPr>
          <a:xfrm>
            <a:off x="1036320" y="3304032"/>
            <a:ext cx="3901440" cy="621792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r>
              <a:rPr lang="ru-RU" sz="1467" b="1" noProof="1">
                <a:solidFill>
                  <a:srgbClr val="16303A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Ручки</a:t>
            </a:r>
            <a:endParaRPr lang="ru-RU" sz="1467" noProof="1"/>
          </a:p>
        </p:txBody>
      </p:sp>
      <p:sp>
        <p:nvSpPr>
          <p:cNvPr id="19" name="Text 17"/>
          <p:cNvSpPr/>
          <p:nvPr/>
        </p:nvSpPr>
        <p:spPr>
          <a:xfrm>
            <a:off x="5059680" y="3304032"/>
            <a:ext cx="6583680" cy="621792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r>
              <a:rPr lang="ru-RU" sz="1400" noProof="1">
                <a:solidFill>
                  <a:srgbClr val="3D6673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На столах</a:t>
            </a:r>
            <a:endParaRPr lang="ru-RU" sz="1400" noProof="1"/>
          </a:p>
        </p:txBody>
      </p:sp>
      <p:sp>
        <p:nvSpPr>
          <p:cNvPr id="20" name="Shape 18"/>
          <p:cNvSpPr/>
          <p:nvPr/>
        </p:nvSpPr>
        <p:spPr>
          <a:xfrm>
            <a:off x="365760" y="3998976"/>
            <a:ext cx="11460480" cy="621792"/>
          </a:xfrm>
          <a:prstGeom prst="rect">
            <a:avLst/>
          </a:prstGeom>
          <a:solidFill>
            <a:srgbClr val="FFFFFF"/>
          </a:solidFill>
          <a:ln w="5080">
            <a:solidFill>
              <a:srgbClr val="B2D8DE"/>
            </a:solidFill>
            <a:prstDash val="solid"/>
          </a:ln>
        </p:spPr>
        <p:txBody>
          <a:bodyPr/>
          <a:lstStyle/>
          <a:p>
            <a:endParaRPr lang="ru-RU" sz="2400" noProof="1"/>
          </a:p>
        </p:txBody>
      </p:sp>
      <p:sp>
        <p:nvSpPr>
          <p:cNvPr id="21" name="Shape 19"/>
          <p:cNvSpPr/>
          <p:nvPr/>
        </p:nvSpPr>
        <p:spPr>
          <a:xfrm>
            <a:off x="487680" y="4145280"/>
            <a:ext cx="316992" cy="316992"/>
          </a:xfrm>
          <a:prstGeom prst="rect">
            <a:avLst/>
          </a:prstGeom>
          <a:solidFill>
            <a:srgbClr val="FFFFFF"/>
          </a:solidFill>
          <a:ln w="19050">
            <a:solidFill>
              <a:srgbClr val="027A87"/>
            </a:solidFill>
            <a:prstDash val="solid"/>
          </a:ln>
        </p:spPr>
        <p:txBody>
          <a:bodyPr/>
          <a:lstStyle/>
          <a:p>
            <a:endParaRPr lang="ru-RU" sz="2400" noProof="1"/>
          </a:p>
        </p:txBody>
      </p:sp>
      <p:sp>
        <p:nvSpPr>
          <p:cNvPr id="22" name="Text 20"/>
          <p:cNvSpPr/>
          <p:nvPr/>
        </p:nvSpPr>
        <p:spPr>
          <a:xfrm>
            <a:off x="1036320" y="3998976"/>
            <a:ext cx="3901440" cy="621792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r>
              <a:rPr lang="ru-RU" sz="1467" b="1" noProof="1">
                <a:solidFill>
                  <a:srgbClr val="16303A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Слайд: Структура Дня 2</a:t>
            </a:r>
            <a:endParaRPr lang="ru-RU" sz="1467" noProof="1"/>
          </a:p>
        </p:txBody>
      </p:sp>
      <p:sp>
        <p:nvSpPr>
          <p:cNvPr id="23" name="Text 21"/>
          <p:cNvSpPr/>
          <p:nvPr/>
        </p:nvSpPr>
        <p:spPr>
          <a:xfrm>
            <a:off x="5059680" y="3998976"/>
            <a:ext cx="6583680" cy="621792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r>
              <a:rPr lang="ru-RU" sz="1400" noProof="1">
                <a:solidFill>
                  <a:srgbClr val="3D6673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Показывать при открытии сессии</a:t>
            </a:r>
            <a:endParaRPr lang="ru-RU" sz="1400" noProof="1"/>
          </a:p>
        </p:txBody>
      </p:sp>
      <p:sp>
        <p:nvSpPr>
          <p:cNvPr id="24" name="Shape 22"/>
          <p:cNvSpPr/>
          <p:nvPr/>
        </p:nvSpPr>
        <p:spPr>
          <a:xfrm>
            <a:off x="365760" y="4693920"/>
            <a:ext cx="11460480" cy="621792"/>
          </a:xfrm>
          <a:prstGeom prst="rect">
            <a:avLst/>
          </a:prstGeom>
          <a:solidFill>
            <a:srgbClr val="D6F0F3"/>
          </a:solidFill>
          <a:ln w="5080">
            <a:solidFill>
              <a:srgbClr val="B2D8DE"/>
            </a:solidFill>
            <a:prstDash val="solid"/>
          </a:ln>
        </p:spPr>
        <p:txBody>
          <a:bodyPr/>
          <a:lstStyle/>
          <a:p>
            <a:endParaRPr lang="ru-RU" sz="2400" noProof="1"/>
          </a:p>
        </p:txBody>
      </p:sp>
      <p:sp>
        <p:nvSpPr>
          <p:cNvPr id="25" name="Shape 23"/>
          <p:cNvSpPr/>
          <p:nvPr/>
        </p:nvSpPr>
        <p:spPr>
          <a:xfrm>
            <a:off x="487680" y="4840224"/>
            <a:ext cx="316992" cy="316992"/>
          </a:xfrm>
          <a:prstGeom prst="rect">
            <a:avLst/>
          </a:prstGeom>
          <a:solidFill>
            <a:srgbClr val="FFFFFF"/>
          </a:solidFill>
          <a:ln w="19050">
            <a:solidFill>
              <a:srgbClr val="027A87"/>
            </a:solidFill>
            <a:prstDash val="solid"/>
          </a:ln>
        </p:spPr>
        <p:txBody>
          <a:bodyPr/>
          <a:lstStyle/>
          <a:p>
            <a:endParaRPr lang="ru-RU" sz="2400" noProof="1"/>
          </a:p>
        </p:txBody>
      </p:sp>
      <p:sp>
        <p:nvSpPr>
          <p:cNvPr id="26" name="Text 24"/>
          <p:cNvSpPr/>
          <p:nvPr/>
        </p:nvSpPr>
        <p:spPr>
          <a:xfrm>
            <a:off x="1036320" y="4693920"/>
            <a:ext cx="3901440" cy="621792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r>
              <a:rPr lang="ru-RU" sz="1467" b="1" noProof="1">
                <a:solidFill>
                  <a:srgbClr val="16303A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Слайд: семь названий методов обучения</a:t>
            </a:r>
            <a:endParaRPr lang="ru-RU" sz="1467" noProof="1"/>
          </a:p>
        </p:txBody>
      </p:sp>
      <p:sp>
        <p:nvSpPr>
          <p:cNvPr id="27" name="Text 25"/>
          <p:cNvSpPr/>
          <p:nvPr/>
        </p:nvSpPr>
        <p:spPr>
          <a:xfrm>
            <a:off x="5059680" y="4693920"/>
            <a:ext cx="6583680" cy="621792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r>
              <a:rPr lang="ru-RU" sz="1400" noProof="1">
                <a:solidFill>
                  <a:srgbClr val="3D6673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С однострочными описаниями — для задания по Карточке 3</a:t>
            </a:r>
            <a:endParaRPr lang="ru-RU" sz="1400" noProof="1"/>
          </a:p>
        </p:txBody>
      </p:sp>
      <p:sp>
        <p:nvSpPr>
          <p:cNvPr id="28" name="Shape 26"/>
          <p:cNvSpPr/>
          <p:nvPr/>
        </p:nvSpPr>
        <p:spPr>
          <a:xfrm>
            <a:off x="365760" y="5388864"/>
            <a:ext cx="11460480" cy="621792"/>
          </a:xfrm>
          <a:prstGeom prst="rect">
            <a:avLst/>
          </a:prstGeom>
          <a:solidFill>
            <a:srgbClr val="FFFFFF"/>
          </a:solidFill>
          <a:ln w="5080">
            <a:solidFill>
              <a:srgbClr val="B2D8DE"/>
            </a:solidFill>
            <a:prstDash val="solid"/>
          </a:ln>
        </p:spPr>
        <p:txBody>
          <a:bodyPr/>
          <a:lstStyle/>
          <a:p>
            <a:endParaRPr lang="ru-RU" sz="2400" noProof="1"/>
          </a:p>
        </p:txBody>
      </p:sp>
      <p:sp>
        <p:nvSpPr>
          <p:cNvPr id="29" name="Shape 27"/>
          <p:cNvSpPr/>
          <p:nvPr/>
        </p:nvSpPr>
        <p:spPr>
          <a:xfrm>
            <a:off x="487680" y="5535168"/>
            <a:ext cx="316992" cy="316992"/>
          </a:xfrm>
          <a:prstGeom prst="rect">
            <a:avLst/>
          </a:prstGeom>
          <a:solidFill>
            <a:srgbClr val="FFFFFF"/>
          </a:solidFill>
          <a:ln w="19050">
            <a:solidFill>
              <a:srgbClr val="027A87"/>
            </a:solidFill>
            <a:prstDash val="solid"/>
          </a:ln>
        </p:spPr>
        <p:txBody>
          <a:bodyPr/>
          <a:lstStyle/>
          <a:p>
            <a:endParaRPr lang="ru-RU" sz="2400" noProof="1"/>
          </a:p>
        </p:txBody>
      </p:sp>
      <p:sp>
        <p:nvSpPr>
          <p:cNvPr id="30" name="Text 28"/>
          <p:cNvSpPr/>
          <p:nvPr/>
        </p:nvSpPr>
        <p:spPr>
          <a:xfrm>
            <a:off x="1036320" y="5388864"/>
            <a:ext cx="3901440" cy="621792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r>
              <a:rPr lang="ru-RU" sz="1467" b="1" noProof="1">
                <a:solidFill>
                  <a:srgbClr val="16303A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Напоминание о парах заданий</a:t>
            </a:r>
            <a:endParaRPr lang="ru-RU" sz="1467" noProof="1"/>
          </a:p>
        </p:txBody>
      </p:sp>
      <p:sp>
        <p:nvSpPr>
          <p:cNvPr id="31" name="Text 29"/>
          <p:cNvSpPr/>
          <p:nvPr/>
        </p:nvSpPr>
        <p:spPr>
          <a:xfrm>
            <a:off x="5059680" y="5388864"/>
            <a:ext cx="6583680" cy="621792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r>
              <a:rPr lang="ru-RU" sz="1400" noProof="1">
                <a:solidFill>
                  <a:srgbClr val="3D6673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Размещено в передней части аудитории — столы знают, с каким столом они объединены для Сессии 7</a:t>
            </a:r>
            <a:endParaRPr lang="ru-RU" sz="1400" noProof="1"/>
          </a:p>
        </p:txBody>
      </p:sp>
      <p:sp>
        <p:nvSpPr>
          <p:cNvPr id="32" name="Shape 30"/>
          <p:cNvSpPr/>
          <p:nvPr/>
        </p:nvSpPr>
        <p:spPr>
          <a:xfrm>
            <a:off x="365760" y="6083808"/>
            <a:ext cx="11460480" cy="621792"/>
          </a:xfrm>
          <a:prstGeom prst="rect">
            <a:avLst/>
          </a:prstGeom>
          <a:solidFill>
            <a:srgbClr val="D6F0F3"/>
          </a:solidFill>
          <a:ln w="5080">
            <a:solidFill>
              <a:srgbClr val="B2D8DE"/>
            </a:solidFill>
            <a:prstDash val="solid"/>
          </a:ln>
        </p:spPr>
        <p:txBody>
          <a:bodyPr/>
          <a:lstStyle/>
          <a:p>
            <a:endParaRPr lang="ru-RU" sz="2400" noProof="1"/>
          </a:p>
        </p:txBody>
      </p:sp>
      <p:sp>
        <p:nvSpPr>
          <p:cNvPr id="33" name="Shape 31"/>
          <p:cNvSpPr/>
          <p:nvPr/>
        </p:nvSpPr>
        <p:spPr>
          <a:xfrm>
            <a:off x="487680" y="6230112"/>
            <a:ext cx="316992" cy="316992"/>
          </a:xfrm>
          <a:prstGeom prst="rect">
            <a:avLst/>
          </a:prstGeom>
          <a:solidFill>
            <a:srgbClr val="FFFFFF"/>
          </a:solidFill>
          <a:ln w="19050">
            <a:solidFill>
              <a:srgbClr val="027A87"/>
            </a:solidFill>
            <a:prstDash val="solid"/>
          </a:ln>
        </p:spPr>
        <p:txBody>
          <a:bodyPr/>
          <a:lstStyle/>
          <a:p>
            <a:endParaRPr lang="ru-RU" sz="2400" noProof="1"/>
          </a:p>
        </p:txBody>
      </p:sp>
      <p:sp>
        <p:nvSpPr>
          <p:cNvPr id="34" name="Text 32"/>
          <p:cNvSpPr/>
          <p:nvPr/>
        </p:nvSpPr>
        <p:spPr>
          <a:xfrm>
            <a:off x="1036320" y="6083808"/>
            <a:ext cx="3901440" cy="621792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r>
              <a:rPr lang="ru-RU" sz="1467" b="1" noProof="1">
                <a:solidFill>
                  <a:srgbClr val="16303A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Все настенные материалы Дня 1</a:t>
            </a:r>
            <a:endParaRPr lang="ru-RU" sz="1467" noProof="1"/>
          </a:p>
        </p:txBody>
      </p:sp>
      <p:sp>
        <p:nvSpPr>
          <p:cNvPr id="35" name="Text 33"/>
          <p:cNvSpPr/>
          <p:nvPr/>
        </p:nvSpPr>
        <p:spPr>
          <a:xfrm>
            <a:off x="5059680" y="6083808"/>
            <a:ext cx="6583680" cy="621792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r>
              <a:rPr lang="ru-RU" sz="1400" noProof="1">
                <a:solidFill>
                  <a:srgbClr val="3D6673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Нетронуты и видны: Карты CPD COMPASS, стикеры с пробелами, группировка по спектру</a:t>
            </a:r>
            <a:endParaRPr lang="ru-RU" sz="1400" noProof="1"/>
          </a:p>
        </p:txBody>
      </p:sp>
      <p:sp>
        <p:nvSpPr>
          <p:cNvPr id="36" name="Shape 34"/>
          <p:cNvSpPr/>
          <p:nvPr/>
        </p:nvSpPr>
        <p:spPr>
          <a:xfrm>
            <a:off x="365760" y="6803136"/>
            <a:ext cx="11460480" cy="60960"/>
          </a:xfrm>
          <a:prstGeom prst="rect">
            <a:avLst/>
          </a:prstGeom>
          <a:solidFill>
            <a:srgbClr val="E8940A"/>
          </a:solidFill>
          <a:ln w="12700">
            <a:solidFill>
              <a:srgbClr val="E8940A"/>
            </a:solidFill>
            <a:prstDash val="solid"/>
          </a:ln>
        </p:spPr>
        <p:txBody>
          <a:bodyPr/>
          <a:lstStyle/>
          <a:p>
            <a:endParaRPr lang="ru-RU" sz="2400" noProof="1"/>
          </a:p>
        </p:txBody>
      </p:sp>
    </p:spTree>
  </p:cSld>
  <p:clrMapOvr>
    <a:masterClrMapping/>
  </p:clrMapOvr>
</p:sld>
</file>

<file path=ppt/slides/slide11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720368729"/>
      </p:ext>
    </p:extLst>
  </p:cSld>
  <p:clrMapOvr>
    <a:masterClrMapping/>
  </p:clrMapOvr>
</p:sld>
</file>

<file path=ppt/slides/slide1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D39E92B-CD9D-8D78-FD42-4A5CACAEAFB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FA114BDF-B2EB-B3D8-6DBD-69CD2B2CF482}"/>
              </a:ext>
            </a:extLst>
          </p:cNvPr>
          <p:cNvSpPr/>
          <p:nvPr/>
        </p:nvSpPr>
        <p:spPr>
          <a:xfrm>
            <a:off x="552450" y="219075"/>
            <a:ext cx="1943100" cy="12287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noProof="1"/>
          </a:p>
        </p:txBody>
      </p:sp>
      <p:pic>
        <p:nvPicPr>
          <p:cNvPr id="10" name="Picture 9" descr="A blue flag with yellow stars&#10;&#10;AI-generated content may be incorrect.">
            <a:extLst>
              <a:ext uri="{FF2B5EF4-FFF2-40B4-BE49-F238E27FC236}">
                <a16:creationId xmlns:a16="http://schemas.microsoft.com/office/drawing/2014/main" id="{61C8E2BB-AECE-8611-1E7F-371146F148E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67" r="-524" b="5181"/>
          <a:stretch>
            <a:fillRect/>
          </a:stretch>
        </p:blipFill>
        <p:spPr bwMode="auto">
          <a:xfrm>
            <a:off x="10242394" y="85444"/>
            <a:ext cx="1783073" cy="1715333"/>
          </a:xfrm>
          <a:prstGeom prst="rect">
            <a:avLst/>
          </a:prstGeom>
          <a:noFill/>
        </p:spPr>
      </p:pic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4108A4E4-FA6B-FB7D-66DE-1DC3C529C485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/>
        <p:txBody>
          <a:bodyPr/>
          <a:lstStyle/>
          <a:p>
            <a:endParaRPr lang="ru-RU" noProof="1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7B818E0E-5A2A-479B-8FF7-9F155E66427C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ru-RU" noProof="1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89229980-8CB0-D0BD-37B9-EC5E080A7BD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ru-RU" noProof="1"/>
          </a:p>
        </p:txBody>
      </p:sp>
      <p:pic>
        <p:nvPicPr>
          <p:cNvPr id="12" name="Picture 11" descr="A blue text on a black background&#10;&#10;AI-generated content may be incorrect.">
            <a:extLst>
              <a:ext uri="{FF2B5EF4-FFF2-40B4-BE49-F238E27FC236}">
                <a16:creationId xmlns:a16="http://schemas.microsoft.com/office/drawing/2014/main" id="{7FD6477F-4823-8027-09E4-25705D04EE6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5293" y="89083"/>
            <a:ext cx="2030830" cy="1224303"/>
          </a:xfrm>
          <a:prstGeom prst="rect">
            <a:avLst/>
          </a:prstGeom>
          <a:noFill/>
        </p:spPr>
      </p:pic>
      <p:pic>
        <p:nvPicPr>
          <p:cNvPr id="15" name="Picture 14" descr="A logo with stars and text&#10;&#10;AI-generated content may be incorrect.">
            <a:extLst>
              <a:ext uri="{FF2B5EF4-FFF2-40B4-BE49-F238E27FC236}">
                <a16:creationId xmlns:a16="http://schemas.microsoft.com/office/drawing/2014/main" id="{CF59724B-AD56-F761-E9F5-40ABCD083952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81196" y="5210046"/>
            <a:ext cx="2111127" cy="1713490"/>
          </a:xfrm>
          <a:prstGeom prst="rect">
            <a:avLst/>
          </a:prstGeom>
        </p:spPr>
      </p:pic>
      <p:sp>
        <p:nvSpPr>
          <p:cNvPr id="2" name="TextBox 2">
            <a:extLst>
              <a:ext uri="{FF2B5EF4-FFF2-40B4-BE49-F238E27FC236}">
                <a16:creationId xmlns:a16="http://schemas.microsoft.com/office/drawing/2014/main" id="{446E0991-E374-D60F-8947-314C00477313}"/>
              </a:ext>
            </a:extLst>
          </p:cNvPr>
          <p:cNvSpPr txBox="1"/>
          <p:nvPr/>
        </p:nvSpPr>
        <p:spPr>
          <a:xfrm>
            <a:off x="176045" y="2020180"/>
            <a:ext cx="7361854" cy="3920304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>
            <a:defPPr>
              <a:defRPr lang="en-GB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ru-RU" sz="3600" b="1" kern="100" noProof="1">
                <a:solidFill>
                  <a:schemeClr val="tx1">
                    <a:lumMod val="65000"/>
                    <a:lumOff val="35000"/>
                  </a:schemeClr>
                </a:solidFill>
                <a:ea typeface="+mn-lt"/>
                <a:cs typeface="+mn-lt"/>
              </a:rPr>
              <a:t>Перерыв на кофе</a:t>
            </a:r>
            <a:endParaRPr lang="ru-RU" sz="3600" b="1" noProof="1">
              <a:solidFill>
                <a:schemeClr val="tx1">
                  <a:lumMod val="65000"/>
                  <a:lumOff val="35000"/>
                </a:schemeClr>
              </a:solidFill>
              <a:cs typeface="Arial"/>
            </a:endParaRPr>
          </a:p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ru-RU" sz="3600" b="1" kern="100" noProof="1">
                <a:solidFill>
                  <a:schemeClr val="tx1">
                    <a:lumMod val="65000"/>
                    <a:lumOff val="35000"/>
                  </a:schemeClr>
                </a:solidFill>
                <a:cs typeface="Arial"/>
              </a:rPr>
              <a:t>10:30 – 10:55 </a:t>
            </a:r>
          </a:p>
          <a:p>
            <a:pPr algn="ctr">
              <a:lnSpc>
                <a:spcPct val="107000"/>
              </a:lnSpc>
              <a:spcAft>
                <a:spcPts val="800"/>
              </a:spcAft>
            </a:pPr>
            <a:endParaRPr lang="ru-RU" sz="3600" b="1" kern="100" noProof="1">
              <a:solidFill>
                <a:schemeClr val="tx1">
                  <a:lumMod val="65000"/>
                  <a:lumOff val="35000"/>
                </a:schemeClr>
              </a:solidFill>
              <a:cs typeface="Arial"/>
            </a:endParaRPr>
          </a:p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ru-RU" sz="3600" b="1" kern="100" noProof="1">
                <a:solidFill>
                  <a:schemeClr val="tx1">
                    <a:lumMod val="65000"/>
                    <a:lumOff val="35000"/>
                  </a:schemeClr>
                </a:solidFill>
                <a:cs typeface="Arial"/>
              </a:rPr>
              <a:t>Coffee break</a:t>
            </a:r>
          </a:p>
          <a:p>
            <a:pPr algn="ctr"/>
            <a:r>
              <a:rPr lang="ru-RU" sz="3600" b="1" kern="100" noProof="1">
                <a:solidFill>
                  <a:schemeClr val="tx1">
                    <a:lumMod val="65000"/>
                    <a:lumOff val="35000"/>
                  </a:schemeClr>
                </a:solidFill>
                <a:cs typeface="Arial"/>
              </a:rPr>
              <a:t>10:30 – 10:55 </a:t>
            </a:r>
          </a:p>
          <a:p>
            <a:endParaRPr lang="ru-RU" sz="3200" b="1" noProof="1">
              <a:cs typeface="Arial" panose="020B0604020202020204"/>
            </a:endParaRPr>
          </a:p>
        </p:txBody>
      </p:sp>
    </p:spTree>
    <p:extLst>
      <p:ext uri="{BB962C8B-B14F-4D97-AF65-F5344CB8AC3E}">
        <p14:creationId xmlns:p14="http://schemas.microsoft.com/office/powerpoint/2010/main" val="118429763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49F9E8B-82DD-56CE-06A1-112F77244FF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0">
            <a:extLst>
              <a:ext uri="{FF2B5EF4-FFF2-40B4-BE49-F238E27FC236}">
                <a16:creationId xmlns:a16="http://schemas.microsoft.com/office/drawing/2014/main" id="{BD9E0047-94EF-8709-BB8C-9BA39AD7D6E7}"/>
              </a:ext>
            </a:extLst>
          </p:cNvPr>
          <p:cNvSpPr/>
          <p:nvPr/>
        </p:nvSpPr>
        <p:spPr>
          <a:xfrm>
            <a:off x="7315200" y="-487680"/>
            <a:ext cx="5120640" cy="548640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algn="r"/>
            <a:r>
              <a:rPr lang="ru-RU" sz="42666" b="1" noProof="1">
                <a:solidFill>
                  <a:srgbClr val="0092BB">
                    <a:alpha val="40000"/>
                  </a:srgbClr>
                </a:solidFill>
                <a:latin typeface="Trebuchet MS" pitchFamily="34" charset="0"/>
                <a:ea typeface="Trebuchet MS" pitchFamily="34" charset="-122"/>
                <a:cs typeface="Trebuchet MS" pitchFamily="34" charset="-120"/>
              </a:rPr>
              <a:t>06</a:t>
            </a:r>
            <a:endParaRPr lang="ru-RU" sz="42666" noProof="1"/>
          </a:p>
        </p:txBody>
      </p:sp>
      <p:sp>
        <p:nvSpPr>
          <p:cNvPr id="3" name="Shape 1">
            <a:extLst>
              <a:ext uri="{FF2B5EF4-FFF2-40B4-BE49-F238E27FC236}">
                <a16:creationId xmlns:a16="http://schemas.microsoft.com/office/drawing/2014/main" id="{28C768CD-6C0E-492B-ECEF-44DA5EDBE5A9}"/>
              </a:ext>
            </a:extLst>
          </p:cNvPr>
          <p:cNvSpPr/>
          <p:nvPr/>
        </p:nvSpPr>
        <p:spPr>
          <a:xfrm>
            <a:off x="654178" y="1289539"/>
            <a:ext cx="101727" cy="2827600"/>
          </a:xfrm>
          <a:prstGeom prst="rect">
            <a:avLst/>
          </a:prstGeom>
          <a:solidFill>
            <a:srgbClr val="FFDC00"/>
          </a:solidFill>
          <a:ln w="12700">
            <a:solidFill>
              <a:srgbClr val="FFDC00"/>
            </a:solidFill>
            <a:prstDash val="solid"/>
          </a:ln>
        </p:spPr>
        <p:txBody>
          <a:bodyPr/>
          <a:lstStyle/>
          <a:p>
            <a:endParaRPr lang="ru-RU" sz="2400" noProof="1"/>
          </a:p>
        </p:txBody>
      </p:sp>
      <p:sp>
        <p:nvSpPr>
          <p:cNvPr id="4" name="Text 2">
            <a:extLst>
              <a:ext uri="{FF2B5EF4-FFF2-40B4-BE49-F238E27FC236}">
                <a16:creationId xmlns:a16="http://schemas.microsoft.com/office/drawing/2014/main" id="{F620CED2-0AA5-E6DF-8329-3E5A15C05C4A}"/>
              </a:ext>
            </a:extLst>
          </p:cNvPr>
          <p:cNvSpPr/>
          <p:nvPr/>
        </p:nvSpPr>
        <p:spPr>
          <a:xfrm>
            <a:off x="914400" y="1975104"/>
            <a:ext cx="9144000" cy="146304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lvl="0">
              <a:defRPr/>
            </a:pPr>
            <a:r>
              <a:rPr lang="ru-RU" sz="3200" b="1" noProof="1">
                <a:solidFill>
                  <a:srgbClr val="FFFFFF"/>
                </a:solidFill>
                <a:latin typeface="Georgia" pitchFamily="34" charset="0"/>
                <a:ea typeface="Georgia" pitchFamily="34" charset="-122"/>
                <a:cs typeface="Georgia" pitchFamily="34" charset="-120"/>
              </a:rPr>
              <a:t>Совместный воркшоп по разработке</a:t>
            </a:r>
            <a:endParaRPr lang="ru-RU" sz="3200" noProof="1">
              <a:solidFill>
                <a:prstClr val="black"/>
              </a:solidFill>
            </a:endParaRPr>
          </a:p>
          <a:p>
            <a:pPr lvl="0">
              <a:defRPr/>
            </a:pPr>
            <a:r>
              <a:rPr lang="ru-RU" sz="3200" b="1" noProof="1">
                <a:solidFill>
                  <a:srgbClr val="FFFFFF"/>
                </a:solidFill>
                <a:latin typeface="Georgia" pitchFamily="34" charset="0"/>
                <a:ea typeface="Georgia" pitchFamily="34" charset="-122"/>
                <a:cs typeface="Georgia" pitchFamily="34" charset="-120"/>
              </a:rPr>
              <a:t>профессионального развития педагогов</a:t>
            </a:r>
            <a:endParaRPr lang="ru-RU" sz="3200" noProof="1">
              <a:solidFill>
                <a:prstClr val="black"/>
              </a:solidFill>
            </a:endParaRPr>
          </a:p>
        </p:txBody>
      </p:sp>
      <p:sp>
        <p:nvSpPr>
          <p:cNvPr id="5" name="Shape 3">
            <a:extLst>
              <a:ext uri="{FF2B5EF4-FFF2-40B4-BE49-F238E27FC236}">
                <a16:creationId xmlns:a16="http://schemas.microsoft.com/office/drawing/2014/main" id="{739E3D6B-049E-9BD4-D716-7B8AC5C09BD3}"/>
              </a:ext>
            </a:extLst>
          </p:cNvPr>
          <p:cNvSpPr/>
          <p:nvPr/>
        </p:nvSpPr>
        <p:spPr>
          <a:xfrm>
            <a:off x="1015537" y="3605073"/>
            <a:ext cx="3413760" cy="512064"/>
          </a:xfrm>
          <a:prstGeom prst="roundRect">
            <a:avLst>
              <a:gd name="adj" fmla="val 14286"/>
            </a:avLst>
          </a:prstGeom>
          <a:solidFill>
            <a:srgbClr val="FFDC00"/>
          </a:solidFill>
          <a:ln w="12700">
            <a:solidFill>
              <a:srgbClr val="FFDC00"/>
            </a:solidFill>
            <a:prstDash val="solid"/>
          </a:ln>
        </p:spPr>
        <p:txBody>
          <a:bodyPr/>
          <a:lstStyle/>
          <a:p>
            <a:endParaRPr lang="ru-RU" sz="2400" noProof="1"/>
          </a:p>
        </p:txBody>
      </p:sp>
      <p:sp>
        <p:nvSpPr>
          <p:cNvPr id="6" name="Text 4">
            <a:extLst>
              <a:ext uri="{FF2B5EF4-FFF2-40B4-BE49-F238E27FC236}">
                <a16:creationId xmlns:a16="http://schemas.microsoft.com/office/drawing/2014/main" id="{D34A1EC9-303A-88E5-EF1A-47F86D3220FB}"/>
              </a:ext>
            </a:extLst>
          </p:cNvPr>
          <p:cNvSpPr/>
          <p:nvPr/>
        </p:nvSpPr>
        <p:spPr>
          <a:xfrm>
            <a:off x="1015537" y="3605073"/>
            <a:ext cx="3255264" cy="512064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lvl="0" algn="ctr">
              <a:defRPr/>
            </a:pPr>
            <a:r>
              <a:rPr lang="ru-RU" sz="1867" b="1" noProof="1">
                <a:solidFill>
                  <a:schemeClr val="accent2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10:45 – 13:00  |  135 минут</a:t>
            </a:r>
            <a:endParaRPr lang="ru-RU" sz="1867" noProof="1">
              <a:solidFill>
                <a:schemeClr val="accent2"/>
              </a:solidFill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85CF889E-E08B-ED25-14F7-D27F71D990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14401" y="1351580"/>
            <a:ext cx="10944225" cy="1080120"/>
          </a:xfrm>
        </p:spPr>
        <p:txBody>
          <a:bodyPr/>
          <a:lstStyle/>
          <a:p>
            <a:pPr algn="l"/>
            <a:r>
              <a:rPr lang="ru-RU" sz="3200" noProof="1">
                <a:solidFill>
                  <a:schemeClr val="accent4"/>
                </a:solidFill>
                <a:latin typeface="Arial" panose="020B0604020202020204" pitchFamily="34" charset="0"/>
                <a:ea typeface="Georgia" pitchFamily="34" charset="-122"/>
              </a:rPr>
              <a:t>Сессия 6</a:t>
            </a:r>
            <a:endParaRPr lang="ru-RU" b="1" noProof="1">
              <a:solidFill>
                <a:schemeClr val="accent4"/>
              </a:solidFill>
              <a:latin typeface="Arial" panose="020B0604020202020204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982144D5-AC4B-46AE-2048-C8D8E6B648D8}"/>
              </a:ext>
            </a:extLst>
          </p:cNvPr>
          <p:cNvSpPr txBox="1"/>
          <p:nvPr/>
        </p:nvSpPr>
        <p:spPr>
          <a:xfrm>
            <a:off x="914401" y="4444724"/>
            <a:ext cx="427555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ru-RU" sz="1400" i="1" noProof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6882024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1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5E7B9DE2-A005-E0E0-76C5-8A16F12A45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6304" y="144272"/>
            <a:ext cx="7815651" cy="1080120"/>
          </a:xfrm>
        </p:spPr>
        <p:txBody>
          <a:bodyPr/>
          <a:lstStyle/>
          <a:p>
            <a:r>
              <a:rPr lang="ru-RU" noProof="1"/>
              <a:t>СЕССИЯ 6  |  ОБЗОР</a:t>
            </a:r>
          </a:p>
        </p:txBody>
      </p:sp>
      <p:sp>
        <p:nvSpPr>
          <p:cNvPr id="5" name="Text 2">
            <a:extLst>
              <a:ext uri="{FF2B5EF4-FFF2-40B4-BE49-F238E27FC236}">
                <a16:creationId xmlns:a16="http://schemas.microsoft.com/office/drawing/2014/main" id="{9A089891-56CE-31DB-F0F7-81762A12F060}"/>
              </a:ext>
            </a:extLst>
          </p:cNvPr>
          <p:cNvSpPr/>
          <p:nvPr/>
        </p:nvSpPr>
        <p:spPr>
          <a:xfrm>
            <a:off x="365760" y="1016000"/>
            <a:ext cx="1950720" cy="42672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333" b="1" kern="0" spc="133" noProof="1">
                <a:solidFill>
                  <a:schemeClr val="bg1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ВРЕМЯ</a:t>
            </a:r>
            <a:endParaRPr lang="ru-RU" sz="1333" noProof="1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Text 3">
            <a:extLst>
              <a:ext uri="{FF2B5EF4-FFF2-40B4-BE49-F238E27FC236}">
                <a16:creationId xmlns:a16="http://schemas.microsoft.com/office/drawing/2014/main" id="{D9307B96-22C8-E33C-8C34-085889561D9C}"/>
              </a:ext>
            </a:extLst>
          </p:cNvPr>
          <p:cNvSpPr/>
          <p:nvPr/>
        </p:nvSpPr>
        <p:spPr>
          <a:xfrm>
            <a:off x="2777067" y="1016000"/>
            <a:ext cx="6732693" cy="42672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333" b="1" kern="0" spc="133" noProof="1">
                <a:solidFill>
                  <a:schemeClr val="bg1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АКТИВНОСТЬ</a:t>
            </a:r>
            <a:endParaRPr lang="ru-RU" sz="1333" noProof="1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Text 4">
            <a:extLst>
              <a:ext uri="{FF2B5EF4-FFF2-40B4-BE49-F238E27FC236}">
                <a16:creationId xmlns:a16="http://schemas.microsoft.com/office/drawing/2014/main" id="{2CC82D21-4B3B-D3ED-0D95-F242A5346CC9}"/>
              </a:ext>
            </a:extLst>
          </p:cNvPr>
          <p:cNvSpPr/>
          <p:nvPr/>
        </p:nvSpPr>
        <p:spPr>
          <a:xfrm>
            <a:off x="9753600" y="1016000"/>
            <a:ext cx="2072640" cy="42672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333" b="1" kern="0" spc="133" noProof="1">
                <a:solidFill>
                  <a:schemeClr val="bg1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ФОРМАТ</a:t>
            </a:r>
            <a:endParaRPr lang="ru-RU" sz="1333" noProof="1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Shape 5">
            <a:extLst>
              <a:ext uri="{FF2B5EF4-FFF2-40B4-BE49-F238E27FC236}">
                <a16:creationId xmlns:a16="http://schemas.microsoft.com/office/drawing/2014/main" id="{3BCA466F-E398-13E1-A118-346DD2E2A3B8}"/>
              </a:ext>
            </a:extLst>
          </p:cNvPr>
          <p:cNvSpPr/>
          <p:nvPr/>
        </p:nvSpPr>
        <p:spPr>
          <a:xfrm>
            <a:off x="426720" y="1503680"/>
            <a:ext cx="11582400" cy="633984"/>
          </a:xfrm>
          <a:prstGeom prst="rect">
            <a:avLst/>
          </a:prstGeom>
          <a:solidFill>
            <a:srgbClr val="FFFFFF"/>
          </a:solidFill>
          <a:ln w="5080">
            <a:solidFill>
              <a:srgbClr val="B2D8DE"/>
            </a:solidFill>
            <a:prstDash val="solid"/>
          </a:ln>
        </p:spPr>
        <p:txBody>
          <a:bodyPr/>
          <a:lstStyle/>
          <a:p>
            <a:pPr defTabSz="1219170">
              <a:defRPr/>
            </a:pPr>
            <a:endParaRPr lang="ru-RU" sz="1467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Text 6">
            <a:extLst>
              <a:ext uri="{FF2B5EF4-FFF2-40B4-BE49-F238E27FC236}">
                <a16:creationId xmlns:a16="http://schemas.microsoft.com/office/drawing/2014/main" id="{549F5EB5-2C58-9D4D-50E6-C7A3628729EE}"/>
              </a:ext>
            </a:extLst>
          </p:cNvPr>
          <p:cNvSpPr/>
          <p:nvPr/>
        </p:nvSpPr>
        <p:spPr>
          <a:xfrm>
            <a:off x="487680" y="1564640"/>
            <a:ext cx="1950720" cy="54864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600" b="1" noProof="1">
                <a:solidFill>
                  <a:srgbClr val="027A87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10:45 – 10:49</a:t>
            </a:r>
            <a:endParaRPr lang="ru-RU" sz="16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Text 7">
            <a:extLst>
              <a:ext uri="{FF2B5EF4-FFF2-40B4-BE49-F238E27FC236}">
                <a16:creationId xmlns:a16="http://schemas.microsoft.com/office/drawing/2014/main" id="{A57DBDAF-146D-E912-2169-9F1541EB8904}"/>
              </a:ext>
            </a:extLst>
          </p:cNvPr>
          <p:cNvSpPr/>
          <p:nvPr/>
        </p:nvSpPr>
        <p:spPr>
          <a:xfrm>
            <a:off x="2682240" y="1564640"/>
            <a:ext cx="6949440" cy="54864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600" noProof="1">
                <a:solidFill>
                  <a:srgbClr val="16303A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Мета-момент — демонстрация семи карточек, использованных для разработки этой сессии</a:t>
            </a:r>
            <a:endParaRPr lang="ru-RU" sz="16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Text 8">
            <a:extLst>
              <a:ext uri="{FF2B5EF4-FFF2-40B4-BE49-F238E27FC236}">
                <a16:creationId xmlns:a16="http://schemas.microsoft.com/office/drawing/2014/main" id="{B42A5881-014D-AB5C-8905-72E076B6AB38}"/>
              </a:ext>
            </a:extLst>
          </p:cNvPr>
          <p:cNvSpPr/>
          <p:nvPr/>
        </p:nvSpPr>
        <p:spPr>
          <a:xfrm>
            <a:off x="9753600" y="1564640"/>
            <a:ext cx="2194560" cy="54864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600" noProof="1">
                <a:solidFill>
                  <a:srgbClr val="3D6673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Пленарное заседание</a:t>
            </a:r>
            <a:endParaRPr lang="ru-RU" sz="16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Shape 9">
            <a:extLst>
              <a:ext uri="{FF2B5EF4-FFF2-40B4-BE49-F238E27FC236}">
                <a16:creationId xmlns:a16="http://schemas.microsoft.com/office/drawing/2014/main" id="{27B43ABD-F751-7D22-CCAE-5F9B9F1F635C}"/>
              </a:ext>
            </a:extLst>
          </p:cNvPr>
          <p:cNvSpPr/>
          <p:nvPr/>
        </p:nvSpPr>
        <p:spPr>
          <a:xfrm>
            <a:off x="426720" y="2198624"/>
            <a:ext cx="11582400" cy="633984"/>
          </a:xfrm>
          <a:prstGeom prst="rect">
            <a:avLst/>
          </a:prstGeom>
          <a:solidFill>
            <a:srgbClr val="D6F0F3"/>
          </a:solidFill>
          <a:ln w="5080">
            <a:solidFill>
              <a:srgbClr val="B2D8DE"/>
            </a:solidFill>
            <a:prstDash val="solid"/>
          </a:ln>
        </p:spPr>
        <p:txBody>
          <a:bodyPr/>
          <a:lstStyle/>
          <a:p>
            <a:pPr defTabSz="1219170">
              <a:defRPr/>
            </a:pPr>
            <a:endParaRPr lang="ru-RU" sz="1467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Text 10">
            <a:extLst>
              <a:ext uri="{FF2B5EF4-FFF2-40B4-BE49-F238E27FC236}">
                <a16:creationId xmlns:a16="http://schemas.microsoft.com/office/drawing/2014/main" id="{81AC8E04-2EC5-F33E-09ED-7EF2126FDFE2}"/>
              </a:ext>
            </a:extLst>
          </p:cNvPr>
          <p:cNvSpPr/>
          <p:nvPr/>
        </p:nvSpPr>
        <p:spPr>
          <a:xfrm>
            <a:off x="487680" y="2259584"/>
            <a:ext cx="1950720" cy="54864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600" b="1" noProof="1">
                <a:solidFill>
                  <a:srgbClr val="027A87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10:49 – 10:55</a:t>
            </a:r>
            <a:endParaRPr lang="ru-RU" sz="16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Text 11">
            <a:extLst>
              <a:ext uri="{FF2B5EF4-FFF2-40B4-BE49-F238E27FC236}">
                <a16:creationId xmlns:a16="http://schemas.microsoft.com/office/drawing/2014/main" id="{8FAE1677-572C-86D1-03B4-F01B7BAB011A}"/>
              </a:ext>
            </a:extLst>
          </p:cNvPr>
          <p:cNvSpPr/>
          <p:nvPr/>
        </p:nvSpPr>
        <p:spPr>
          <a:xfrm>
            <a:off x="2682240" y="2259584"/>
            <a:ext cx="6949440" cy="54864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600" noProof="1">
                <a:solidFill>
                  <a:srgbClr val="16303A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Карточки задания — установление контекста разработки</a:t>
            </a:r>
            <a:endParaRPr lang="ru-RU" sz="16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Text 12">
            <a:extLst>
              <a:ext uri="{FF2B5EF4-FFF2-40B4-BE49-F238E27FC236}">
                <a16:creationId xmlns:a16="http://schemas.microsoft.com/office/drawing/2014/main" id="{FDBBCB93-CB55-FA3E-043D-12B58D8CAA6C}"/>
              </a:ext>
            </a:extLst>
          </p:cNvPr>
          <p:cNvSpPr/>
          <p:nvPr/>
        </p:nvSpPr>
        <p:spPr>
          <a:xfrm>
            <a:off x="9753600" y="2259584"/>
            <a:ext cx="2194560" cy="54864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600" noProof="1">
                <a:solidFill>
                  <a:srgbClr val="3D6673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Группы за столами</a:t>
            </a:r>
            <a:endParaRPr lang="ru-RU" sz="16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Shape 13">
            <a:extLst>
              <a:ext uri="{FF2B5EF4-FFF2-40B4-BE49-F238E27FC236}">
                <a16:creationId xmlns:a16="http://schemas.microsoft.com/office/drawing/2014/main" id="{E41746D4-CBE8-18A7-09B8-2756F9F30F6F}"/>
              </a:ext>
            </a:extLst>
          </p:cNvPr>
          <p:cNvSpPr/>
          <p:nvPr/>
        </p:nvSpPr>
        <p:spPr>
          <a:xfrm>
            <a:off x="426720" y="2893568"/>
            <a:ext cx="11582400" cy="633984"/>
          </a:xfrm>
          <a:prstGeom prst="rect">
            <a:avLst/>
          </a:prstGeom>
          <a:solidFill>
            <a:srgbClr val="FFFFFF"/>
          </a:solidFill>
          <a:ln w="5080">
            <a:solidFill>
              <a:srgbClr val="B2D8DE"/>
            </a:solidFill>
            <a:prstDash val="solid"/>
          </a:ln>
        </p:spPr>
        <p:txBody>
          <a:bodyPr/>
          <a:lstStyle/>
          <a:p>
            <a:pPr defTabSz="1219170">
              <a:defRPr/>
            </a:pPr>
            <a:endParaRPr lang="ru-RU" sz="1467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Text 14">
            <a:extLst>
              <a:ext uri="{FF2B5EF4-FFF2-40B4-BE49-F238E27FC236}">
                <a16:creationId xmlns:a16="http://schemas.microsoft.com/office/drawing/2014/main" id="{3DDF8D2B-C01C-D600-0126-BC910A0001A0}"/>
              </a:ext>
            </a:extLst>
          </p:cNvPr>
          <p:cNvSpPr/>
          <p:nvPr/>
        </p:nvSpPr>
        <p:spPr>
          <a:xfrm>
            <a:off x="487680" y="2954528"/>
            <a:ext cx="1950720" cy="54864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600" b="1" noProof="1">
                <a:solidFill>
                  <a:srgbClr val="027A87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10:55 – 11:55</a:t>
            </a:r>
            <a:endParaRPr lang="ru-RU" sz="16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Text 15">
            <a:extLst>
              <a:ext uri="{FF2B5EF4-FFF2-40B4-BE49-F238E27FC236}">
                <a16:creationId xmlns:a16="http://schemas.microsoft.com/office/drawing/2014/main" id="{CD548661-5C81-8B5C-F578-4355C4825D6A}"/>
              </a:ext>
            </a:extLst>
          </p:cNvPr>
          <p:cNvSpPr/>
          <p:nvPr/>
        </p:nvSpPr>
        <p:spPr>
          <a:xfrm>
            <a:off x="2682240" y="2954528"/>
            <a:ext cx="6949440" cy="54864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600" noProof="1">
                <a:solidFill>
                  <a:srgbClr val="16303A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Карточки планирования 4, 5, 6 и 7 — завершение дизайна (с визитами тренеров по разработке)</a:t>
            </a:r>
            <a:endParaRPr lang="ru-RU" sz="16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Text 16">
            <a:extLst>
              <a:ext uri="{FF2B5EF4-FFF2-40B4-BE49-F238E27FC236}">
                <a16:creationId xmlns:a16="http://schemas.microsoft.com/office/drawing/2014/main" id="{C8C4365B-993C-691F-2AFC-8BF8BE35F947}"/>
              </a:ext>
            </a:extLst>
          </p:cNvPr>
          <p:cNvSpPr/>
          <p:nvPr/>
        </p:nvSpPr>
        <p:spPr>
          <a:xfrm>
            <a:off x="9753600" y="2954528"/>
            <a:ext cx="2194560" cy="54864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600" noProof="1">
                <a:solidFill>
                  <a:srgbClr val="3D6673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Группы за столами</a:t>
            </a:r>
            <a:endParaRPr lang="ru-RU" sz="16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" name="Shape 17">
            <a:extLst>
              <a:ext uri="{FF2B5EF4-FFF2-40B4-BE49-F238E27FC236}">
                <a16:creationId xmlns:a16="http://schemas.microsoft.com/office/drawing/2014/main" id="{CF9A5A43-8BC7-168B-EDCC-5C3A7A82915D}"/>
              </a:ext>
            </a:extLst>
          </p:cNvPr>
          <p:cNvSpPr/>
          <p:nvPr/>
        </p:nvSpPr>
        <p:spPr>
          <a:xfrm>
            <a:off x="426720" y="3588512"/>
            <a:ext cx="11582400" cy="633984"/>
          </a:xfrm>
          <a:prstGeom prst="rect">
            <a:avLst/>
          </a:prstGeom>
          <a:solidFill>
            <a:srgbClr val="D6F0F3"/>
          </a:solidFill>
          <a:ln w="5080">
            <a:solidFill>
              <a:srgbClr val="B2D8DE"/>
            </a:solidFill>
            <a:prstDash val="solid"/>
          </a:ln>
        </p:spPr>
        <p:txBody>
          <a:bodyPr/>
          <a:lstStyle/>
          <a:p>
            <a:pPr defTabSz="1219170">
              <a:defRPr/>
            </a:pPr>
            <a:endParaRPr lang="ru-RU" sz="1467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" name="Text 18">
            <a:extLst>
              <a:ext uri="{FF2B5EF4-FFF2-40B4-BE49-F238E27FC236}">
                <a16:creationId xmlns:a16="http://schemas.microsoft.com/office/drawing/2014/main" id="{B9BDA012-C855-601A-565E-20C7F95A96D8}"/>
              </a:ext>
            </a:extLst>
          </p:cNvPr>
          <p:cNvSpPr/>
          <p:nvPr/>
        </p:nvSpPr>
        <p:spPr>
          <a:xfrm>
            <a:off x="487680" y="3649472"/>
            <a:ext cx="1950720" cy="54864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600" b="1" noProof="1">
                <a:solidFill>
                  <a:srgbClr val="027A87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~11:30</a:t>
            </a:r>
            <a:endParaRPr lang="ru-RU" sz="16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2" name="Text 19">
            <a:extLst>
              <a:ext uri="{FF2B5EF4-FFF2-40B4-BE49-F238E27FC236}">
                <a16:creationId xmlns:a16="http://schemas.microsoft.com/office/drawing/2014/main" id="{4D82D386-E1D6-1109-0F02-4635E03A29D9}"/>
              </a:ext>
            </a:extLst>
          </p:cNvPr>
          <p:cNvSpPr/>
          <p:nvPr/>
        </p:nvSpPr>
        <p:spPr>
          <a:xfrm>
            <a:off x="2682240" y="3649472"/>
            <a:ext cx="6949440" cy="54864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600" noProof="1">
                <a:solidFill>
                  <a:srgbClr val="16303A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Вопрос-испытание середины сессии — размещается на карточке 5</a:t>
            </a:r>
            <a:endParaRPr lang="ru-RU" sz="16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3" name="Text 20">
            <a:extLst>
              <a:ext uri="{FF2B5EF4-FFF2-40B4-BE49-F238E27FC236}">
                <a16:creationId xmlns:a16="http://schemas.microsoft.com/office/drawing/2014/main" id="{050DD735-778E-4D06-F665-629E4F6FA28E}"/>
              </a:ext>
            </a:extLst>
          </p:cNvPr>
          <p:cNvSpPr/>
          <p:nvPr/>
        </p:nvSpPr>
        <p:spPr>
          <a:xfrm>
            <a:off x="9753600" y="3649472"/>
            <a:ext cx="2194560" cy="54864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600" noProof="1">
                <a:solidFill>
                  <a:srgbClr val="3D6673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Все столы (пауза)</a:t>
            </a:r>
            <a:endParaRPr lang="ru-RU" sz="16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4" name="Shape 21">
            <a:extLst>
              <a:ext uri="{FF2B5EF4-FFF2-40B4-BE49-F238E27FC236}">
                <a16:creationId xmlns:a16="http://schemas.microsoft.com/office/drawing/2014/main" id="{3D34470C-6BDF-0411-A2EF-4AE223ACC966}"/>
              </a:ext>
            </a:extLst>
          </p:cNvPr>
          <p:cNvSpPr/>
          <p:nvPr/>
        </p:nvSpPr>
        <p:spPr>
          <a:xfrm>
            <a:off x="426720" y="4283456"/>
            <a:ext cx="11582400" cy="633984"/>
          </a:xfrm>
          <a:prstGeom prst="rect">
            <a:avLst/>
          </a:prstGeom>
          <a:solidFill>
            <a:srgbClr val="FFFFFF"/>
          </a:solidFill>
          <a:ln w="5080">
            <a:solidFill>
              <a:srgbClr val="B2D8DE"/>
            </a:solidFill>
            <a:prstDash val="solid"/>
          </a:ln>
        </p:spPr>
        <p:txBody>
          <a:bodyPr/>
          <a:lstStyle/>
          <a:p>
            <a:pPr defTabSz="1219170">
              <a:defRPr/>
            </a:pPr>
            <a:endParaRPr lang="ru-RU" sz="1467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5" name="Text 22">
            <a:extLst>
              <a:ext uri="{FF2B5EF4-FFF2-40B4-BE49-F238E27FC236}">
                <a16:creationId xmlns:a16="http://schemas.microsoft.com/office/drawing/2014/main" id="{46370164-9326-5F13-F5B8-A76A33ABC7C2}"/>
              </a:ext>
            </a:extLst>
          </p:cNvPr>
          <p:cNvSpPr/>
          <p:nvPr/>
        </p:nvSpPr>
        <p:spPr>
          <a:xfrm>
            <a:off x="487680" y="4344416"/>
            <a:ext cx="1950720" cy="54864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600" b="1" noProof="1">
                <a:solidFill>
                  <a:srgbClr val="027A87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11:55 – 12:30</a:t>
            </a:r>
            <a:endParaRPr lang="ru-RU" sz="16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6" name="Text 23">
            <a:extLst>
              <a:ext uri="{FF2B5EF4-FFF2-40B4-BE49-F238E27FC236}">
                <a16:creationId xmlns:a16="http://schemas.microsoft.com/office/drawing/2014/main" id="{C8E0A549-DF6F-B20A-3D10-70BD38D36BDF}"/>
              </a:ext>
            </a:extLst>
          </p:cNvPr>
          <p:cNvSpPr/>
          <p:nvPr/>
        </p:nvSpPr>
        <p:spPr>
          <a:xfrm>
            <a:off x="2682240" y="4344416"/>
            <a:ext cx="6949440" cy="54864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600" noProof="1">
                <a:solidFill>
                  <a:srgbClr val="16303A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Консолидация дизайна (20 мин) и подготовка к показу (15 мин)</a:t>
            </a:r>
            <a:endParaRPr lang="ru-RU" sz="16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7" name="Text 24">
            <a:extLst>
              <a:ext uri="{FF2B5EF4-FFF2-40B4-BE49-F238E27FC236}">
                <a16:creationId xmlns:a16="http://schemas.microsoft.com/office/drawing/2014/main" id="{81C9C730-C518-AE06-82B0-28BEE1C392F0}"/>
              </a:ext>
            </a:extLst>
          </p:cNvPr>
          <p:cNvSpPr/>
          <p:nvPr/>
        </p:nvSpPr>
        <p:spPr>
          <a:xfrm>
            <a:off x="9753600" y="4344416"/>
            <a:ext cx="2194560" cy="54864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600" noProof="1">
                <a:solidFill>
                  <a:srgbClr val="3D6673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Группы за столами</a:t>
            </a:r>
            <a:endParaRPr lang="ru-RU" sz="16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8" name="Shape 25">
            <a:extLst>
              <a:ext uri="{FF2B5EF4-FFF2-40B4-BE49-F238E27FC236}">
                <a16:creationId xmlns:a16="http://schemas.microsoft.com/office/drawing/2014/main" id="{C5A5E342-1C56-AF07-118A-40F22A17757C}"/>
              </a:ext>
            </a:extLst>
          </p:cNvPr>
          <p:cNvSpPr/>
          <p:nvPr/>
        </p:nvSpPr>
        <p:spPr>
          <a:xfrm>
            <a:off x="426720" y="4978400"/>
            <a:ext cx="11582400" cy="633984"/>
          </a:xfrm>
          <a:prstGeom prst="rect">
            <a:avLst/>
          </a:prstGeom>
          <a:solidFill>
            <a:srgbClr val="D6F0F3"/>
          </a:solidFill>
          <a:ln w="5080">
            <a:solidFill>
              <a:srgbClr val="B2D8DE"/>
            </a:solidFill>
            <a:prstDash val="solid"/>
          </a:ln>
        </p:spPr>
        <p:txBody>
          <a:bodyPr/>
          <a:lstStyle/>
          <a:p>
            <a:pPr defTabSz="1219170">
              <a:defRPr/>
            </a:pPr>
            <a:endParaRPr lang="ru-RU" sz="1467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9" name="Text 26">
            <a:extLst>
              <a:ext uri="{FF2B5EF4-FFF2-40B4-BE49-F238E27FC236}">
                <a16:creationId xmlns:a16="http://schemas.microsoft.com/office/drawing/2014/main" id="{75247DB0-4FDC-5232-4A37-AA06DF416A90}"/>
              </a:ext>
            </a:extLst>
          </p:cNvPr>
          <p:cNvSpPr/>
          <p:nvPr/>
        </p:nvSpPr>
        <p:spPr>
          <a:xfrm>
            <a:off x="487680" y="5039360"/>
            <a:ext cx="1950720" cy="54864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600" b="1" noProof="1">
                <a:solidFill>
                  <a:srgbClr val="027A87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12:30 – 12:45</a:t>
            </a:r>
            <a:endParaRPr lang="ru-RU" sz="16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0" name="Text 27">
            <a:extLst>
              <a:ext uri="{FF2B5EF4-FFF2-40B4-BE49-F238E27FC236}">
                <a16:creationId xmlns:a16="http://schemas.microsoft.com/office/drawing/2014/main" id="{03DB370B-2608-7544-E475-6F5F252ABB74}"/>
              </a:ext>
            </a:extLst>
          </p:cNvPr>
          <p:cNvSpPr/>
          <p:nvPr/>
        </p:nvSpPr>
        <p:spPr>
          <a:xfrm>
            <a:off x="2682240" y="5039360"/>
            <a:ext cx="6949440" cy="54864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600" noProof="1">
                <a:solidFill>
                  <a:srgbClr val="16303A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Индивидуальная рефлексия — три предложения</a:t>
            </a:r>
            <a:endParaRPr lang="ru-RU" sz="16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1" name="Text 28">
            <a:extLst>
              <a:ext uri="{FF2B5EF4-FFF2-40B4-BE49-F238E27FC236}">
                <a16:creationId xmlns:a16="http://schemas.microsoft.com/office/drawing/2014/main" id="{9D5DD3AA-64FA-DD3D-5EF0-5CB38ECA996D}"/>
              </a:ext>
            </a:extLst>
          </p:cNvPr>
          <p:cNvSpPr/>
          <p:nvPr/>
        </p:nvSpPr>
        <p:spPr>
          <a:xfrm>
            <a:off x="9753600" y="5039360"/>
            <a:ext cx="2194560" cy="54864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600" noProof="1">
                <a:solidFill>
                  <a:srgbClr val="3D6673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Индивидуально</a:t>
            </a:r>
            <a:endParaRPr lang="ru-RU" sz="16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2" name="Shape 29">
            <a:extLst>
              <a:ext uri="{FF2B5EF4-FFF2-40B4-BE49-F238E27FC236}">
                <a16:creationId xmlns:a16="http://schemas.microsoft.com/office/drawing/2014/main" id="{ADB192C8-D7FC-8463-E277-4E838D5EEC34}"/>
              </a:ext>
            </a:extLst>
          </p:cNvPr>
          <p:cNvSpPr/>
          <p:nvPr/>
        </p:nvSpPr>
        <p:spPr>
          <a:xfrm>
            <a:off x="426720" y="5673344"/>
            <a:ext cx="11582400" cy="633984"/>
          </a:xfrm>
          <a:prstGeom prst="rect">
            <a:avLst/>
          </a:prstGeom>
          <a:solidFill>
            <a:srgbClr val="FFFFFF"/>
          </a:solidFill>
          <a:ln w="5080">
            <a:solidFill>
              <a:srgbClr val="B2D8DE"/>
            </a:solidFill>
            <a:prstDash val="solid"/>
          </a:ln>
        </p:spPr>
        <p:txBody>
          <a:bodyPr/>
          <a:lstStyle/>
          <a:p>
            <a:pPr defTabSz="1219170">
              <a:defRPr/>
            </a:pPr>
            <a:endParaRPr lang="ru-RU" sz="1467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3" name="Text 30">
            <a:extLst>
              <a:ext uri="{FF2B5EF4-FFF2-40B4-BE49-F238E27FC236}">
                <a16:creationId xmlns:a16="http://schemas.microsoft.com/office/drawing/2014/main" id="{C673D0E8-077C-EF01-B7C6-F61E268673E4}"/>
              </a:ext>
            </a:extLst>
          </p:cNvPr>
          <p:cNvSpPr/>
          <p:nvPr/>
        </p:nvSpPr>
        <p:spPr>
          <a:xfrm>
            <a:off x="487680" y="5734304"/>
            <a:ext cx="1950720" cy="54864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600" b="1" noProof="1">
                <a:solidFill>
                  <a:srgbClr val="027A87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12:45 – 13:00</a:t>
            </a:r>
            <a:endParaRPr lang="ru-RU" sz="16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4" name="Text 31">
            <a:extLst>
              <a:ext uri="{FF2B5EF4-FFF2-40B4-BE49-F238E27FC236}">
                <a16:creationId xmlns:a16="http://schemas.microsoft.com/office/drawing/2014/main" id="{76CE3533-AEC7-B71B-974D-9458648486E5}"/>
              </a:ext>
            </a:extLst>
          </p:cNvPr>
          <p:cNvSpPr/>
          <p:nvPr/>
        </p:nvSpPr>
        <p:spPr>
          <a:xfrm>
            <a:off x="2682240" y="5734304"/>
            <a:ext cx="6949440" cy="54864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600" noProof="1">
                <a:solidFill>
                  <a:srgbClr val="16303A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Заключительное слово фасилитатора и переход к обеду</a:t>
            </a:r>
            <a:endParaRPr lang="ru-RU" sz="16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5" name="Text 32">
            <a:extLst>
              <a:ext uri="{FF2B5EF4-FFF2-40B4-BE49-F238E27FC236}">
                <a16:creationId xmlns:a16="http://schemas.microsoft.com/office/drawing/2014/main" id="{0378C114-B639-B3AE-8FC2-435C0AFA7DA7}"/>
              </a:ext>
            </a:extLst>
          </p:cNvPr>
          <p:cNvSpPr/>
          <p:nvPr/>
        </p:nvSpPr>
        <p:spPr>
          <a:xfrm>
            <a:off x="9753600" y="5734304"/>
            <a:ext cx="2194560" cy="54864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600" noProof="1">
                <a:solidFill>
                  <a:srgbClr val="3D6673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Пленарное заседание</a:t>
            </a:r>
            <a:endParaRPr lang="ru-RU" sz="16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7771613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EFC1844-6E60-C752-97B3-BC4CAAC71CA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noProof="1">
                <a:latin typeface="Arial" panose="020B0604020202020204" pitchFamily="34" charset="0"/>
              </a:rPr>
              <a:t>SCAFFOLD в действии</a:t>
            </a:r>
          </a:p>
        </p:txBody>
      </p:sp>
      <p:sp>
        <p:nvSpPr>
          <p:cNvPr id="3" name="Shape 2">
            <a:extLst>
              <a:ext uri="{FF2B5EF4-FFF2-40B4-BE49-F238E27FC236}">
                <a16:creationId xmlns:a16="http://schemas.microsoft.com/office/drawing/2014/main" id="{B4718EC8-74A3-E695-D05E-D41516E3AAED}"/>
              </a:ext>
            </a:extLst>
          </p:cNvPr>
          <p:cNvSpPr/>
          <p:nvPr/>
        </p:nvSpPr>
        <p:spPr>
          <a:xfrm>
            <a:off x="609600" y="1424367"/>
            <a:ext cx="10972800" cy="3169920"/>
          </a:xfrm>
          <a:prstGeom prst="rect">
            <a:avLst/>
          </a:prstGeom>
          <a:solidFill>
            <a:schemeClr val="bg1"/>
          </a:solidFill>
          <a:ln w="19050">
            <a:noFill/>
            <a:prstDash val="solid"/>
          </a:ln>
          <a:effectLst>
            <a:outerShdw blurRad="76200" dist="38100" dir="8100000" algn="bl" rotWithShape="0">
              <a:srgbClr val="000000">
                <a:alpha val="10000"/>
              </a:srgbClr>
            </a:outerShdw>
          </a:effectLst>
        </p:spPr>
        <p:txBody>
          <a:bodyPr/>
          <a:lstStyle/>
          <a:p>
            <a:endParaRPr lang="ru-RU" sz="2400" noProof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Shape 3">
            <a:extLst>
              <a:ext uri="{FF2B5EF4-FFF2-40B4-BE49-F238E27FC236}">
                <a16:creationId xmlns:a16="http://schemas.microsoft.com/office/drawing/2014/main" id="{BE15FC4F-C408-E517-42DA-8C35750C2279}"/>
              </a:ext>
            </a:extLst>
          </p:cNvPr>
          <p:cNvSpPr/>
          <p:nvPr/>
        </p:nvSpPr>
        <p:spPr>
          <a:xfrm>
            <a:off x="609600" y="1424367"/>
            <a:ext cx="121920" cy="3169920"/>
          </a:xfrm>
          <a:prstGeom prst="rect">
            <a:avLst/>
          </a:prstGeom>
          <a:solidFill>
            <a:schemeClr val="accent4"/>
          </a:solidFill>
          <a:ln w="12700">
            <a:noFill/>
            <a:prstDash val="solid"/>
          </a:ln>
        </p:spPr>
        <p:txBody>
          <a:bodyPr/>
          <a:lstStyle/>
          <a:p>
            <a:endParaRPr lang="ru-RU" sz="2400" noProof="1">
              <a:solidFill>
                <a:schemeClr val="accent4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Text 4">
            <a:extLst>
              <a:ext uri="{FF2B5EF4-FFF2-40B4-BE49-F238E27FC236}">
                <a16:creationId xmlns:a16="http://schemas.microsoft.com/office/drawing/2014/main" id="{F91B3085-1E63-700D-7BB9-0A31A25063E6}"/>
              </a:ext>
            </a:extLst>
          </p:cNvPr>
          <p:cNvSpPr/>
          <p:nvPr/>
        </p:nvSpPr>
        <p:spPr>
          <a:xfrm>
            <a:off x="1036320" y="1607247"/>
            <a:ext cx="10119360" cy="792480"/>
          </a:xfrm>
          <a:prstGeom prst="rect">
            <a:avLst/>
          </a:prstGeom>
          <a:noFill/>
          <a:ln/>
        </p:spPr>
        <p:txBody>
          <a:bodyPr wrap="square" rtlCol="0" anchor="t"/>
          <a:lstStyle/>
          <a:p>
            <a:r>
              <a:rPr lang="ru-RU" sz="2133" b="1" noProof="1">
                <a:solidFill>
                  <a:srgbClr val="16303A"/>
                </a:solidFill>
                <a:latin typeface="Arial" panose="020B0604020202020204" pitchFamily="34" charset="0"/>
                <a:ea typeface="Georgia" pitchFamily="34" charset="-122"/>
                <a:cs typeface="Arial" panose="020B0604020202020204" pitchFamily="34" charset="0"/>
              </a:rPr>
              <a:t>В ходе этой сессии фасилитаторы будут сообщать вам, какие карточки SCAFFOLD они используют и почему.</a:t>
            </a:r>
            <a:endParaRPr lang="ru-RU" sz="2133" noProof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Text 5">
            <a:extLst>
              <a:ext uri="{FF2B5EF4-FFF2-40B4-BE49-F238E27FC236}">
                <a16:creationId xmlns:a16="http://schemas.microsoft.com/office/drawing/2014/main" id="{55C16804-FA1E-09B5-C074-F7B2A8A32CD6}"/>
              </a:ext>
            </a:extLst>
          </p:cNvPr>
          <p:cNvSpPr/>
          <p:nvPr/>
        </p:nvSpPr>
        <p:spPr>
          <a:xfrm>
            <a:off x="1036320" y="2460687"/>
            <a:ext cx="10119360" cy="1828800"/>
          </a:xfrm>
          <a:prstGeom prst="rect">
            <a:avLst/>
          </a:prstGeom>
          <a:noFill/>
          <a:ln/>
        </p:spPr>
        <p:txBody>
          <a:bodyPr wrap="square" rtlCol="0" anchor="t"/>
          <a:lstStyle/>
          <a:p>
            <a:r>
              <a:rPr lang="ru-RU" sz="1867" noProof="1">
                <a:solidFill>
                  <a:srgbClr val="3D6673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Обращайте внимание на их выбор.</a:t>
            </a:r>
            <a:endParaRPr lang="ru-RU" sz="1867" noProof="1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ru-RU" sz="1867" noProof="1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ru-RU" sz="1867" noProof="1">
                <a:solidFill>
                  <a:srgbClr val="3D6673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Вы будете использовать тот же подход при разработке собственной программы профессионального развития педагогов во 2-й день.</a:t>
            </a:r>
            <a:endParaRPr lang="ru-RU" sz="1867" noProof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6568741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FF92A6E-58DB-C21B-BBE7-B84A79A8C0D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6FDFB65A-D824-3040-66E5-571BA6DD3D8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DB84476-BC29-4407-9D57-B2E562B8968B}" type="slidenum">
              <a:rPr lang="ru-RU" noProof="1" smtClean="0"/>
              <a:pPr/>
              <a:t>120</a:t>
            </a:fld>
            <a:endParaRPr lang="ru-RU" noProof="1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0336AF19-4EA8-60E4-A548-AE14C99553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5317" y="422444"/>
            <a:ext cx="10932795" cy="1080120"/>
          </a:xfrm>
        </p:spPr>
        <p:txBody>
          <a:bodyPr/>
          <a:lstStyle/>
          <a:p>
            <a:r>
              <a:rPr lang="ru-RU" noProof="1"/>
              <a:t>Ожидаемые результаты (продолжение предыдущей сессии): 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A373CB99-08EA-E59E-F1C6-E6D1F2EE6E58}"/>
              </a:ext>
            </a:extLst>
          </p:cNvPr>
          <p:cNvSpPr txBox="1"/>
          <p:nvPr/>
        </p:nvSpPr>
        <p:spPr>
          <a:xfrm>
            <a:off x="635317" y="1745673"/>
            <a:ext cx="10645260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+mj-lt"/>
              <a:buAutoNum type="arabicPeriod"/>
            </a:pPr>
            <a:r>
              <a:rPr lang="ru-RU" sz="2400" noProof="1">
                <a:solidFill>
                  <a:schemeClr val="bg1"/>
                </a:solidFill>
              </a:rPr>
              <a:t>Разработать сессию профессионального развития педагогов с использованием SCAFFOLD</a:t>
            </a:r>
          </a:p>
          <a:p>
            <a:pPr marL="342900" indent="-342900">
              <a:buFont typeface="+mj-lt"/>
              <a:buAutoNum type="arabicPeriod"/>
            </a:pPr>
            <a:r>
              <a:rPr lang="ru-RU" sz="2400" noProof="1">
                <a:solidFill>
                  <a:schemeClr val="bg1"/>
                </a:solidFill>
              </a:rPr>
              <a:t>Использовать SCAFFOLD для выявления пробелов в дизайне и содержании профессионального развития педагогов</a:t>
            </a:r>
          </a:p>
          <a:p>
            <a:pPr marL="342900" indent="-342900">
              <a:buFont typeface="+mj-lt"/>
              <a:buAutoNum type="arabicPeriod"/>
            </a:pPr>
            <a:endParaRPr lang="ru-RU" sz="2400" noProof="1">
              <a:solidFill>
                <a:schemeClr val="bg1"/>
              </a:solidFill>
            </a:endParaRPr>
          </a:p>
          <a:p>
            <a:pPr marL="342900" indent="-342900">
              <a:buFont typeface="+mj-lt"/>
              <a:buAutoNum type="arabicPeriod"/>
            </a:pPr>
            <a:endParaRPr lang="ru-RU" sz="2400" noProof="1">
              <a:solidFill>
                <a:schemeClr val="bg1"/>
              </a:solidFill>
            </a:endParaRPr>
          </a:p>
        </p:txBody>
      </p:sp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E5CBCCB7-60D2-E0FB-031C-68750A592EC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93193256"/>
              </p:ext>
            </p:extLst>
          </p:nvPr>
        </p:nvGraphicFramePr>
        <p:xfrm>
          <a:off x="623888" y="3612991"/>
          <a:ext cx="10933112" cy="365760"/>
        </p:xfrm>
        <a:graphic>
          <a:graphicData uri="http://schemas.openxmlformats.org/drawingml/2006/table">
            <a:tbl>
              <a:tblPr/>
              <a:tblGrid>
                <a:gridCol w="10933112">
                  <a:extLst>
                    <a:ext uri="{9D8B030D-6E8A-4147-A177-3AD203B41FA5}">
                      <a16:colId xmlns:a16="http://schemas.microsoft.com/office/drawing/2014/main" val="1613388537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>
                        <a:buNone/>
                      </a:pPr>
                      <a:endParaRPr lang="ru-RU" noProof="1"/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60594547"/>
                  </a:ext>
                </a:extLst>
              </a:tr>
            </a:tbl>
          </a:graphicData>
        </a:graphic>
      </p:graphicFrame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14875C63-EEAF-EFB0-59A2-F142BBFB822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3650439"/>
              </p:ext>
            </p:extLst>
          </p:nvPr>
        </p:nvGraphicFramePr>
        <p:xfrm>
          <a:off x="623888" y="3612991"/>
          <a:ext cx="10933112" cy="365760"/>
        </p:xfrm>
        <a:graphic>
          <a:graphicData uri="http://schemas.openxmlformats.org/drawingml/2006/table">
            <a:tbl>
              <a:tblPr/>
              <a:tblGrid>
                <a:gridCol w="10933112">
                  <a:extLst>
                    <a:ext uri="{9D8B030D-6E8A-4147-A177-3AD203B41FA5}">
                      <a16:colId xmlns:a16="http://schemas.microsoft.com/office/drawing/2014/main" val="778531542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>
                        <a:buNone/>
                      </a:pPr>
                      <a:endParaRPr lang="ru-RU" noProof="1"/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3102865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67295290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068F764-C455-69C0-E87F-0D153AF67FB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5317" y="235036"/>
            <a:ext cx="10621963" cy="1080120"/>
          </a:xfrm>
        </p:spPr>
        <p:txBody>
          <a:bodyPr>
            <a:normAutofit/>
          </a:bodyPr>
          <a:lstStyle/>
          <a:p>
            <a:r>
              <a:rPr lang="ru-RU" noProof="1"/>
              <a:t>Все семь карточек планирования — карточки 1–3 выполнены в Сессии 5  |  карточки 4–7 сегодня</a:t>
            </a:r>
          </a:p>
        </p:txBody>
      </p:sp>
      <p:sp>
        <p:nvSpPr>
          <p:cNvPr id="3" name="Shape 2">
            <a:extLst>
              <a:ext uri="{FF2B5EF4-FFF2-40B4-BE49-F238E27FC236}">
                <a16:creationId xmlns:a16="http://schemas.microsoft.com/office/drawing/2014/main" id="{02B32237-8DE5-2E8C-366E-FFD366345C16}"/>
              </a:ext>
            </a:extLst>
          </p:cNvPr>
          <p:cNvSpPr/>
          <p:nvPr/>
        </p:nvSpPr>
        <p:spPr>
          <a:xfrm>
            <a:off x="635317" y="1502564"/>
            <a:ext cx="5575499" cy="933795"/>
          </a:xfrm>
          <a:prstGeom prst="rect">
            <a:avLst/>
          </a:prstGeom>
          <a:solidFill>
            <a:srgbClr val="F0F4F6"/>
          </a:solidFill>
          <a:ln w="6350">
            <a:solidFill>
              <a:srgbClr val="5C7A84"/>
            </a:solidFill>
            <a:prstDash val="solid"/>
          </a:ln>
        </p:spPr>
        <p:txBody>
          <a:bodyPr/>
          <a:lstStyle/>
          <a:p>
            <a:pPr defTabSz="1219170">
              <a:defRPr/>
            </a:pPr>
            <a:endParaRPr lang="ru-RU" sz="1467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Shape 3">
            <a:extLst>
              <a:ext uri="{FF2B5EF4-FFF2-40B4-BE49-F238E27FC236}">
                <a16:creationId xmlns:a16="http://schemas.microsoft.com/office/drawing/2014/main" id="{8361209E-9767-F204-A728-74551308CD8F}"/>
              </a:ext>
            </a:extLst>
          </p:cNvPr>
          <p:cNvSpPr/>
          <p:nvPr/>
        </p:nvSpPr>
        <p:spPr>
          <a:xfrm>
            <a:off x="635318" y="1502564"/>
            <a:ext cx="727239" cy="933795"/>
          </a:xfrm>
          <a:prstGeom prst="rect">
            <a:avLst/>
          </a:prstGeom>
          <a:solidFill>
            <a:srgbClr val="AAB8C2"/>
          </a:solidFill>
          <a:ln w="12700">
            <a:solidFill>
              <a:srgbClr val="AAB8C2"/>
            </a:solidFill>
            <a:prstDash val="solid"/>
          </a:ln>
        </p:spPr>
        <p:txBody>
          <a:bodyPr/>
          <a:lstStyle/>
          <a:p>
            <a:pPr defTabSz="1219170">
              <a:defRPr/>
            </a:pPr>
            <a:endParaRPr lang="ru-RU" sz="1467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Text 4">
            <a:extLst>
              <a:ext uri="{FF2B5EF4-FFF2-40B4-BE49-F238E27FC236}">
                <a16:creationId xmlns:a16="http://schemas.microsoft.com/office/drawing/2014/main" id="{E2D64759-6E4C-94BF-A32B-00633807E216}"/>
              </a:ext>
            </a:extLst>
          </p:cNvPr>
          <p:cNvSpPr/>
          <p:nvPr/>
        </p:nvSpPr>
        <p:spPr>
          <a:xfrm>
            <a:off x="635318" y="1502564"/>
            <a:ext cx="727239" cy="933795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algn="ctr" defTabSz="1219170">
              <a:defRPr/>
            </a:pPr>
            <a:r>
              <a:rPr lang="ru-RU" sz="1467" b="1" noProof="1">
                <a:solidFill>
                  <a:srgbClr val="FFFFFF"/>
                </a:solidFill>
                <a:latin typeface="Arial" panose="020B0604020202020204" pitchFamily="34" charset="0"/>
                <a:ea typeface="Georgia" pitchFamily="34" charset="-122"/>
                <a:cs typeface="Arial" panose="020B0604020202020204" pitchFamily="34" charset="0"/>
              </a:rPr>
              <a:t>1</a:t>
            </a:r>
            <a:endParaRPr lang="ru-RU" sz="1467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Text 5">
            <a:extLst>
              <a:ext uri="{FF2B5EF4-FFF2-40B4-BE49-F238E27FC236}">
                <a16:creationId xmlns:a16="http://schemas.microsoft.com/office/drawing/2014/main" id="{68F1E8C8-1C75-6B61-6797-4B6826172023}"/>
              </a:ext>
            </a:extLst>
          </p:cNvPr>
          <p:cNvSpPr/>
          <p:nvPr/>
        </p:nvSpPr>
        <p:spPr>
          <a:xfrm>
            <a:off x="1488758" y="1521529"/>
            <a:ext cx="4605847" cy="318339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467" noProof="1">
                <a:solidFill>
                  <a:srgbClr val="5C7A84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Выбор компетенций ✓</a:t>
            </a:r>
            <a:endParaRPr lang="ru-RU" sz="1467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Text 6">
            <a:extLst>
              <a:ext uri="{FF2B5EF4-FFF2-40B4-BE49-F238E27FC236}">
                <a16:creationId xmlns:a16="http://schemas.microsoft.com/office/drawing/2014/main" id="{69BEE49F-DCE4-E721-9C77-AADEB308AD48}"/>
              </a:ext>
            </a:extLst>
          </p:cNvPr>
          <p:cNvSpPr/>
          <p:nvPr/>
        </p:nvSpPr>
        <p:spPr>
          <a:xfrm>
            <a:off x="1488758" y="1911674"/>
            <a:ext cx="4605847" cy="466897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467" noProof="1">
                <a:solidFill>
                  <a:srgbClr val="5C7A84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Выполнено в Сессии 5 — подтвердите, что связующее предложение по-прежнему актуально</a:t>
            </a:r>
            <a:endParaRPr lang="ru-RU" sz="1467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Shape 7">
            <a:extLst>
              <a:ext uri="{FF2B5EF4-FFF2-40B4-BE49-F238E27FC236}">
                <a16:creationId xmlns:a16="http://schemas.microsoft.com/office/drawing/2014/main" id="{6DCBDED0-64B4-B306-9F04-74448F6DD3A2}"/>
              </a:ext>
            </a:extLst>
          </p:cNvPr>
          <p:cNvSpPr/>
          <p:nvPr/>
        </p:nvSpPr>
        <p:spPr>
          <a:xfrm>
            <a:off x="635317" y="2697380"/>
            <a:ext cx="5575499" cy="933795"/>
          </a:xfrm>
          <a:prstGeom prst="rect">
            <a:avLst/>
          </a:prstGeom>
          <a:solidFill>
            <a:srgbClr val="F0F4F6"/>
          </a:solidFill>
          <a:ln w="6350">
            <a:solidFill>
              <a:srgbClr val="5C7A84"/>
            </a:solidFill>
            <a:prstDash val="solid"/>
          </a:ln>
        </p:spPr>
        <p:txBody>
          <a:bodyPr/>
          <a:lstStyle/>
          <a:p>
            <a:pPr defTabSz="1219170">
              <a:defRPr/>
            </a:pPr>
            <a:endParaRPr lang="ru-RU" sz="1467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Shape 8">
            <a:extLst>
              <a:ext uri="{FF2B5EF4-FFF2-40B4-BE49-F238E27FC236}">
                <a16:creationId xmlns:a16="http://schemas.microsoft.com/office/drawing/2014/main" id="{2C5CF27B-E681-59D7-E529-F41210695D81}"/>
              </a:ext>
            </a:extLst>
          </p:cNvPr>
          <p:cNvSpPr/>
          <p:nvPr/>
        </p:nvSpPr>
        <p:spPr>
          <a:xfrm>
            <a:off x="635318" y="2697380"/>
            <a:ext cx="727239" cy="933795"/>
          </a:xfrm>
          <a:prstGeom prst="rect">
            <a:avLst/>
          </a:prstGeom>
          <a:solidFill>
            <a:srgbClr val="AAB8C2"/>
          </a:solidFill>
          <a:ln w="12700">
            <a:solidFill>
              <a:srgbClr val="AAB8C2"/>
            </a:solidFill>
            <a:prstDash val="solid"/>
          </a:ln>
        </p:spPr>
        <p:txBody>
          <a:bodyPr/>
          <a:lstStyle/>
          <a:p>
            <a:pPr defTabSz="1219170">
              <a:defRPr/>
            </a:pPr>
            <a:endParaRPr lang="ru-RU" sz="1467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Text 9">
            <a:extLst>
              <a:ext uri="{FF2B5EF4-FFF2-40B4-BE49-F238E27FC236}">
                <a16:creationId xmlns:a16="http://schemas.microsoft.com/office/drawing/2014/main" id="{1A9C2F95-48A1-4E4B-C2DD-227AB343B907}"/>
              </a:ext>
            </a:extLst>
          </p:cNvPr>
          <p:cNvSpPr/>
          <p:nvPr/>
        </p:nvSpPr>
        <p:spPr>
          <a:xfrm>
            <a:off x="635318" y="2697380"/>
            <a:ext cx="727239" cy="933795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algn="ctr" defTabSz="1219170">
              <a:defRPr/>
            </a:pPr>
            <a:r>
              <a:rPr lang="ru-RU" sz="1467" b="1" noProof="1">
                <a:solidFill>
                  <a:srgbClr val="FFFFFF"/>
                </a:solidFill>
                <a:latin typeface="Arial" panose="020B0604020202020204" pitchFamily="34" charset="0"/>
                <a:ea typeface="Georgia" pitchFamily="34" charset="-122"/>
                <a:cs typeface="Arial" panose="020B0604020202020204" pitchFamily="34" charset="0"/>
              </a:rPr>
              <a:t>2</a:t>
            </a:r>
            <a:endParaRPr lang="ru-RU" sz="1467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Text 10">
            <a:extLst>
              <a:ext uri="{FF2B5EF4-FFF2-40B4-BE49-F238E27FC236}">
                <a16:creationId xmlns:a16="http://schemas.microsoft.com/office/drawing/2014/main" id="{B55A78F0-FF6D-0D04-43B4-2D7785342093}"/>
              </a:ext>
            </a:extLst>
          </p:cNvPr>
          <p:cNvSpPr/>
          <p:nvPr/>
        </p:nvSpPr>
        <p:spPr>
          <a:xfrm>
            <a:off x="1488758" y="2716345"/>
            <a:ext cx="4605847" cy="318339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467" noProof="1">
                <a:solidFill>
                  <a:srgbClr val="5C7A84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Определение уровня компетенции ✓</a:t>
            </a:r>
            <a:endParaRPr lang="ru-RU" sz="1467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Text 11">
            <a:extLst>
              <a:ext uri="{FF2B5EF4-FFF2-40B4-BE49-F238E27FC236}">
                <a16:creationId xmlns:a16="http://schemas.microsoft.com/office/drawing/2014/main" id="{5E5B1148-114E-CB88-A586-C579E02491D3}"/>
              </a:ext>
            </a:extLst>
          </p:cNvPr>
          <p:cNvSpPr/>
          <p:nvPr/>
        </p:nvSpPr>
        <p:spPr>
          <a:xfrm>
            <a:off x="1488758" y="3106490"/>
            <a:ext cx="4605847" cy="466897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467" noProof="1">
                <a:solidFill>
                  <a:srgbClr val="5C7A84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Выполнено в Сессии 5 — кратко пересмотрите на этапе карточек контекста</a:t>
            </a:r>
            <a:endParaRPr lang="ru-RU" sz="1467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Shape 12">
            <a:extLst>
              <a:ext uri="{FF2B5EF4-FFF2-40B4-BE49-F238E27FC236}">
                <a16:creationId xmlns:a16="http://schemas.microsoft.com/office/drawing/2014/main" id="{54D93D54-4FF0-744D-291C-94B32B969BFE}"/>
              </a:ext>
            </a:extLst>
          </p:cNvPr>
          <p:cNvSpPr/>
          <p:nvPr/>
        </p:nvSpPr>
        <p:spPr>
          <a:xfrm>
            <a:off x="635317" y="3892196"/>
            <a:ext cx="5575499" cy="933795"/>
          </a:xfrm>
          <a:prstGeom prst="rect">
            <a:avLst/>
          </a:prstGeom>
          <a:solidFill>
            <a:srgbClr val="F0F4F6"/>
          </a:solidFill>
          <a:ln w="6350">
            <a:solidFill>
              <a:srgbClr val="5C7A84"/>
            </a:solidFill>
            <a:prstDash val="solid"/>
          </a:ln>
        </p:spPr>
        <p:txBody>
          <a:bodyPr/>
          <a:lstStyle/>
          <a:p>
            <a:pPr defTabSz="1219170">
              <a:defRPr/>
            </a:pPr>
            <a:endParaRPr lang="ru-RU" sz="1467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Shape 13">
            <a:extLst>
              <a:ext uri="{FF2B5EF4-FFF2-40B4-BE49-F238E27FC236}">
                <a16:creationId xmlns:a16="http://schemas.microsoft.com/office/drawing/2014/main" id="{BBCC7926-5AB9-910D-CC48-26397AA4CCAC}"/>
              </a:ext>
            </a:extLst>
          </p:cNvPr>
          <p:cNvSpPr/>
          <p:nvPr/>
        </p:nvSpPr>
        <p:spPr>
          <a:xfrm>
            <a:off x="635318" y="3892196"/>
            <a:ext cx="727239" cy="933795"/>
          </a:xfrm>
          <a:prstGeom prst="rect">
            <a:avLst/>
          </a:prstGeom>
          <a:solidFill>
            <a:srgbClr val="AAB8C2"/>
          </a:solidFill>
          <a:ln w="12700">
            <a:solidFill>
              <a:srgbClr val="AAB8C2"/>
            </a:solidFill>
            <a:prstDash val="solid"/>
          </a:ln>
        </p:spPr>
        <p:txBody>
          <a:bodyPr/>
          <a:lstStyle/>
          <a:p>
            <a:pPr defTabSz="1219170">
              <a:defRPr/>
            </a:pPr>
            <a:endParaRPr lang="ru-RU" sz="1467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Text 14">
            <a:extLst>
              <a:ext uri="{FF2B5EF4-FFF2-40B4-BE49-F238E27FC236}">
                <a16:creationId xmlns:a16="http://schemas.microsoft.com/office/drawing/2014/main" id="{01792DDC-3BB6-C8D7-3EF7-8F5DE149F247}"/>
              </a:ext>
            </a:extLst>
          </p:cNvPr>
          <p:cNvSpPr/>
          <p:nvPr/>
        </p:nvSpPr>
        <p:spPr>
          <a:xfrm>
            <a:off x="635318" y="3892196"/>
            <a:ext cx="727239" cy="933795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algn="ctr" defTabSz="1219170">
              <a:defRPr/>
            </a:pPr>
            <a:r>
              <a:rPr lang="ru-RU" sz="1467" b="1" noProof="1">
                <a:solidFill>
                  <a:srgbClr val="FFFFFF"/>
                </a:solidFill>
                <a:latin typeface="Arial" panose="020B0604020202020204" pitchFamily="34" charset="0"/>
                <a:ea typeface="Georgia" pitchFamily="34" charset="-122"/>
                <a:cs typeface="Arial" panose="020B0604020202020204" pitchFamily="34" charset="0"/>
              </a:rPr>
              <a:t>3</a:t>
            </a:r>
            <a:endParaRPr lang="ru-RU" sz="1467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Text 15">
            <a:extLst>
              <a:ext uri="{FF2B5EF4-FFF2-40B4-BE49-F238E27FC236}">
                <a16:creationId xmlns:a16="http://schemas.microsoft.com/office/drawing/2014/main" id="{6D3D9A12-C669-D7DD-6BC4-2D2AB22C61D5}"/>
              </a:ext>
            </a:extLst>
          </p:cNvPr>
          <p:cNvSpPr/>
          <p:nvPr/>
        </p:nvSpPr>
        <p:spPr>
          <a:xfrm>
            <a:off x="1488758" y="3911161"/>
            <a:ext cx="4605847" cy="318339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467" noProof="1">
                <a:solidFill>
                  <a:srgbClr val="5C7A84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Выбор метода обучения ✓</a:t>
            </a:r>
            <a:endParaRPr lang="ru-RU" sz="1467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Text 16">
            <a:extLst>
              <a:ext uri="{FF2B5EF4-FFF2-40B4-BE49-F238E27FC236}">
                <a16:creationId xmlns:a16="http://schemas.microsoft.com/office/drawing/2014/main" id="{1AD34431-9C3F-D12C-78EF-0BBCA666B2C4}"/>
              </a:ext>
            </a:extLst>
          </p:cNvPr>
          <p:cNvSpPr/>
          <p:nvPr/>
        </p:nvSpPr>
        <p:spPr>
          <a:xfrm>
            <a:off x="1488758" y="4301306"/>
            <a:ext cx="4605847" cy="466897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467" noProof="1">
                <a:solidFill>
                  <a:srgbClr val="5C7A84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Выполнено в Сессии 5 — вернитесь к нему при заполнении карточки 7</a:t>
            </a:r>
            <a:endParaRPr lang="ru-RU" sz="1467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Shape 17">
            <a:extLst>
              <a:ext uri="{FF2B5EF4-FFF2-40B4-BE49-F238E27FC236}">
                <a16:creationId xmlns:a16="http://schemas.microsoft.com/office/drawing/2014/main" id="{7FD98B3E-B0F1-5D36-AA6C-47A2F3A59FFF}"/>
              </a:ext>
            </a:extLst>
          </p:cNvPr>
          <p:cNvSpPr/>
          <p:nvPr/>
        </p:nvSpPr>
        <p:spPr>
          <a:xfrm>
            <a:off x="635317" y="5087012"/>
            <a:ext cx="5575499" cy="1114205"/>
          </a:xfrm>
          <a:prstGeom prst="rect">
            <a:avLst/>
          </a:prstGeom>
          <a:solidFill>
            <a:srgbClr val="D6F0F3"/>
          </a:solidFill>
          <a:ln w="15240">
            <a:solidFill>
              <a:srgbClr val="027A87"/>
            </a:solidFill>
            <a:prstDash val="solid"/>
          </a:ln>
        </p:spPr>
        <p:txBody>
          <a:bodyPr/>
          <a:lstStyle/>
          <a:p>
            <a:pPr defTabSz="1219170">
              <a:defRPr/>
            </a:pPr>
            <a:endParaRPr lang="ru-RU" sz="1467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Shape 18">
            <a:extLst>
              <a:ext uri="{FF2B5EF4-FFF2-40B4-BE49-F238E27FC236}">
                <a16:creationId xmlns:a16="http://schemas.microsoft.com/office/drawing/2014/main" id="{9C6BFDB5-5025-849C-1136-AD0F70D78526}"/>
              </a:ext>
            </a:extLst>
          </p:cNvPr>
          <p:cNvSpPr/>
          <p:nvPr/>
        </p:nvSpPr>
        <p:spPr>
          <a:xfrm>
            <a:off x="635318" y="5087012"/>
            <a:ext cx="727239" cy="1114205"/>
          </a:xfrm>
          <a:prstGeom prst="rect">
            <a:avLst/>
          </a:prstGeom>
          <a:solidFill>
            <a:srgbClr val="027A87"/>
          </a:solidFill>
          <a:ln w="12700">
            <a:solidFill>
              <a:srgbClr val="027A87"/>
            </a:solidFill>
            <a:prstDash val="solid"/>
          </a:ln>
        </p:spPr>
        <p:txBody>
          <a:bodyPr/>
          <a:lstStyle/>
          <a:p>
            <a:pPr defTabSz="1219170">
              <a:defRPr/>
            </a:pPr>
            <a:endParaRPr lang="ru-RU" sz="1467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" name="Text 19">
            <a:extLst>
              <a:ext uri="{FF2B5EF4-FFF2-40B4-BE49-F238E27FC236}">
                <a16:creationId xmlns:a16="http://schemas.microsoft.com/office/drawing/2014/main" id="{65BA4B38-03C8-F3AC-C874-0E00FBB1B94F}"/>
              </a:ext>
            </a:extLst>
          </p:cNvPr>
          <p:cNvSpPr/>
          <p:nvPr/>
        </p:nvSpPr>
        <p:spPr>
          <a:xfrm>
            <a:off x="635318" y="5087012"/>
            <a:ext cx="727239" cy="1114205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algn="ctr" defTabSz="1219170">
              <a:defRPr/>
            </a:pPr>
            <a:r>
              <a:rPr lang="ru-RU" sz="1467" b="1" noProof="1">
                <a:solidFill>
                  <a:srgbClr val="FFFFFF"/>
                </a:solidFill>
                <a:latin typeface="Arial" panose="020B0604020202020204" pitchFamily="34" charset="0"/>
                <a:ea typeface="Georgia" pitchFamily="34" charset="-122"/>
                <a:cs typeface="Arial" panose="020B0604020202020204" pitchFamily="34" charset="0"/>
              </a:rPr>
              <a:t>4</a:t>
            </a:r>
            <a:endParaRPr lang="ru-RU" sz="1467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" name="Text 20">
            <a:extLst>
              <a:ext uri="{FF2B5EF4-FFF2-40B4-BE49-F238E27FC236}">
                <a16:creationId xmlns:a16="http://schemas.microsoft.com/office/drawing/2014/main" id="{B3BAE5DE-B6F9-9812-6992-DC1DBB6FB024}"/>
              </a:ext>
            </a:extLst>
          </p:cNvPr>
          <p:cNvSpPr/>
          <p:nvPr/>
        </p:nvSpPr>
        <p:spPr>
          <a:xfrm>
            <a:off x="1488758" y="5160164"/>
            <a:ext cx="4605847" cy="318339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467" b="1" noProof="1">
                <a:solidFill>
                  <a:srgbClr val="16303A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Результат / свидетельство</a:t>
            </a:r>
            <a:endParaRPr lang="ru-RU" sz="1467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2" name="Text 21">
            <a:extLst>
              <a:ext uri="{FF2B5EF4-FFF2-40B4-BE49-F238E27FC236}">
                <a16:creationId xmlns:a16="http://schemas.microsoft.com/office/drawing/2014/main" id="{777608D8-D07D-444A-4466-1D6D7B2EE10D}"/>
              </a:ext>
            </a:extLst>
          </p:cNvPr>
          <p:cNvSpPr/>
          <p:nvPr/>
        </p:nvSpPr>
        <p:spPr>
          <a:xfrm>
            <a:off x="1488758" y="5550309"/>
            <a:ext cx="4605847" cy="466897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467" noProof="1">
                <a:solidFill>
                  <a:srgbClr val="3D6673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Что создадут участники? Ощутимое и соответствующее группе педагогов</a:t>
            </a:r>
            <a:endParaRPr lang="ru-RU" sz="1467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3" name="Shape 22">
            <a:extLst>
              <a:ext uri="{FF2B5EF4-FFF2-40B4-BE49-F238E27FC236}">
                <a16:creationId xmlns:a16="http://schemas.microsoft.com/office/drawing/2014/main" id="{8EA80E33-8AB9-49E3-935D-DC84502CC0B3}"/>
              </a:ext>
            </a:extLst>
          </p:cNvPr>
          <p:cNvSpPr/>
          <p:nvPr/>
        </p:nvSpPr>
        <p:spPr>
          <a:xfrm>
            <a:off x="6609397" y="1502564"/>
            <a:ext cx="5575499" cy="933795"/>
          </a:xfrm>
          <a:prstGeom prst="rect">
            <a:avLst/>
          </a:prstGeom>
          <a:solidFill>
            <a:srgbClr val="D6F0F3"/>
          </a:solidFill>
          <a:ln w="15240">
            <a:solidFill>
              <a:srgbClr val="027A87"/>
            </a:solidFill>
            <a:prstDash val="solid"/>
          </a:ln>
        </p:spPr>
        <p:txBody>
          <a:bodyPr/>
          <a:lstStyle/>
          <a:p>
            <a:pPr defTabSz="1219170">
              <a:defRPr/>
            </a:pPr>
            <a:endParaRPr lang="ru-RU" sz="1467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4" name="Shape 23">
            <a:extLst>
              <a:ext uri="{FF2B5EF4-FFF2-40B4-BE49-F238E27FC236}">
                <a16:creationId xmlns:a16="http://schemas.microsoft.com/office/drawing/2014/main" id="{53C531F3-0EAC-9ED6-8F20-0A4FBF94650D}"/>
              </a:ext>
            </a:extLst>
          </p:cNvPr>
          <p:cNvSpPr/>
          <p:nvPr/>
        </p:nvSpPr>
        <p:spPr>
          <a:xfrm>
            <a:off x="6609398" y="1502564"/>
            <a:ext cx="727239" cy="933795"/>
          </a:xfrm>
          <a:prstGeom prst="rect">
            <a:avLst/>
          </a:prstGeom>
          <a:solidFill>
            <a:srgbClr val="027A87"/>
          </a:solidFill>
          <a:ln w="12700">
            <a:solidFill>
              <a:srgbClr val="027A87"/>
            </a:solidFill>
            <a:prstDash val="solid"/>
          </a:ln>
        </p:spPr>
        <p:txBody>
          <a:bodyPr/>
          <a:lstStyle/>
          <a:p>
            <a:pPr defTabSz="1219170">
              <a:defRPr/>
            </a:pPr>
            <a:endParaRPr lang="ru-RU" sz="1467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5" name="Text 24">
            <a:extLst>
              <a:ext uri="{FF2B5EF4-FFF2-40B4-BE49-F238E27FC236}">
                <a16:creationId xmlns:a16="http://schemas.microsoft.com/office/drawing/2014/main" id="{34A41DEB-416F-F810-340A-B672B8EBB29E}"/>
              </a:ext>
            </a:extLst>
          </p:cNvPr>
          <p:cNvSpPr/>
          <p:nvPr/>
        </p:nvSpPr>
        <p:spPr>
          <a:xfrm>
            <a:off x="6609398" y="1502564"/>
            <a:ext cx="727239" cy="933795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algn="ctr" defTabSz="1219170">
              <a:defRPr/>
            </a:pPr>
            <a:r>
              <a:rPr lang="ru-RU" sz="1467" b="1" noProof="1">
                <a:solidFill>
                  <a:srgbClr val="FFFFFF"/>
                </a:solidFill>
                <a:latin typeface="Arial" panose="020B0604020202020204" pitchFamily="34" charset="0"/>
                <a:ea typeface="Georgia" pitchFamily="34" charset="-122"/>
                <a:cs typeface="Arial" panose="020B0604020202020204" pitchFamily="34" charset="0"/>
              </a:rPr>
              <a:t>5</a:t>
            </a:r>
            <a:endParaRPr lang="ru-RU" sz="1467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6" name="Text 25">
            <a:extLst>
              <a:ext uri="{FF2B5EF4-FFF2-40B4-BE49-F238E27FC236}">
                <a16:creationId xmlns:a16="http://schemas.microsoft.com/office/drawing/2014/main" id="{AFB58D35-23C4-8AEB-983B-8CC21836858F}"/>
              </a:ext>
            </a:extLst>
          </p:cNvPr>
          <p:cNvSpPr/>
          <p:nvPr/>
        </p:nvSpPr>
        <p:spPr>
          <a:xfrm>
            <a:off x="7462838" y="1548623"/>
            <a:ext cx="4605847" cy="318339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467" b="1" noProof="1">
                <a:solidFill>
                  <a:srgbClr val="16303A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Выбор метода оценивания</a:t>
            </a:r>
            <a:endParaRPr lang="ru-RU" sz="1467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7" name="Text 26">
            <a:extLst>
              <a:ext uri="{FF2B5EF4-FFF2-40B4-BE49-F238E27FC236}">
                <a16:creationId xmlns:a16="http://schemas.microsoft.com/office/drawing/2014/main" id="{BC721CB7-3894-FD43-B9DC-AFE556EDC186}"/>
              </a:ext>
            </a:extLst>
          </p:cNvPr>
          <p:cNvSpPr/>
          <p:nvPr/>
        </p:nvSpPr>
        <p:spPr>
          <a:xfrm>
            <a:off x="7462838" y="1938768"/>
            <a:ext cx="4605847" cy="466897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467" noProof="1">
                <a:solidFill>
                  <a:srgbClr val="3D6673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Как вы узнаете, что компетенция укрепилась?</a:t>
            </a:r>
            <a:endParaRPr lang="ru-RU" sz="1467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8" name="Shape 27">
            <a:extLst>
              <a:ext uri="{FF2B5EF4-FFF2-40B4-BE49-F238E27FC236}">
                <a16:creationId xmlns:a16="http://schemas.microsoft.com/office/drawing/2014/main" id="{A0955897-A01E-E912-9BB8-25DF0F9C0E43}"/>
              </a:ext>
            </a:extLst>
          </p:cNvPr>
          <p:cNvSpPr/>
          <p:nvPr/>
        </p:nvSpPr>
        <p:spPr>
          <a:xfrm>
            <a:off x="6609397" y="2697380"/>
            <a:ext cx="5575499" cy="933795"/>
          </a:xfrm>
          <a:prstGeom prst="rect">
            <a:avLst/>
          </a:prstGeom>
          <a:solidFill>
            <a:srgbClr val="D6F0F3"/>
          </a:solidFill>
          <a:ln w="15240">
            <a:solidFill>
              <a:srgbClr val="027A87"/>
            </a:solidFill>
            <a:prstDash val="solid"/>
          </a:ln>
        </p:spPr>
        <p:txBody>
          <a:bodyPr/>
          <a:lstStyle/>
          <a:p>
            <a:pPr defTabSz="1219170">
              <a:defRPr/>
            </a:pPr>
            <a:endParaRPr lang="ru-RU" sz="1467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9" name="Shape 28">
            <a:extLst>
              <a:ext uri="{FF2B5EF4-FFF2-40B4-BE49-F238E27FC236}">
                <a16:creationId xmlns:a16="http://schemas.microsoft.com/office/drawing/2014/main" id="{FF975D4E-58DE-D701-D74B-5AE910547B8B}"/>
              </a:ext>
            </a:extLst>
          </p:cNvPr>
          <p:cNvSpPr/>
          <p:nvPr/>
        </p:nvSpPr>
        <p:spPr>
          <a:xfrm>
            <a:off x="6609398" y="2697380"/>
            <a:ext cx="727239" cy="933795"/>
          </a:xfrm>
          <a:prstGeom prst="rect">
            <a:avLst/>
          </a:prstGeom>
          <a:solidFill>
            <a:srgbClr val="027A87"/>
          </a:solidFill>
          <a:ln w="12700">
            <a:solidFill>
              <a:srgbClr val="027A87"/>
            </a:solidFill>
            <a:prstDash val="solid"/>
          </a:ln>
        </p:spPr>
        <p:txBody>
          <a:bodyPr/>
          <a:lstStyle/>
          <a:p>
            <a:pPr defTabSz="1219170">
              <a:defRPr/>
            </a:pPr>
            <a:endParaRPr lang="ru-RU" sz="1467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0" name="Text 29">
            <a:extLst>
              <a:ext uri="{FF2B5EF4-FFF2-40B4-BE49-F238E27FC236}">
                <a16:creationId xmlns:a16="http://schemas.microsoft.com/office/drawing/2014/main" id="{F7826AAD-7C8F-4EBC-8BB9-401C8EF93109}"/>
              </a:ext>
            </a:extLst>
          </p:cNvPr>
          <p:cNvSpPr/>
          <p:nvPr/>
        </p:nvSpPr>
        <p:spPr>
          <a:xfrm>
            <a:off x="6609398" y="2697380"/>
            <a:ext cx="727239" cy="933795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algn="ctr" defTabSz="1219170">
              <a:defRPr/>
            </a:pPr>
            <a:r>
              <a:rPr lang="ru-RU" sz="1467" b="1" noProof="1">
                <a:solidFill>
                  <a:srgbClr val="FFFFFF"/>
                </a:solidFill>
                <a:latin typeface="Arial" panose="020B0604020202020204" pitchFamily="34" charset="0"/>
                <a:ea typeface="Georgia" pitchFamily="34" charset="-122"/>
                <a:cs typeface="Arial" panose="020B0604020202020204" pitchFamily="34" charset="0"/>
              </a:rPr>
              <a:t>6</a:t>
            </a:r>
            <a:endParaRPr lang="ru-RU" sz="1467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1" name="Text 30">
            <a:extLst>
              <a:ext uri="{FF2B5EF4-FFF2-40B4-BE49-F238E27FC236}">
                <a16:creationId xmlns:a16="http://schemas.microsoft.com/office/drawing/2014/main" id="{EF99267D-94A0-B88D-818D-384D3985ABD3}"/>
              </a:ext>
            </a:extLst>
          </p:cNvPr>
          <p:cNvSpPr/>
          <p:nvPr/>
        </p:nvSpPr>
        <p:spPr>
          <a:xfrm>
            <a:off x="7462838" y="2743439"/>
            <a:ext cx="4605847" cy="318339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467" b="1" noProof="1">
                <a:solidFill>
                  <a:srgbClr val="16303A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Сбор ресурсов</a:t>
            </a:r>
            <a:endParaRPr lang="ru-RU" sz="1467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2" name="Text 31">
            <a:extLst>
              <a:ext uri="{FF2B5EF4-FFF2-40B4-BE49-F238E27FC236}">
                <a16:creationId xmlns:a16="http://schemas.microsoft.com/office/drawing/2014/main" id="{E78E7FA5-9F32-0649-D2F2-35A45594039D}"/>
              </a:ext>
            </a:extLst>
          </p:cNvPr>
          <p:cNvSpPr/>
          <p:nvPr/>
        </p:nvSpPr>
        <p:spPr>
          <a:xfrm>
            <a:off x="7462838" y="3133584"/>
            <a:ext cx="4605847" cy="466897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467" noProof="1">
                <a:solidFill>
                  <a:srgbClr val="3D6673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Что необходимо? Должно быть реалистичным для фактических условий в вашем задании</a:t>
            </a:r>
            <a:endParaRPr lang="ru-RU" sz="1467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3" name="Shape 32">
            <a:extLst>
              <a:ext uri="{FF2B5EF4-FFF2-40B4-BE49-F238E27FC236}">
                <a16:creationId xmlns:a16="http://schemas.microsoft.com/office/drawing/2014/main" id="{8CB640D2-70EB-7D93-E05A-EB060EEA6F6A}"/>
              </a:ext>
            </a:extLst>
          </p:cNvPr>
          <p:cNvSpPr/>
          <p:nvPr/>
        </p:nvSpPr>
        <p:spPr>
          <a:xfrm>
            <a:off x="6609397" y="3892195"/>
            <a:ext cx="5575499" cy="1038791"/>
          </a:xfrm>
          <a:prstGeom prst="rect">
            <a:avLst/>
          </a:prstGeom>
          <a:solidFill>
            <a:srgbClr val="D6F0F3"/>
          </a:solidFill>
          <a:ln w="15240">
            <a:solidFill>
              <a:srgbClr val="027A87"/>
            </a:solidFill>
            <a:prstDash val="solid"/>
          </a:ln>
        </p:spPr>
        <p:txBody>
          <a:bodyPr/>
          <a:lstStyle/>
          <a:p>
            <a:pPr defTabSz="1219170">
              <a:defRPr/>
            </a:pPr>
            <a:endParaRPr lang="ru-RU" sz="1467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4" name="Shape 33">
            <a:extLst>
              <a:ext uri="{FF2B5EF4-FFF2-40B4-BE49-F238E27FC236}">
                <a16:creationId xmlns:a16="http://schemas.microsoft.com/office/drawing/2014/main" id="{9C505674-8470-071B-BE20-48ED768C1F21}"/>
              </a:ext>
            </a:extLst>
          </p:cNvPr>
          <p:cNvSpPr/>
          <p:nvPr/>
        </p:nvSpPr>
        <p:spPr>
          <a:xfrm>
            <a:off x="6609398" y="3892196"/>
            <a:ext cx="727239" cy="1038789"/>
          </a:xfrm>
          <a:prstGeom prst="rect">
            <a:avLst/>
          </a:prstGeom>
          <a:solidFill>
            <a:srgbClr val="027A87"/>
          </a:solidFill>
          <a:ln w="12700">
            <a:solidFill>
              <a:srgbClr val="027A87"/>
            </a:solidFill>
            <a:prstDash val="solid"/>
          </a:ln>
        </p:spPr>
        <p:txBody>
          <a:bodyPr/>
          <a:lstStyle/>
          <a:p>
            <a:pPr defTabSz="1219170">
              <a:defRPr/>
            </a:pPr>
            <a:endParaRPr lang="ru-RU" sz="1467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5" name="Text 34">
            <a:extLst>
              <a:ext uri="{FF2B5EF4-FFF2-40B4-BE49-F238E27FC236}">
                <a16:creationId xmlns:a16="http://schemas.microsoft.com/office/drawing/2014/main" id="{BA2574C8-528D-7D39-F44C-4BD0791E68C3}"/>
              </a:ext>
            </a:extLst>
          </p:cNvPr>
          <p:cNvSpPr/>
          <p:nvPr/>
        </p:nvSpPr>
        <p:spPr>
          <a:xfrm>
            <a:off x="6609398" y="3892196"/>
            <a:ext cx="727239" cy="1038789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algn="ctr" defTabSz="1219170">
              <a:defRPr/>
            </a:pPr>
            <a:r>
              <a:rPr lang="ru-RU" sz="1467" b="1" noProof="1">
                <a:solidFill>
                  <a:srgbClr val="FFFFFF"/>
                </a:solidFill>
                <a:latin typeface="Arial" panose="020B0604020202020204" pitchFamily="34" charset="0"/>
                <a:ea typeface="Georgia" pitchFamily="34" charset="-122"/>
                <a:cs typeface="Arial" panose="020B0604020202020204" pitchFamily="34" charset="0"/>
              </a:rPr>
              <a:t>7</a:t>
            </a:r>
            <a:endParaRPr lang="ru-RU" sz="1467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6" name="Text 35">
            <a:extLst>
              <a:ext uri="{FF2B5EF4-FFF2-40B4-BE49-F238E27FC236}">
                <a16:creationId xmlns:a16="http://schemas.microsoft.com/office/drawing/2014/main" id="{5CA9F6B4-F140-DE62-DD60-BDDF5BF72738}"/>
              </a:ext>
            </a:extLst>
          </p:cNvPr>
          <p:cNvSpPr/>
          <p:nvPr/>
        </p:nvSpPr>
        <p:spPr>
          <a:xfrm>
            <a:off x="7462838" y="3911161"/>
            <a:ext cx="4605847" cy="318339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467" b="1" noProof="1">
                <a:solidFill>
                  <a:srgbClr val="16303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Хронология</a:t>
            </a:r>
            <a:endParaRPr lang="ru-RU" sz="1467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7" name="Text 36">
            <a:extLst>
              <a:ext uri="{FF2B5EF4-FFF2-40B4-BE49-F238E27FC236}">
                <a16:creationId xmlns:a16="http://schemas.microsoft.com/office/drawing/2014/main" id="{1DCBBB7A-34EA-A084-2585-210553188F08}"/>
              </a:ext>
            </a:extLst>
          </p:cNvPr>
          <p:cNvSpPr/>
          <p:nvPr/>
        </p:nvSpPr>
        <p:spPr>
          <a:xfrm>
            <a:off x="7462838" y="4301306"/>
            <a:ext cx="4605847" cy="466897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467" noProof="1">
                <a:solidFill>
                  <a:srgbClr val="3D6673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Полная 90-минутная дуга: открытие, активные фазы, момент взаимодействия с коллегами, завершение</a:t>
            </a:r>
            <a:endParaRPr lang="ru-RU" sz="1467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8" name="Shape 37">
            <a:extLst>
              <a:ext uri="{FF2B5EF4-FFF2-40B4-BE49-F238E27FC236}">
                <a16:creationId xmlns:a16="http://schemas.microsoft.com/office/drawing/2014/main" id="{0A37E870-4265-3F5D-6AD6-849A21F2FE06}"/>
              </a:ext>
            </a:extLst>
          </p:cNvPr>
          <p:cNvSpPr/>
          <p:nvPr/>
        </p:nvSpPr>
        <p:spPr>
          <a:xfrm>
            <a:off x="635317" y="6306213"/>
            <a:ext cx="11272203" cy="551788"/>
          </a:xfrm>
          <a:prstGeom prst="rect">
            <a:avLst/>
          </a:prstGeom>
          <a:solidFill>
            <a:srgbClr val="027A87"/>
          </a:solidFill>
          <a:ln w="12700">
            <a:solidFill>
              <a:srgbClr val="027A87"/>
            </a:solidFill>
            <a:prstDash val="solid"/>
          </a:ln>
        </p:spPr>
        <p:txBody>
          <a:bodyPr/>
          <a:lstStyle/>
          <a:p>
            <a:pPr defTabSz="1219170">
              <a:defRPr/>
            </a:pPr>
            <a:endParaRPr lang="ru-RU" sz="1467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9" name="Text 38">
            <a:extLst>
              <a:ext uri="{FF2B5EF4-FFF2-40B4-BE49-F238E27FC236}">
                <a16:creationId xmlns:a16="http://schemas.microsoft.com/office/drawing/2014/main" id="{E1BDDAC2-061A-C654-C6E2-24CFCA066C96}"/>
              </a:ext>
            </a:extLst>
          </p:cNvPr>
          <p:cNvSpPr/>
          <p:nvPr/>
        </p:nvSpPr>
        <p:spPr>
          <a:xfrm>
            <a:off x="879158" y="6306213"/>
            <a:ext cx="10908583" cy="551788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467" b="1" noProof="1">
                <a:solidFill>
                  <a:srgbClr val="FFFFFF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СЕГОДНЯ: завершите карточки 4, 5, 6 и 7 — затем консолидация и подготовка к показу</a:t>
            </a:r>
            <a:endParaRPr lang="ru-RU" sz="1467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3641850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2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BFAEA05-C2CC-5EE2-5600-D8EAE516EF9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8864" y="507985"/>
            <a:ext cx="10410907" cy="1080120"/>
          </a:xfrm>
        </p:spPr>
        <p:txBody>
          <a:bodyPr>
            <a:normAutofit/>
          </a:bodyPr>
          <a:lstStyle/>
          <a:p>
            <a:r>
              <a:rPr lang="ru-RU" noProof="1"/>
              <a:t>Прежде чем вы начнёте разработку, я хочу вам кое-что показать.</a:t>
            </a:r>
          </a:p>
        </p:txBody>
      </p:sp>
      <p:sp>
        <p:nvSpPr>
          <p:cNvPr id="4" name="Shape 4">
            <a:extLst>
              <a:ext uri="{FF2B5EF4-FFF2-40B4-BE49-F238E27FC236}">
                <a16:creationId xmlns:a16="http://schemas.microsoft.com/office/drawing/2014/main" id="{F28211D9-A878-27CA-5910-D905ABD3B9CB}"/>
              </a:ext>
            </a:extLst>
          </p:cNvPr>
          <p:cNvSpPr/>
          <p:nvPr/>
        </p:nvSpPr>
        <p:spPr>
          <a:xfrm>
            <a:off x="648864" y="1676597"/>
            <a:ext cx="11338560" cy="573024"/>
          </a:xfrm>
          <a:prstGeom prst="rect">
            <a:avLst/>
          </a:prstGeom>
          <a:solidFill>
            <a:srgbClr val="FFFFFF"/>
          </a:solidFill>
          <a:ln w="5080">
            <a:solidFill>
              <a:srgbClr val="B2D8DE"/>
            </a:solidFill>
            <a:prstDash val="solid"/>
          </a:ln>
        </p:spPr>
        <p:txBody>
          <a:bodyPr/>
          <a:lstStyle/>
          <a:p>
            <a:pPr defTabSz="1219170">
              <a:defRPr/>
            </a:pPr>
            <a:endParaRPr lang="ru-RU" sz="2400" noProof="1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5" name="Text 5">
            <a:extLst>
              <a:ext uri="{FF2B5EF4-FFF2-40B4-BE49-F238E27FC236}">
                <a16:creationId xmlns:a16="http://schemas.microsoft.com/office/drawing/2014/main" id="{17E929D1-736E-DD4B-137D-E4DC13ABBDB6}"/>
              </a:ext>
            </a:extLst>
          </p:cNvPr>
          <p:cNvSpPr/>
          <p:nvPr/>
        </p:nvSpPr>
        <p:spPr>
          <a:xfrm>
            <a:off x="770784" y="1676597"/>
            <a:ext cx="1341120" cy="573024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600" b="1" noProof="1">
                <a:solidFill>
                  <a:srgbClr val="027A87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Карточка 1:</a:t>
            </a:r>
            <a:endParaRPr lang="ru-RU" sz="1600" noProof="1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6" name="Text 6">
            <a:extLst>
              <a:ext uri="{FF2B5EF4-FFF2-40B4-BE49-F238E27FC236}">
                <a16:creationId xmlns:a16="http://schemas.microsoft.com/office/drawing/2014/main" id="{498683AB-0998-23DB-85F1-042031B57A0B}"/>
              </a:ext>
            </a:extLst>
          </p:cNvPr>
          <p:cNvSpPr/>
          <p:nvPr/>
        </p:nvSpPr>
        <p:spPr>
          <a:xfrm>
            <a:off x="2172864" y="1676597"/>
            <a:ext cx="9692640" cy="573024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600" noProof="1">
                <a:solidFill>
                  <a:srgbClr val="16303A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Компетенция для развития: беглость в разработке профессионального развития педагогов — перевод компетентностной задачи в структурированный учебный опыт. Опирается на LifeComp.</a:t>
            </a:r>
            <a:endParaRPr lang="ru-RU" sz="1600" noProof="1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7" name="Shape 7">
            <a:extLst>
              <a:ext uri="{FF2B5EF4-FFF2-40B4-BE49-F238E27FC236}">
                <a16:creationId xmlns:a16="http://schemas.microsoft.com/office/drawing/2014/main" id="{10578A87-A1DD-2656-B3C5-C9634A22F703}"/>
              </a:ext>
            </a:extLst>
          </p:cNvPr>
          <p:cNvSpPr/>
          <p:nvPr/>
        </p:nvSpPr>
        <p:spPr>
          <a:xfrm>
            <a:off x="648864" y="2310581"/>
            <a:ext cx="11338560" cy="573024"/>
          </a:xfrm>
          <a:prstGeom prst="rect">
            <a:avLst/>
          </a:prstGeom>
          <a:solidFill>
            <a:srgbClr val="D6F0F3"/>
          </a:solidFill>
          <a:ln w="5080">
            <a:solidFill>
              <a:srgbClr val="B2D8DE"/>
            </a:solidFill>
            <a:prstDash val="solid"/>
          </a:ln>
        </p:spPr>
        <p:txBody>
          <a:bodyPr/>
          <a:lstStyle/>
          <a:p>
            <a:pPr defTabSz="1219170">
              <a:defRPr/>
            </a:pPr>
            <a:endParaRPr lang="ru-RU" sz="2400" noProof="1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8" name="Text 8">
            <a:extLst>
              <a:ext uri="{FF2B5EF4-FFF2-40B4-BE49-F238E27FC236}">
                <a16:creationId xmlns:a16="http://schemas.microsoft.com/office/drawing/2014/main" id="{4E93D90E-818C-C33E-CBF1-308E181CEE68}"/>
              </a:ext>
            </a:extLst>
          </p:cNvPr>
          <p:cNvSpPr/>
          <p:nvPr/>
        </p:nvSpPr>
        <p:spPr>
          <a:xfrm>
            <a:off x="770784" y="2310581"/>
            <a:ext cx="1341120" cy="573024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600" b="1" noProof="1">
                <a:solidFill>
                  <a:srgbClr val="027A87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Карточка 2:</a:t>
            </a:r>
            <a:endParaRPr lang="ru-RU" sz="1600" noProof="1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9" name="Text 9">
            <a:extLst>
              <a:ext uri="{FF2B5EF4-FFF2-40B4-BE49-F238E27FC236}">
                <a16:creationId xmlns:a16="http://schemas.microsoft.com/office/drawing/2014/main" id="{95BE13B9-2102-F09C-8C7B-AD55E13F5925}"/>
              </a:ext>
            </a:extLst>
          </p:cNvPr>
          <p:cNvSpPr/>
          <p:nvPr/>
        </p:nvSpPr>
        <p:spPr>
          <a:xfrm>
            <a:off x="2172864" y="2310581"/>
            <a:ext cx="9692640" cy="573024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600" noProof="1">
                <a:solidFill>
                  <a:srgbClr val="16303A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Исходный уровень оценён по работе Дня 1. Вы пришли с аналитической беглостью и тремя уже принятыми решениями по планированию. Исходный уровень: средний, не начальный.</a:t>
            </a:r>
            <a:endParaRPr lang="ru-RU" sz="1600" noProof="1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0" name="Shape 10">
            <a:extLst>
              <a:ext uri="{FF2B5EF4-FFF2-40B4-BE49-F238E27FC236}">
                <a16:creationId xmlns:a16="http://schemas.microsoft.com/office/drawing/2014/main" id="{B7EBB8FD-98E7-C153-3696-F658A1881E73}"/>
              </a:ext>
            </a:extLst>
          </p:cNvPr>
          <p:cNvSpPr/>
          <p:nvPr/>
        </p:nvSpPr>
        <p:spPr>
          <a:xfrm>
            <a:off x="648864" y="2944565"/>
            <a:ext cx="11338560" cy="573024"/>
          </a:xfrm>
          <a:prstGeom prst="rect">
            <a:avLst/>
          </a:prstGeom>
          <a:solidFill>
            <a:srgbClr val="FFFFFF"/>
          </a:solidFill>
          <a:ln w="5080">
            <a:solidFill>
              <a:srgbClr val="B2D8DE"/>
            </a:solidFill>
            <a:prstDash val="solid"/>
          </a:ln>
        </p:spPr>
        <p:txBody>
          <a:bodyPr/>
          <a:lstStyle/>
          <a:p>
            <a:pPr defTabSz="1219170">
              <a:defRPr/>
            </a:pPr>
            <a:endParaRPr lang="ru-RU" sz="2400" noProof="1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1" name="Text 11">
            <a:extLst>
              <a:ext uri="{FF2B5EF4-FFF2-40B4-BE49-F238E27FC236}">
                <a16:creationId xmlns:a16="http://schemas.microsoft.com/office/drawing/2014/main" id="{1825A5B8-9168-6B91-DCA1-DBD0C48081E6}"/>
              </a:ext>
            </a:extLst>
          </p:cNvPr>
          <p:cNvSpPr/>
          <p:nvPr/>
        </p:nvSpPr>
        <p:spPr>
          <a:xfrm>
            <a:off x="770784" y="2944565"/>
            <a:ext cx="1341120" cy="573024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600" b="1" noProof="1">
                <a:solidFill>
                  <a:srgbClr val="027A87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Карточка 3:</a:t>
            </a:r>
            <a:endParaRPr lang="ru-RU" sz="1600" noProof="1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2" name="Text 12">
            <a:extLst>
              <a:ext uri="{FF2B5EF4-FFF2-40B4-BE49-F238E27FC236}">
                <a16:creationId xmlns:a16="http://schemas.microsoft.com/office/drawing/2014/main" id="{95570D1C-0905-6D55-9EB4-52B21CA171CA}"/>
              </a:ext>
            </a:extLst>
          </p:cNvPr>
          <p:cNvSpPr/>
          <p:nvPr/>
        </p:nvSpPr>
        <p:spPr>
          <a:xfrm>
            <a:off x="2172864" y="2944565"/>
            <a:ext cx="9692640" cy="573024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600" noProof="1">
                <a:solidFill>
                  <a:srgbClr val="16303A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Выбранный метод обучения: Лабораторное обучение — вы осваиваете процесс разработки, используя его, а не наблюдая за тем, как мы его используем.</a:t>
            </a:r>
            <a:endParaRPr lang="ru-RU" sz="1600" noProof="1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3" name="Shape 13">
            <a:extLst>
              <a:ext uri="{FF2B5EF4-FFF2-40B4-BE49-F238E27FC236}">
                <a16:creationId xmlns:a16="http://schemas.microsoft.com/office/drawing/2014/main" id="{31037416-6337-DB6B-309A-47DD5BEDFA1A}"/>
              </a:ext>
            </a:extLst>
          </p:cNvPr>
          <p:cNvSpPr/>
          <p:nvPr/>
        </p:nvSpPr>
        <p:spPr>
          <a:xfrm>
            <a:off x="648864" y="3578549"/>
            <a:ext cx="11338560" cy="573024"/>
          </a:xfrm>
          <a:prstGeom prst="rect">
            <a:avLst/>
          </a:prstGeom>
          <a:solidFill>
            <a:srgbClr val="D6F0F3"/>
          </a:solidFill>
          <a:ln w="5080">
            <a:solidFill>
              <a:srgbClr val="B2D8DE"/>
            </a:solidFill>
            <a:prstDash val="solid"/>
          </a:ln>
        </p:spPr>
        <p:txBody>
          <a:bodyPr/>
          <a:lstStyle/>
          <a:p>
            <a:pPr defTabSz="1219170">
              <a:defRPr/>
            </a:pPr>
            <a:endParaRPr lang="ru-RU" sz="2400" noProof="1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4" name="Text 14">
            <a:extLst>
              <a:ext uri="{FF2B5EF4-FFF2-40B4-BE49-F238E27FC236}">
                <a16:creationId xmlns:a16="http://schemas.microsoft.com/office/drawing/2014/main" id="{E06A1177-AD17-991D-41A4-18C726979E51}"/>
              </a:ext>
            </a:extLst>
          </p:cNvPr>
          <p:cNvSpPr/>
          <p:nvPr/>
        </p:nvSpPr>
        <p:spPr>
          <a:xfrm>
            <a:off x="770784" y="3578549"/>
            <a:ext cx="1341120" cy="573024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600" b="1" noProof="1">
                <a:solidFill>
                  <a:srgbClr val="027A87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Карточка 4:</a:t>
            </a:r>
            <a:endParaRPr lang="ru-RU" sz="1600" noProof="1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5" name="Text 15">
            <a:extLst>
              <a:ext uri="{FF2B5EF4-FFF2-40B4-BE49-F238E27FC236}">
                <a16:creationId xmlns:a16="http://schemas.microsoft.com/office/drawing/2014/main" id="{E39B47CB-DCF3-EDF2-0679-030B8401B52A}"/>
              </a:ext>
            </a:extLst>
          </p:cNvPr>
          <p:cNvSpPr/>
          <p:nvPr/>
        </p:nvSpPr>
        <p:spPr>
          <a:xfrm>
            <a:off x="2172864" y="3578549"/>
            <a:ext cx="9814560" cy="573024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600" noProof="1">
                <a:solidFill>
                  <a:srgbClr val="16303A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Результат: полный дизайн сессии профессионального развития педагогов для конкретной группы педагогов, оформленный с помощью всех семи карточек планирования с зафиксированными обоснованиями.</a:t>
            </a:r>
            <a:endParaRPr lang="ru-RU" sz="1600" noProof="1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6" name="Shape 16">
            <a:extLst>
              <a:ext uri="{FF2B5EF4-FFF2-40B4-BE49-F238E27FC236}">
                <a16:creationId xmlns:a16="http://schemas.microsoft.com/office/drawing/2014/main" id="{76F26614-696A-164C-40C6-AE22D246AED4}"/>
              </a:ext>
            </a:extLst>
          </p:cNvPr>
          <p:cNvSpPr/>
          <p:nvPr/>
        </p:nvSpPr>
        <p:spPr>
          <a:xfrm>
            <a:off x="648864" y="4212533"/>
            <a:ext cx="11338560" cy="573024"/>
          </a:xfrm>
          <a:prstGeom prst="rect">
            <a:avLst/>
          </a:prstGeom>
          <a:solidFill>
            <a:srgbClr val="FFFFFF"/>
          </a:solidFill>
          <a:ln w="5080">
            <a:solidFill>
              <a:srgbClr val="B2D8DE"/>
            </a:solidFill>
            <a:prstDash val="solid"/>
          </a:ln>
        </p:spPr>
        <p:txBody>
          <a:bodyPr/>
          <a:lstStyle/>
          <a:p>
            <a:pPr defTabSz="1219170">
              <a:defRPr/>
            </a:pPr>
            <a:endParaRPr lang="ru-RU" sz="2400" noProof="1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7" name="Text 17">
            <a:extLst>
              <a:ext uri="{FF2B5EF4-FFF2-40B4-BE49-F238E27FC236}">
                <a16:creationId xmlns:a16="http://schemas.microsoft.com/office/drawing/2014/main" id="{78B64EF2-2B35-FADB-EAA8-2CBCE2E8AB2F}"/>
              </a:ext>
            </a:extLst>
          </p:cNvPr>
          <p:cNvSpPr/>
          <p:nvPr/>
        </p:nvSpPr>
        <p:spPr>
          <a:xfrm>
            <a:off x="770784" y="4212533"/>
            <a:ext cx="1341120" cy="573024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600" b="1" noProof="1">
                <a:solidFill>
                  <a:srgbClr val="027A87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Карточка 5:</a:t>
            </a:r>
            <a:endParaRPr lang="ru-RU" sz="1600" noProof="1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8" name="Text 18">
            <a:extLst>
              <a:ext uri="{FF2B5EF4-FFF2-40B4-BE49-F238E27FC236}">
                <a16:creationId xmlns:a16="http://schemas.microsoft.com/office/drawing/2014/main" id="{2332B769-2823-DB22-E8AC-C553249A0225}"/>
              </a:ext>
            </a:extLst>
          </p:cNvPr>
          <p:cNvSpPr/>
          <p:nvPr/>
        </p:nvSpPr>
        <p:spPr>
          <a:xfrm>
            <a:off x="2172864" y="4212533"/>
            <a:ext cx="9692640" cy="573024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600" noProof="1">
                <a:solidFill>
                  <a:srgbClr val="16303A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Оценивание: послеобеденный парный показ — стол-партнёр, работающий над тем же заданием, сравнивает, как они подошли к одной и той же задаче разработки.</a:t>
            </a:r>
            <a:endParaRPr lang="ru-RU" sz="1600" noProof="1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9" name="Shape 19">
            <a:extLst>
              <a:ext uri="{FF2B5EF4-FFF2-40B4-BE49-F238E27FC236}">
                <a16:creationId xmlns:a16="http://schemas.microsoft.com/office/drawing/2014/main" id="{D396CA84-31DB-0D81-3137-9F1E0DC85447}"/>
              </a:ext>
            </a:extLst>
          </p:cNvPr>
          <p:cNvSpPr/>
          <p:nvPr/>
        </p:nvSpPr>
        <p:spPr>
          <a:xfrm>
            <a:off x="648864" y="4846517"/>
            <a:ext cx="11338560" cy="573024"/>
          </a:xfrm>
          <a:prstGeom prst="rect">
            <a:avLst/>
          </a:prstGeom>
          <a:solidFill>
            <a:srgbClr val="D6F0F3"/>
          </a:solidFill>
          <a:ln w="5080">
            <a:solidFill>
              <a:srgbClr val="B2D8DE"/>
            </a:solidFill>
            <a:prstDash val="solid"/>
          </a:ln>
        </p:spPr>
        <p:txBody>
          <a:bodyPr/>
          <a:lstStyle/>
          <a:p>
            <a:pPr defTabSz="1219170">
              <a:defRPr/>
            </a:pPr>
            <a:endParaRPr lang="ru-RU" sz="2400" noProof="1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20" name="Text 20">
            <a:extLst>
              <a:ext uri="{FF2B5EF4-FFF2-40B4-BE49-F238E27FC236}">
                <a16:creationId xmlns:a16="http://schemas.microsoft.com/office/drawing/2014/main" id="{CF89555F-4208-F845-4243-C95336E4EFE6}"/>
              </a:ext>
            </a:extLst>
          </p:cNvPr>
          <p:cNvSpPr/>
          <p:nvPr/>
        </p:nvSpPr>
        <p:spPr>
          <a:xfrm>
            <a:off x="770784" y="4846517"/>
            <a:ext cx="1341120" cy="573024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600" b="1" noProof="1">
                <a:solidFill>
                  <a:srgbClr val="027A87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Карточка 6:</a:t>
            </a:r>
            <a:endParaRPr lang="ru-RU" sz="1600" noProof="1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21" name="Text 21">
            <a:extLst>
              <a:ext uri="{FF2B5EF4-FFF2-40B4-BE49-F238E27FC236}">
                <a16:creationId xmlns:a16="http://schemas.microsoft.com/office/drawing/2014/main" id="{C2F52E10-1717-651E-7613-1BEA5DC5D87C}"/>
              </a:ext>
            </a:extLst>
          </p:cNvPr>
          <p:cNvSpPr/>
          <p:nvPr/>
        </p:nvSpPr>
        <p:spPr>
          <a:xfrm>
            <a:off x="2172864" y="4846517"/>
            <a:ext cx="9692640" cy="573024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600" noProof="1">
                <a:solidFill>
                  <a:srgbClr val="16303A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Ресурсы: колода карточек, ваше задание, настенные материалы Дня 1 и тренеры по разработке, посещающие ваш стол.</a:t>
            </a:r>
            <a:endParaRPr lang="ru-RU" sz="1600" noProof="1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22" name="Shape 22">
            <a:extLst>
              <a:ext uri="{FF2B5EF4-FFF2-40B4-BE49-F238E27FC236}">
                <a16:creationId xmlns:a16="http://schemas.microsoft.com/office/drawing/2014/main" id="{8A5405D7-B252-0A94-B496-19DA4CD259B7}"/>
              </a:ext>
            </a:extLst>
          </p:cNvPr>
          <p:cNvSpPr/>
          <p:nvPr/>
        </p:nvSpPr>
        <p:spPr>
          <a:xfrm>
            <a:off x="648864" y="5480501"/>
            <a:ext cx="11338560" cy="573024"/>
          </a:xfrm>
          <a:prstGeom prst="rect">
            <a:avLst/>
          </a:prstGeom>
          <a:solidFill>
            <a:srgbClr val="FFFFFF"/>
          </a:solidFill>
          <a:ln w="5080">
            <a:solidFill>
              <a:srgbClr val="B2D8DE"/>
            </a:solidFill>
            <a:prstDash val="solid"/>
          </a:ln>
        </p:spPr>
        <p:txBody>
          <a:bodyPr/>
          <a:lstStyle/>
          <a:p>
            <a:pPr defTabSz="1219170">
              <a:defRPr/>
            </a:pPr>
            <a:endParaRPr lang="ru-RU" sz="2400" noProof="1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23" name="Text 23">
            <a:extLst>
              <a:ext uri="{FF2B5EF4-FFF2-40B4-BE49-F238E27FC236}">
                <a16:creationId xmlns:a16="http://schemas.microsoft.com/office/drawing/2014/main" id="{8F648CAE-BB04-87A3-E246-424F7D0C555D}"/>
              </a:ext>
            </a:extLst>
          </p:cNvPr>
          <p:cNvSpPr/>
          <p:nvPr/>
        </p:nvSpPr>
        <p:spPr>
          <a:xfrm>
            <a:off x="770784" y="5480501"/>
            <a:ext cx="1341120" cy="573024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600" b="1" noProof="1">
                <a:solidFill>
                  <a:srgbClr val="027A87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Карточка 7:</a:t>
            </a:r>
            <a:endParaRPr lang="ru-RU" sz="1600" noProof="1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24" name="Text 24">
            <a:extLst>
              <a:ext uri="{FF2B5EF4-FFF2-40B4-BE49-F238E27FC236}">
                <a16:creationId xmlns:a16="http://schemas.microsoft.com/office/drawing/2014/main" id="{86B4C9C1-36DD-FEFB-FB79-525E93BC0DA2}"/>
              </a:ext>
            </a:extLst>
          </p:cNvPr>
          <p:cNvSpPr/>
          <p:nvPr/>
        </p:nvSpPr>
        <p:spPr>
          <a:xfrm>
            <a:off x="2172864" y="5480501"/>
            <a:ext cx="9692640" cy="573024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600" noProof="1">
                <a:solidFill>
                  <a:srgbClr val="16303A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График: 135 минут, структурированных по фазам, с вопросом-испытанием в середине. Структура, которую вы переживаете, — это структура, которую вы создаёте.</a:t>
            </a:r>
            <a:endParaRPr lang="ru-RU" sz="1600" noProof="1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25" name="Shape 25">
            <a:extLst>
              <a:ext uri="{FF2B5EF4-FFF2-40B4-BE49-F238E27FC236}">
                <a16:creationId xmlns:a16="http://schemas.microsoft.com/office/drawing/2014/main" id="{5BD1FB9F-7EBF-E76C-83F8-AE44686B8F16}"/>
              </a:ext>
            </a:extLst>
          </p:cNvPr>
          <p:cNvSpPr/>
          <p:nvPr/>
        </p:nvSpPr>
        <p:spPr>
          <a:xfrm>
            <a:off x="648864" y="6163253"/>
            <a:ext cx="11277600" cy="414528"/>
          </a:xfrm>
          <a:prstGeom prst="rect">
            <a:avLst/>
          </a:prstGeom>
          <a:solidFill>
            <a:srgbClr val="E8940A"/>
          </a:solidFill>
          <a:ln w="12700">
            <a:solidFill>
              <a:srgbClr val="E8940A"/>
            </a:solidFill>
            <a:prstDash val="solid"/>
          </a:ln>
        </p:spPr>
        <p:txBody>
          <a:bodyPr/>
          <a:lstStyle/>
          <a:p>
            <a:pPr defTabSz="1219170">
              <a:defRPr/>
            </a:pPr>
            <a:endParaRPr lang="ru-RU" sz="2400" noProof="1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26" name="Text 26">
            <a:extLst>
              <a:ext uri="{FF2B5EF4-FFF2-40B4-BE49-F238E27FC236}">
                <a16:creationId xmlns:a16="http://schemas.microsoft.com/office/drawing/2014/main" id="{173F245C-92C3-63D6-5956-5525D70B2D35}"/>
              </a:ext>
            </a:extLst>
          </p:cNvPr>
          <p:cNvSpPr/>
          <p:nvPr/>
        </p:nvSpPr>
        <p:spPr>
          <a:xfrm>
            <a:off x="709824" y="6163253"/>
            <a:ext cx="11216640" cy="414528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algn="ctr" defTabSz="1219170">
              <a:defRPr/>
            </a:pPr>
            <a:r>
              <a:rPr lang="ru-RU" sz="1600" b="1" noProof="1">
                <a:solidFill>
                  <a:srgbClr val="FFFFFF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SCAFFOLD: Метод обучения 4.6 — Лабораторное обучение. Процесс разработки, работающий сам на себя.</a:t>
            </a:r>
            <a:endParaRPr lang="ru-RU" sz="1600" noProof="1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262235812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hape 2">
            <a:extLst>
              <a:ext uri="{FF2B5EF4-FFF2-40B4-BE49-F238E27FC236}">
                <a16:creationId xmlns:a16="http://schemas.microsoft.com/office/drawing/2014/main" id="{498B925D-A9D5-3336-32A7-A34D15D1587F}"/>
              </a:ext>
            </a:extLst>
          </p:cNvPr>
          <p:cNvSpPr/>
          <p:nvPr/>
        </p:nvSpPr>
        <p:spPr>
          <a:xfrm>
            <a:off x="517177" y="715023"/>
            <a:ext cx="5608320" cy="2805515"/>
          </a:xfrm>
          <a:prstGeom prst="rect">
            <a:avLst/>
          </a:prstGeom>
          <a:solidFill>
            <a:srgbClr val="D6F0F3"/>
          </a:solidFill>
          <a:ln w="19050">
            <a:solidFill>
              <a:srgbClr val="027A87"/>
            </a:solidFill>
            <a:prstDash val="solid"/>
          </a:ln>
          <a:effectLst>
            <a:outerShdw blurRad="76200" dist="38100" dir="8100000" algn="bl" rotWithShape="0">
              <a:srgbClr val="000000">
                <a:alpha val="10000"/>
              </a:srgbClr>
            </a:outerShdw>
          </a:effectLst>
        </p:spPr>
        <p:txBody>
          <a:bodyPr/>
          <a:lstStyle/>
          <a:p>
            <a:pPr defTabSz="1219170">
              <a:defRPr/>
            </a:pPr>
            <a:endParaRPr lang="ru-RU" sz="1867" noProof="1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5" name="Shape 3">
            <a:extLst>
              <a:ext uri="{FF2B5EF4-FFF2-40B4-BE49-F238E27FC236}">
                <a16:creationId xmlns:a16="http://schemas.microsoft.com/office/drawing/2014/main" id="{219B441A-E4BA-02E2-E8B4-A5F4601D6365}"/>
              </a:ext>
            </a:extLst>
          </p:cNvPr>
          <p:cNvSpPr/>
          <p:nvPr/>
        </p:nvSpPr>
        <p:spPr>
          <a:xfrm>
            <a:off x="517177" y="715023"/>
            <a:ext cx="5608320" cy="512064"/>
          </a:xfrm>
          <a:prstGeom prst="rect">
            <a:avLst/>
          </a:prstGeom>
          <a:solidFill>
            <a:srgbClr val="027A87"/>
          </a:solidFill>
          <a:ln w="12700">
            <a:solidFill>
              <a:srgbClr val="027A87"/>
            </a:solidFill>
            <a:prstDash val="solid"/>
          </a:ln>
        </p:spPr>
        <p:txBody>
          <a:bodyPr/>
          <a:lstStyle/>
          <a:p>
            <a:pPr defTabSz="1219170">
              <a:defRPr/>
            </a:pPr>
            <a:endParaRPr lang="ru-RU" sz="1867" noProof="1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6" name="Text 4">
            <a:extLst>
              <a:ext uri="{FF2B5EF4-FFF2-40B4-BE49-F238E27FC236}">
                <a16:creationId xmlns:a16="http://schemas.microsoft.com/office/drawing/2014/main" id="{E7BA4B8C-A6BA-2C38-181D-D1B2F5F85DB3}"/>
              </a:ext>
            </a:extLst>
          </p:cNvPr>
          <p:cNvSpPr/>
          <p:nvPr/>
        </p:nvSpPr>
        <p:spPr>
          <a:xfrm>
            <a:off x="663481" y="715023"/>
            <a:ext cx="5303520" cy="512064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867" b="1" noProof="1">
                <a:solidFill>
                  <a:srgbClr val="FFFFFF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Карточка 4  —  Результат / свидетельство</a:t>
            </a:r>
            <a:endParaRPr lang="ru-RU" sz="1867" noProof="1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7" name="Text 5">
            <a:extLst>
              <a:ext uri="{FF2B5EF4-FFF2-40B4-BE49-F238E27FC236}">
                <a16:creationId xmlns:a16="http://schemas.microsoft.com/office/drawing/2014/main" id="{A8F15164-F613-CDAB-4193-A5AD02DA7FF5}"/>
              </a:ext>
            </a:extLst>
          </p:cNvPr>
          <p:cNvSpPr/>
          <p:nvPr/>
        </p:nvSpPr>
        <p:spPr>
          <a:xfrm>
            <a:off x="663481" y="1300239"/>
            <a:ext cx="5303520" cy="1926336"/>
          </a:xfrm>
          <a:prstGeom prst="rect">
            <a:avLst/>
          </a:prstGeom>
          <a:noFill/>
          <a:ln/>
        </p:spPr>
        <p:txBody>
          <a:bodyPr wrap="square" rtlCol="0" anchor="t"/>
          <a:lstStyle/>
          <a:p>
            <a:pPr defTabSz="1219170">
              <a:defRPr/>
            </a:pPr>
            <a:r>
              <a:rPr lang="ru-RU" sz="1867" noProof="1">
                <a:solidFill>
                  <a:srgbClr val="16303A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Что создадут участники? Не обязательно письменный документ — может быть переработанный план занятия, договор о взаимном наблюдении, совместная формулировка проблемы. Должно быть реальным, значимым и реалистичным для группы педагогов в вашем задании.</a:t>
            </a:r>
            <a:endParaRPr lang="ru-RU" sz="1867" noProof="1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8" name="Shape 6">
            <a:extLst>
              <a:ext uri="{FF2B5EF4-FFF2-40B4-BE49-F238E27FC236}">
                <a16:creationId xmlns:a16="http://schemas.microsoft.com/office/drawing/2014/main" id="{81DF6C4C-C786-98F1-CA1F-1283812460B9}"/>
              </a:ext>
            </a:extLst>
          </p:cNvPr>
          <p:cNvSpPr/>
          <p:nvPr/>
        </p:nvSpPr>
        <p:spPr>
          <a:xfrm>
            <a:off x="6466873" y="715023"/>
            <a:ext cx="5608320" cy="2805515"/>
          </a:xfrm>
          <a:prstGeom prst="rect">
            <a:avLst/>
          </a:prstGeom>
          <a:solidFill>
            <a:srgbClr val="D6F0F3"/>
          </a:solidFill>
          <a:ln w="19050">
            <a:solidFill>
              <a:srgbClr val="027A87"/>
            </a:solidFill>
            <a:prstDash val="solid"/>
          </a:ln>
          <a:effectLst>
            <a:outerShdw blurRad="76200" dist="38100" dir="8100000" algn="bl" rotWithShape="0">
              <a:srgbClr val="000000">
                <a:alpha val="10000"/>
              </a:srgbClr>
            </a:outerShdw>
          </a:effectLst>
        </p:spPr>
        <p:txBody>
          <a:bodyPr/>
          <a:lstStyle/>
          <a:p>
            <a:pPr defTabSz="1219170">
              <a:defRPr/>
            </a:pPr>
            <a:endParaRPr lang="ru-RU" sz="1867" noProof="1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9" name="Shape 7">
            <a:extLst>
              <a:ext uri="{FF2B5EF4-FFF2-40B4-BE49-F238E27FC236}">
                <a16:creationId xmlns:a16="http://schemas.microsoft.com/office/drawing/2014/main" id="{791BB83E-21C0-F868-0592-00188BE9C510}"/>
              </a:ext>
            </a:extLst>
          </p:cNvPr>
          <p:cNvSpPr/>
          <p:nvPr/>
        </p:nvSpPr>
        <p:spPr>
          <a:xfrm>
            <a:off x="6466873" y="715023"/>
            <a:ext cx="5608320" cy="512064"/>
          </a:xfrm>
          <a:prstGeom prst="rect">
            <a:avLst/>
          </a:prstGeom>
          <a:solidFill>
            <a:srgbClr val="027A87"/>
          </a:solidFill>
          <a:ln w="12700">
            <a:solidFill>
              <a:srgbClr val="027A87"/>
            </a:solidFill>
            <a:prstDash val="solid"/>
          </a:ln>
        </p:spPr>
        <p:txBody>
          <a:bodyPr/>
          <a:lstStyle/>
          <a:p>
            <a:pPr defTabSz="1219170">
              <a:defRPr/>
            </a:pPr>
            <a:endParaRPr lang="ru-RU" sz="1867" noProof="1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0" name="Text 8">
            <a:extLst>
              <a:ext uri="{FF2B5EF4-FFF2-40B4-BE49-F238E27FC236}">
                <a16:creationId xmlns:a16="http://schemas.microsoft.com/office/drawing/2014/main" id="{7D4B10CE-3DEF-D13F-2926-F0EA09276E3F}"/>
              </a:ext>
            </a:extLst>
          </p:cNvPr>
          <p:cNvSpPr/>
          <p:nvPr/>
        </p:nvSpPr>
        <p:spPr>
          <a:xfrm>
            <a:off x="6613177" y="715023"/>
            <a:ext cx="5303520" cy="512064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867" b="1" noProof="1">
                <a:solidFill>
                  <a:srgbClr val="FFFFFF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Карточка 5  —  Выбор метода оценивания</a:t>
            </a:r>
            <a:endParaRPr lang="ru-RU" sz="1867" noProof="1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1" name="Text 9">
            <a:extLst>
              <a:ext uri="{FF2B5EF4-FFF2-40B4-BE49-F238E27FC236}">
                <a16:creationId xmlns:a16="http://schemas.microsoft.com/office/drawing/2014/main" id="{FEEFA73F-5D64-8833-6FFE-D5FC1A15C37E}"/>
              </a:ext>
            </a:extLst>
          </p:cNvPr>
          <p:cNvSpPr/>
          <p:nvPr/>
        </p:nvSpPr>
        <p:spPr>
          <a:xfrm>
            <a:off x="6613177" y="1300239"/>
            <a:ext cx="5303520" cy="1926336"/>
          </a:xfrm>
          <a:prstGeom prst="rect">
            <a:avLst/>
          </a:prstGeom>
          <a:noFill/>
          <a:ln/>
        </p:spPr>
        <p:txBody>
          <a:bodyPr wrap="square" rtlCol="0" anchor="t"/>
          <a:lstStyle/>
          <a:p>
            <a:pPr defTabSz="1219170">
              <a:defRPr/>
            </a:pPr>
            <a:r>
              <a:rPr lang="ru-RU" sz="1867" noProof="1">
                <a:solidFill>
                  <a:srgbClr val="16303A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Найдите карточки методов оценивания. Выберите ту, которая соответствует вашему результату и методу обучения. Это ваш ответ на вопрос-испытание середины сессии: как вы узнаете, что участники ушли с более развитой компетенцией?</a:t>
            </a:r>
            <a:endParaRPr lang="ru-RU" sz="1867" noProof="1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2" name="Shape 10">
            <a:extLst>
              <a:ext uri="{FF2B5EF4-FFF2-40B4-BE49-F238E27FC236}">
                <a16:creationId xmlns:a16="http://schemas.microsoft.com/office/drawing/2014/main" id="{2E283851-EF54-4AC2-160E-2349FC042384}"/>
              </a:ext>
            </a:extLst>
          </p:cNvPr>
          <p:cNvSpPr/>
          <p:nvPr/>
        </p:nvSpPr>
        <p:spPr>
          <a:xfrm>
            <a:off x="517177" y="3593690"/>
            <a:ext cx="5608320" cy="2584704"/>
          </a:xfrm>
          <a:prstGeom prst="rect">
            <a:avLst/>
          </a:prstGeom>
          <a:solidFill>
            <a:srgbClr val="D6F0F3"/>
          </a:solidFill>
          <a:ln w="19050">
            <a:solidFill>
              <a:srgbClr val="5C7A84"/>
            </a:solidFill>
            <a:prstDash val="solid"/>
          </a:ln>
          <a:effectLst>
            <a:outerShdw blurRad="76200" dist="38100" dir="8100000" algn="bl" rotWithShape="0">
              <a:srgbClr val="000000">
                <a:alpha val="10000"/>
              </a:srgbClr>
            </a:outerShdw>
          </a:effectLst>
        </p:spPr>
        <p:txBody>
          <a:bodyPr/>
          <a:lstStyle/>
          <a:p>
            <a:pPr defTabSz="1219170">
              <a:defRPr/>
            </a:pPr>
            <a:endParaRPr lang="ru-RU" sz="1867" noProof="1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3" name="Shape 11">
            <a:extLst>
              <a:ext uri="{FF2B5EF4-FFF2-40B4-BE49-F238E27FC236}">
                <a16:creationId xmlns:a16="http://schemas.microsoft.com/office/drawing/2014/main" id="{2BD6DE96-494C-F708-B173-29045420E5F2}"/>
              </a:ext>
            </a:extLst>
          </p:cNvPr>
          <p:cNvSpPr/>
          <p:nvPr/>
        </p:nvSpPr>
        <p:spPr>
          <a:xfrm>
            <a:off x="517177" y="3593690"/>
            <a:ext cx="5608320" cy="512064"/>
          </a:xfrm>
          <a:prstGeom prst="rect">
            <a:avLst/>
          </a:prstGeom>
          <a:solidFill>
            <a:srgbClr val="5C7A84"/>
          </a:solidFill>
          <a:ln w="12700">
            <a:solidFill>
              <a:srgbClr val="5C7A84"/>
            </a:solidFill>
            <a:prstDash val="solid"/>
          </a:ln>
        </p:spPr>
        <p:txBody>
          <a:bodyPr/>
          <a:lstStyle/>
          <a:p>
            <a:pPr defTabSz="1219170">
              <a:defRPr/>
            </a:pPr>
            <a:endParaRPr lang="ru-RU" sz="1867" noProof="1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4" name="Text 12">
            <a:extLst>
              <a:ext uri="{FF2B5EF4-FFF2-40B4-BE49-F238E27FC236}">
                <a16:creationId xmlns:a16="http://schemas.microsoft.com/office/drawing/2014/main" id="{87BE3CFA-3A5D-C600-E9A3-9212A0128522}"/>
              </a:ext>
            </a:extLst>
          </p:cNvPr>
          <p:cNvSpPr/>
          <p:nvPr/>
        </p:nvSpPr>
        <p:spPr>
          <a:xfrm>
            <a:off x="663481" y="3593690"/>
            <a:ext cx="5303520" cy="512064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867" b="1" noProof="1">
                <a:solidFill>
                  <a:srgbClr val="FFFFFF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Карточка 6  —  Сбор ресурсов</a:t>
            </a:r>
            <a:endParaRPr lang="ru-RU" sz="1867" noProof="1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5" name="Text 13">
            <a:extLst>
              <a:ext uri="{FF2B5EF4-FFF2-40B4-BE49-F238E27FC236}">
                <a16:creationId xmlns:a16="http://schemas.microsoft.com/office/drawing/2014/main" id="{839A6C5E-6CD2-BDCF-6025-2EE62360DEBF}"/>
              </a:ext>
            </a:extLst>
          </p:cNvPr>
          <p:cNvSpPr/>
          <p:nvPr/>
        </p:nvSpPr>
        <p:spPr>
          <a:xfrm>
            <a:off x="663481" y="4178906"/>
            <a:ext cx="5303520" cy="1926336"/>
          </a:xfrm>
          <a:prstGeom prst="rect">
            <a:avLst/>
          </a:prstGeom>
          <a:noFill/>
          <a:ln/>
        </p:spPr>
        <p:txBody>
          <a:bodyPr wrap="square" rtlCol="0" anchor="t"/>
          <a:lstStyle/>
          <a:p>
            <a:pPr defTabSz="1219170">
              <a:defRPr/>
            </a:pPr>
            <a:r>
              <a:rPr lang="ru-RU" sz="1867" noProof="1">
                <a:solidFill>
                  <a:srgbClr val="16303A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Что нужно для проведения этой сессии? Будьте реалистичны в отношении фактических условий — класс средней школы, учебный центр или производственная мастерская. Дизайн, требующий несуществующих ресурсов, не будет реализован.</a:t>
            </a:r>
            <a:endParaRPr lang="ru-RU" sz="1867" noProof="1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6" name="Shape 14">
            <a:extLst>
              <a:ext uri="{FF2B5EF4-FFF2-40B4-BE49-F238E27FC236}">
                <a16:creationId xmlns:a16="http://schemas.microsoft.com/office/drawing/2014/main" id="{6736106E-1427-1FB8-C5FD-8CD95020A754}"/>
              </a:ext>
            </a:extLst>
          </p:cNvPr>
          <p:cNvSpPr/>
          <p:nvPr/>
        </p:nvSpPr>
        <p:spPr>
          <a:xfrm>
            <a:off x="6466873" y="3593690"/>
            <a:ext cx="5608320" cy="2584704"/>
          </a:xfrm>
          <a:prstGeom prst="rect">
            <a:avLst/>
          </a:prstGeom>
          <a:solidFill>
            <a:srgbClr val="D6F0F3"/>
          </a:solidFill>
          <a:ln w="19050">
            <a:solidFill>
              <a:srgbClr val="027A87"/>
            </a:solidFill>
            <a:prstDash val="solid"/>
          </a:ln>
          <a:effectLst>
            <a:outerShdw blurRad="76200" dist="38100" dir="8100000" algn="bl" rotWithShape="0">
              <a:srgbClr val="000000">
                <a:alpha val="10000"/>
              </a:srgbClr>
            </a:outerShdw>
          </a:effectLst>
        </p:spPr>
        <p:txBody>
          <a:bodyPr/>
          <a:lstStyle/>
          <a:p>
            <a:pPr defTabSz="1219170">
              <a:defRPr/>
            </a:pPr>
            <a:endParaRPr lang="ru-RU" sz="1867" noProof="1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7" name="Shape 15">
            <a:extLst>
              <a:ext uri="{FF2B5EF4-FFF2-40B4-BE49-F238E27FC236}">
                <a16:creationId xmlns:a16="http://schemas.microsoft.com/office/drawing/2014/main" id="{D757CA39-C25E-FE28-074A-7FC223299A67}"/>
              </a:ext>
            </a:extLst>
          </p:cNvPr>
          <p:cNvSpPr/>
          <p:nvPr/>
        </p:nvSpPr>
        <p:spPr>
          <a:xfrm>
            <a:off x="6466873" y="3593690"/>
            <a:ext cx="5608320" cy="512064"/>
          </a:xfrm>
          <a:prstGeom prst="rect">
            <a:avLst/>
          </a:prstGeom>
          <a:solidFill>
            <a:srgbClr val="027A87"/>
          </a:solidFill>
          <a:ln w="12700">
            <a:solidFill>
              <a:srgbClr val="027A87"/>
            </a:solidFill>
            <a:prstDash val="solid"/>
          </a:ln>
        </p:spPr>
        <p:txBody>
          <a:bodyPr/>
          <a:lstStyle/>
          <a:p>
            <a:pPr defTabSz="1219170">
              <a:defRPr/>
            </a:pPr>
            <a:endParaRPr lang="ru-RU" sz="1867" noProof="1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8" name="Text 16">
            <a:extLst>
              <a:ext uri="{FF2B5EF4-FFF2-40B4-BE49-F238E27FC236}">
                <a16:creationId xmlns:a16="http://schemas.microsoft.com/office/drawing/2014/main" id="{5EF817A1-1475-2343-842E-1A73F6965408}"/>
              </a:ext>
            </a:extLst>
          </p:cNvPr>
          <p:cNvSpPr/>
          <p:nvPr/>
        </p:nvSpPr>
        <p:spPr>
          <a:xfrm>
            <a:off x="6613177" y="3593690"/>
            <a:ext cx="5303520" cy="512064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867" b="1" noProof="1">
                <a:solidFill>
                  <a:srgbClr val="FFFFFF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Карточка 7  —  Хронология</a:t>
            </a:r>
            <a:endParaRPr lang="ru-RU" sz="1867" noProof="1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9" name="Text 17">
            <a:extLst>
              <a:ext uri="{FF2B5EF4-FFF2-40B4-BE49-F238E27FC236}">
                <a16:creationId xmlns:a16="http://schemas.microsoft.com/office/drawing/2014/main" id="{848C871A-F51E-02CC-082F-441284287DFF}"/>
              </a:ext>
            </a:extLst>
          </p:cNvPr>
          <p:cNvSpPr/>
          <p:nvPr/>
        </p:nvSpPr>
        <p:spPr>
          <a:xfrm>
            <a:off x="6613177" y="4178906"/>
            <a:ext cx="5303520" cy="1926336"/>
          </a:xfrm>
          <a:prstGeom prst="rect">
            <a:avLst/>
          </a:prstGeom>
          <a:noFill/>
          <a:ln/>
        </p:spPr>
        <p:txBody>
          <a:bodyPr wrap="square" rtlCol="0" anchor="t"/>
          <a:lstStyle/>
          <a:p>
            <a:pPr defTabSz="1219170">
              <a:defRPr/>
            </a:pPr>
            <a:r>
              <a:rPr lang="ru-RU" sz="1867" noProof="1">
                <a:solidFill>
                  <a:srgbClr val="16303A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Составьте карту всех 90 минут: открытие, не менее двух фаз активного обучения, момент обмена с коллегами и завершающая рефлексия. Думайте о темпе для данной конкретной группы педагогов.</a:t>
            </a:r>
            <a:endParaRPr lang="ru-RU" sz="1867" noProof="1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302789387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CBA1D93-F146-23CB-26BA-91E9CD1495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5317" y="422444"/>
            <a:ext cx="9270683" cy="1080120"/>
          </a:xfrm>
        </p:spPr>
        <p:txBody>
          <a:bodyPr/>
          <a:lstStyle/>
          <a:p>
            <a:r>
              <a:rPr lang="ru-RU" noProof="1"/>
              <a:t>Карточки задания – выбор контекста</a:t>
            </a:r>
          </a:p>
        </p:txBody>
      </p:sp>
      <p:sp>
        <p:nvSpPr>
          <p:cNvPr id="4" name="Shape 3">
            <a:extLst>
              <a:ext uri="{FF2B5EF4-FFF2-40B4-BE49-F238E27FC236}">
                <a16:creationId xmlns:a16="http://schemas.microsoft.com/office/drawing/2014/main" id="{0987A57D-0553-BD70-CE09-6D2A3B950348}"/>
              </a:ext>
            </a:extLst>
          </p:cNvPr>
          <p:cNvSpPr/>
          <p:nvPr/>
        </p:nvSpPr>
        <p:spPr>
          <a:xfrm>
            <a:off x="635317" y="1478280"/>
            <a:ext cx="11216640" cy="2545080"/>
          </a:xfrm>
          <a:prstGeom prst="rect">
            <a:avLst/>
          </a:prstGeom>
          <a:solidFill>
            <a:srgbClr val="D6F0F3"/>
          </a:solidFill>
          <a:ln w="12700">
            <a:solidFill>
              <a:srgbClr val="039AAA"/>
            </a:solidFill>
            <a:prstDash val="solid"/>
          </a:ln>
        </p:spPr>
        <p:txBody>
          <a:bodyPr/>
          <a:lstStyle/>
          <a:p>
            <a:pPr defTabSz="1219170">
              <a:defRPr/>
            </a:pPr>
            <a:endParaRPr lang="ru-RU" sz="16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Shape 4">
            <a:extLst>
              <a:ext uri="{FF2B5EF4-FFF2-40B4-BE49-F238E27FC236}">
                <a16:creationId xmlns:a16="http://schemas.microsoft.com/office/drawing/2014/main" id="{26624DE1-A015-5A6A-5EA8-C9C00A8A0995}"/>
              </a:ext>
            </a:extLst>
          </p:cNvPr>
          <p:cNvSpPr/>
          <p:nvPr/>
        </p:nvSpPr>
        <p:spPr>
          <a:xfrm>
            <a:off x="635317" y="1478280"/>
            <a:ext cx="218123" cy="2545080"/>
          </a:xfrm>
          <a:prstGeom prst="rect">
            <a:avLst/>
          </a:prstGeom>
          <a:solidFill>
            <a:srgbClr val="027A87"/>
          </a:solidFill>
          <a:ln w="12700">
            <a:solidFill>
              <a:srgbClr val="027A87"/>
            </a:solidFill>
            <a:prstDash val="solid"/>
          </a:ln>
        </p:spPr>
        <p:txBody>
          <a:bodyPr/>
          <a:lstStyle/>
          <a:p>
            <a:pPr defTabSz="1219170">
              <a:defRPr/>
            </a:pPr>
            <a:endParaRPr lang="ru-RU" sz="16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Text 5">
            <a:extLst>
              <a:ext uri="{FF2B5EF4-FFF2-40B4-BE49-F238E27FC236}">
                <a16:creationId xmlns:a16="http://schemas.microsoft.com/office/drawing/2014/main" id="{902C40A5-3C7A-9057-A912-18E709C08832}"/>
              </a:ext>
            </a:extLst>
          </p:cNvPr>
          <p:cNvSpPr/>
          <p:nvPr/>
        </p:nvSpPr>
        <p:spPr>
          <a:xfrm>
            <a:off x="1001077" y="1575816"/>
            <a:ext cx="10607040" cy="36576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867" b="1" noProof="1">
                <a:solidFill>
                  <a:srgbClr val="027A87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Задание</a:t>
            </a:r>
            <a:endParaRPr lang="ru-RU" sz="1867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Text 6">
            <a:extLst>
              <a:ext uri="{FF2B5EF4-FFF2-40B4-BE49-F238E27FC236}">
                <a16:creationId xmlns:a16="http://schemas.microsoft.com/office/drawing/2014/main" id="{D6DCA863-67F3-7C15-8A61-8829DFB7A354}"/>
              </a:ext>
            </a:extLst>
          </p:cNvPr>
          <p:cNvSpPr/>
          <p:nvPr/>
        </p:nvSpPr>
        <p:spPr>
          <a:xfrm>
            <a:off x="1001077" y="1990344"/>
            <a:ext cx="10607040" cy="1341120"/>
          </a:xfrm>
          <a:prstGeom prst="rect">
            <a:avLst/>
          </a:prstGeom>
          <a:noFill/>
          <a:ln/>
        </p:spPr>
        <p:txBody>
          <a:bodyPr wrap="square" rtlCol="0" anchor="t"/>
          <a:lstStyle/>
          <a:p>
            <a:pPr defTabSz="1219170">
              <a:defRPr/>
            </a:pPr>
            <a:r>
              <a:rPr lang="ru-RU" sz="2000" i="1" noProof="1">
                <a:solidFill>
                  <a:srgbClr val="16303A"/>
                </a:solidFill>
                <a:latin typeface="Arial" panose="020B0604020202020204" pitchFamily="34" charset="0"/>
                <a:ea typeface="Georgia" pitchFamily="34" charset="-122"/>
                <a:cs typeface="Arial" panose="020B0604020202020204" pitchFamily="34" charset="0"/>
              </a:rPr>
              <a:t>Найдите карточки задания: Тема, Целевая аудитория, Потребности, Связи с реальным миром, Пространство, Продолжительность, Задача, Ресурсы. Ваше задание уже ответило на некоторые — целевая группа, 90 минут, тематическая область. Уделите особое внимание карточке «Связи с реальным миром» и карточке «Потребности». Будьте точны в том, что реально происходит в рабочей жизни педагогов и делает это важным.</a:t>
            </a:r>
            <a:endParaRPr lang="ru-RU" sz="20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Shape 7">
            <a:extLst>
              <a:ext uri="{FF2B5EF4-FFF2-40B4-BE49-F238E27FC236}">
                <a16:creationId xmlns:a16="http://schemas.microsoft.com/office/drawing/2014/main" id="{8CECA840-4B2C-F50A-A5C7-DB95B5BCB9BA}"/>
              </a:ext>
            </a:extLst>
          </p:cNvPr>
          <p:cNvSpPr/>
          <p:nvPr/>
        </p:nvSpPr>
        <p:spPr>
          <a:xfrm>
            <a:off x="635317" y="4174067"/>
            <a:ext cx="11216640" cy="2111587"/>
          </a:xfrm>
          <a:prstGeom prst="rect">
            <a:avLst/>
          </a:prstGeom>
          <a:solidFill>
            <a:srgbClr val="FFFFFF"/>
          </a:solidFill>
          <a:ln w="10160">
            <a:solidFill>
              <a:srgbClr val="B2D8DE"/>
            </a:solidFill>
            <a:prstDash val="solid"/>
          </a:ln>
          <a:effectLst>
            <a:outerShdw blurRad="76200" dist="38100" dir="8100000" algn="bl" rotWithShape="0">
              <a:srgbClr val="000000">
                <a:alpha val="10000"/>
              </a:srgbClr>
            </a:outerShdw>
          </a:effectLst>
        </p:spPr>
        <p:txBody>
          <a:bodyPr/>
          <a:lstStyle/>
          <a:p>
            <a:pPr defTabSz="1219170">
              <a:defRPr/>
            </a:pPr>
            <a:endParaRPr lang="ru-RU" sz="16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Text 8">
            <a:extLst>
              <a:ext uri="{FF2B5EF4-FFF2-40B4-BE49-F238E27FC236}">
                <a16:creationId xmlns:a16="http://schemas.microsoft.com/office/drawing/2014/main" id="{461A2B69-6636-D4AD-605E-8AE164B2E535}"/>
              </a:ext>
            </a:extLst>
          </p:cNvPr>
          <p:cNvSpPr/>
          <p:nvPr/>
        </p:nvSpPr>
        <p:spPr>
          <a:xfrm>
            <a:off x="879157" y="4235027"/>
            <a:ext cx="10728960" cy="341376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600" b="1" noProof="1">
                <a:solidFill>
                  <a:srgbClr val="027A87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Две карточки, требующие особого внимания:</a:t>
            </a:r>
            <a:endParaRPr lang="ru-RU" sz="16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Text 9">
            <a:extLst>
              <a:ext uri="{FF2B5EF4-FFF2-40B4-BE49-F238E27FC236}">
                <a16:creationId xmlns:a16="http://schemas.microsoft.com/office/drawing/2014/main" id="{E341AC38-57D8-5E6A-3508-23FFF9919D18}"/>
              </a:ext>
            </a:extLst>
          </p:cNvPr>
          <p:cNvSpPr/>
          <p:nvPr/>
        </p:nvSpPr>
        <p:spPr>
          <a:xfrm>
            <a:off x="879157" y="4625171"/>
            <a:ext cx="2560320" cy="341376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600" b="1" noProof="1">
                <a:solidFill>
                  <a:srgbClr val="16303A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Связи с реальным миром:</a:t>
            </a:r>
            <a:endParaRPr lang="ru-RU" sz="16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Text 10">
            <a:extLst>
              <a:ext uri="{FF2B5EF4-FFF2-40B4-BE49-F238E27FC236}">
                <a16:creationId xmlns:a16="http://schemas.microsoft.com/office/drawing/2014/main" id="{41FFAB9C-0509-5D4B-E920-1B12201307AB}"/>
              </a:ext>
            </a:extLst>
          </p:cNvPr>
          <p:cNvSpPr/>
          <p:nvPr/>
        </p:nvSpPr>
        <p:spPr>
          <a:xfrm>
            <a:off x="3500437" y="4625171"/>
            <a:ext cx="8290560" cy="341376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600" noProof="1">
                <a:solidFill>
                  <a:srgbClr val="3D6673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С какой реальной проблемой или вызовом, специфичным для группы педагогов в вашем задании, будет связано ваше профессиональное развитие педагогов?</a:t>
            </a:r>
            <a:endParaRPr lang="ru-RU" sz="16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Text 11">
            <a:extLst>
              <a:ext uri="{FF2B5EF4-FFF2-40B4-BE49-F238E27FC236}">
                <a16:creationId xmlns:a16="http://schemas.microsoft.com/office/drawing/2014/main" id="{C5F4F837-2DC7-3E8C-339B-9D8CF89C44BF}"/>
              </a:ext>
            </a:extLst>
          </p:cNvPr>
          <p:cNvSpPr/>
          <p:nvPr/>
        </p:nvSpPr>
        <p:spPr>
          <a:xfrm>
            <a:off x="879157" y="5437971"/>
            <a:ext cx="2560320" cy="341376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600" b="1" noProof="1">
                <a:solidFill>
                  <a:srgbClr val="16303A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Потребности:</a:t>
            </a:r>
            <a:endParaRPr lang="ru-RU" sz="16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Text 12">
            <a:extLst>
              <a:ext uri="{FF2B5EF4-FFF2-40B4-BE49-F238E27FC236}">
                <a16:creationId xmlns:a16="http://schemas.microsoft.com/office/drawing/2014/main" id="{E537437C-C4CF-63E8-EF85-0380181B31BA}"/>
              </a:ext>
            </a:extLst>
          </p:cNvPr>
          <p:cNvSpPr/>
          <p:nvPr/>
        </p:nvSpPr>
        <p:spPr>
          <a:xfrm>
            <a:off x="3500437" y="5437971"/>
            <a:ext cx="8290560" cy="341376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600" noProof="1">
                <a:solidFill>
                  <a:srgbClr val="3D6673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Что реально происходит в их рабочей жизни, что делает выбранные вами компетенции срочными для этой группы прямо сейчас? Не «им нужно развивать компетенции» — нечто конкретное.</a:t>
            </a:r>
            <a:endParaRPr lang="ru-RU" sz="16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6475968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2">
            <a:extLst>
              <a:ext uri="{FF2B5EF4-FFF2-40B4-BE49-F238E27FC236}">
                <a16:creationId xmlns:a16="http://schemas.microsoft.com/office/drawing/2014/main" id="{81F5F7C1-2108-BB77-3E2A-AEACC706B68E}"/>
              </a:ext>
            </a:extLst>
          </p:cNvPr>
          <p:cNvSpPr/>
          <p:nvPr/>
        </p:nvSpPr>
        <p:spPr>
          <a:xfrm>
            <a:off x="609600" y="918715"/>
            <a:ext cx="10972800" cy="42672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867" noProof="1">
                <a:solidFill>
                  <a:schemeClr val="bg1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Просмотрите ваш полный дизайн — все семь карточек планирования, заметки под каждой, связующее предложение на виду.</a:t>
            </a:r>
            <a:endParaRPr lang="ru-RU" sz="1867" noProof="1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Shape 3">
            <a:extLst>
              <a:ext uri="{FF2B5EF4-FFF2-40B4-BE49-F238E27FC236}">
                <a16:creationId xmlns:a16="http://schemas.microsoft.com/office/drawing/2014/main" id="{A65C224A-C918-3F62-AD82-59376D2B50CC}"/>
              </a:ext>
            </a:extLst>
          </p:cNvPr>
          <p:cNvSpPr/>
          <p:nvPr/>
        </p:nvSpPr>
        <p:spPr>
          <a:xfrm>
            <a:off x="426720" y="1491739"/>
            <a:ext cx="11338560" cy="1402080"/>
          </a:xfrm>
          <a:prstGeom prst="rect">
            <a:avLst/>
          </a:prstGeom>
          <a:solidFill>
            <a:srgbClr val="FFFFFF"/>
          </a:solidFill>
          <a:ln w="6350">
            <a:solidFill>
              <a:srgbClr val="B2D8DE"/>
            </a:solidFill>
            <a:prstDash val="solid"/>
          </a:ln>
          <a:effectLst>
            <a:outerShdw blurRad="76200" dist="38100" dir="8100000" algn="bl" rotWithShape="0">
              <a:srgbClr val="000000">
                <a:alpha val="10000"/>
              </a:srgbClr>
            </a:outerShdw>
          </a:effectLst>
        </p:spPr>
        <p:txBody>
          <a:bodyPr/>
          <a:lstStyle/>
          <a:p>
            <a:pPr defTabSz="1219170">
              <a:defRPr/>
            </a:pPr>
            <a:endParaRPr lang="ru-RU" sz="2667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Shape 4">
            <a:extLst>
              <a:ext uri="{FF2B5EF4-FFF2-40B4-BE49-F238E27FC236}">
                <a16:creationId xmlns:a16="http://schemas.microsoft.com/office/drawing/2014/main" id="{BA94ADBA-1CEB-DF5E-DC23-557F62F366CA}"/>
              </a:ext>
            </a:extLst>
          </p:cNvPr>
          <p:cNvSpPr/>
          <p:nvPr/>
        </p:nvSpPr>
        <p:spPr>
          <a:xfrm>
            <a:off x="573024" y="1918459"/>
            <a:ext cx="512064" cy="512064"/>
          </a:xfrm>
          <a:prstGeom prst="line">
            <a:avLst/>
          </a:prstGeom>
          <a:solidFill>
            <a:srgbClr val="027A87"/>
          </a:solidFill>
          <a:ln w="12700">
            <a:solidFill>
              <a:srgbClr val="027A87"/>
            </a:solidFill>
            <a:prstDash val="solid"/>
          </a:ln>
        </p:spPr>
        <p:txBody>
          <a:bodyPr/>
          <a:lstStyle/>
          <a:p>
            <a:pPr defTabSz="1219170">
              <a:defRPr/>
            </a:pPr>
            <a:endParaRPr lang="ru-RU" sz="2667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Text 5">
            <a:extLst>
              <a:ext uri="{FF2B5EF4-FFF2-40B4-BE49-F238E27FC236}">
                <a16:creationId xmlns:a16="http://schemas.microsoft.com/office/drawing/2014/main" id="{51BA5962-892C-33A5-7021-D2508F897D82}"/>
              </a:ext>
            </a:extLst>
          </p:cNvPr>
          <p:cNvSpPr/>
          <p:nvPr/>
        </p:nvSpPr>
        <p:spPr>
          <a:xfrm>
            <a:off x="573024" y="1918459"/>
            <a:ext cx="512064" cy="512064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algn="ctr" defTabSz="1219170">
              <a:defRPr/>
            </a:pPr>
            <a:r>
              <a:rPr lang="ru-RU" sz="2400" b="1" noProof="1">
                <a:solidFill>
                  <a:srgbClr val="FFC000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1</a:t>
            </a:r>
            <a:endParaRPr lang="ru-RU" sz="2400" noProof="1">
              <a:solidFill>
                <a:srgbClr val="FFC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Text 6">
            <a:extLst>
              <a:ext uri="{FF2B5EF4-FFF2-40B4-BE49-F238E27FC236}">
                <a16:creationId xmlns:a16="http://schemas.microsoft.com/office/drawing/2014/main" id="{293C023E-5CDB-1A0F-5F61-7130172FDC2E}"/>
              </a:ext>
            </a:extLst>
          </p:cNvPr>
          <p:cNvSpPr/>
          <p:nvPr/>
        </p:nvSpPr>
        <p:spPr>
          <a:xfrm>
            <a:off x="1280160" y="1564891"/>
            <a:ext cx="10363200" cy="512064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endParaRPr lang="ru-RU" sz="1867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Text 7">
            <a:extLst>
              <a:ext uri="{FF2B5EF4-FFF2-40B4-BE49-F238E27FC236}">
                <a16:creationId xmlns:a16="http://schemas.microsoft.com/office/drawing/2014/main" id="{06BC8FD9-EF3F-BB3C-2E5E-4C83804CAF36}"/>
              </a:ext>
            </a:extLst>
          </p:cNvPr>
          <p:cNvSpPr/>
          <p:nvPr/>
        </p:nvSpPr>
        <p:spPr>
          <a:xfrm>
            <a:off x="1280160" y="2101339"/>
            <a:ext cx="10363200" cy="707136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467" i="1" noProof="1">
                <a:solidFill>
                  <a:srgbClr val="5C7A84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Если бы вы убрали метод и заменили его лекцией, развивали бы участники всё ещё эти компетенции? Если да, ваш метод декоративный. Он должен быть структурным.</a:t>
            </a:r>
            <a:endParaRPr lang="ru-RU" sz="1467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Shape 8">
            <a:extLst>
              <a:ext uri="{FF2B5EF4-FFF2-40B4-BE49-F238E27FC236}">
                <a16:creationId xmlns:a16="http://schemas.microsoft.com/office/drawing/2014/main" id="{07B38B11-8A09-11B5-19DD-E174D404EA78}"/>
              </a:ext>
            </a:extLst>
          </p:cNvPr>
          <p:cNvSpPr/>
          <p:nvPr/>
        </p:nvSpPr>
        <p:spPr>
          <a:xfrm>
            <a:off x="426720" y="3015739"/>
            <a:ext cx="11338560" cy="1402080"/>
          </a:xfrm>
          <a:prstGeom prst="rect">
            <a:avLst/>
          </a:prstGeom>
          <a:solidFill>
            <a:srgbClr val="D6F0F3"/>
          </a:solidFill>
          <a:ln w="6350">
            <a:solidFill>
              <a:srgbClr val="B2D8DE"/>
            </a:solidFill>
            <a:prstDash val="solid"/>
          </a:ln>
          <a:effectLst>
            <a:outerShdw blurRad="76200" dist="38100" dir="8100000" algn="bl" rotWithShape="0">
              <a:srgbClr val="000000">
                <a:alpha val="10000"/>
              </a:srgbClr>
            </a:outerShdw>
          </a:effectLst>
        </p:spPr>
        <p:txBody>
          <a:bodyPr/>
          <a:lstStyle/>
          <a:p>
            <a:pPr defTabSz="1219170">
              <a:defRPr/>
            </a:pPr>
            <a:endParaRPr lang="ru-RU" sz="2667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Shape 9">
            <a:extLst>
              <a:ext uri="{FF2B5EF4-FFF2-40B4-BE49-F238E27FC236}">
                <a16:creationId xmlns:a16="http://schemas.microsoft.com/office/drawing/2014/main" id="{A5E0AF6C-1B49-16A5-C0DF-9018300461D8}"/>
              </a:ext>
            </a:extLst>
          </p:cNvPr>
          <p:cNvSpPr/>
          <p:nvPr/>
        </p:nvSpPr>
        <p:spPr>
          <a:xfrm>
            <a:off x="573024" y="3442459"/>
            <a:ext cx="512064" cy="512064"/>
          </a:xfrm>
          <a:prstGeom prst="line">
            <a:avLst/>
          </a:prstGeom>
          <a:solidFill>
            <a:srgbClr val="027A87"/>
          </a:solidFill>
          <a:ln w="12700">
            <a:solidFill>
              <a:srgbClr val="027A87"/>
            </a:solidFill>
            <a:prstDash val="solid"/>
          </a:ln>
        </p:spPr>
        <p:txBody>
          <a:bodyPr/>
          <a:lstStyle/>
          <a:p>
            <a:pPr defTabSz="1219170">
              <a:defRPr/>
            </a:pPr>
            <a:endParaRPr lang="ru-RU" sz="2667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Text 10">
            <a:extLst>
              <a:ext uri="{FF2B5EF4-FFF2-40B4-BE49-F238E27FC236}">
                <a16:creationId xmlns:a16="http://schemas.microsoft.com/office/drawing/2014/main" id="{A96F4603-1BA5-4968-4BF4-3067F3ED8DE0}"/>
              </a:ext>
            </a:extLst>
          </p:cNvPr>
          <p:cNvSpPr/>
          <p:nvPr/>
        </p:nvSpPr>
        <p:spPr>
          <a:xfrm>
            <a:off x="573024" y="3442459"/>
            <a:ext cx="512064" cy="512064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algn="ctr" defTabSz="1219170">
              <a:defRPr/>
            </a:pPr>
            <a:r>
              <a:rPr lang="ru-RU" sz="2400" b="1" noProof="1">
                <a:solidFill>
                  <a:srgbClr val="FFC000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2</a:t>
            </a:r>
            <a:endParaRPr lang="ru-RU" sz="2400" noProof="1">
              <a:solidFill>
                <a:srgbClr val="FFC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Text 11">
            <a:extLst>
              <a:ext uri="{FF2B5EF4-FFF2-40B4-BE49-F238E27FC236}">
                <a16:creationId xmlns:a16="http://schemas.microsoft.com/office/drawing/2014/main" id="{8761EAAE-5167-EF58-BCBF-4CDB7ACA5D60}"/>
              </a:ext>
            </a:extLst>
          </p:cNvPr>
          <p:cNvSpPr/>
          <p:nvPr/>
        </p:nvSpPr>
        <p:spPr>
          <a:xfrm>
            <a:off x="1280160" y="3088891"/>
            <a:ext cx="10363200" cy="512064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867" b="1" noProof="1">
                <a:solidFill>
                  <a:srgbClr val="16303A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Как бы объяснили выбранные вами метод оценки соседнему столу? </a:t>
            </a:r>
            <a:endParaRPr lang="ru-RU" sz="1867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Text 12">
            <a:extLst>
              <a:ext uri="{FF2B5EF4-FFF2-40B4-BE49-F238E27FC236}">
                <a16:creationId xmlns:a16="http://schemas.microsoft.com/office/drawing/2014/main" id="{CA40C4F1-6B1B-FEE7-C318-076292BE4E71}"/>
              </a:ext>
            </a:extLst>
          </p:cNvPr>
          <p:cNvSpPr/>
          <p:nvPr/>
        </p:nvSpPr>
        <p:spPr>
          <a:xfrm>
            <a:off x="1280160" y="3625339"/>
            <a:ext cx="10363200" cy="707136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467" i="1" noProof="1">
                <a:solidFill>
                  <a:srgbClr val="5C7A84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Можете ли вы указать конкретный момент в вашем графике, когда вы узнаете, произошло ли обучение — для этой группы, в этих условиях?</a:t>
            </a:r>
            <a:endParaRPr lang="ru-RU" sz="1467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Shape 13">
            <a:extLst>
              <a:ext uri="{FF2B5EF4-FFF2-40B4-BE49-F238E27FC236}">
                <a16:creationId xmlns:a16="http://schemas.microsoft.com/office/drawing/2014/main" id="{7D45C0D2-B742-A62B-BA05-32CC1BED6B32}"/>
              </a:ext>
            </a:extLst>
          </p:cNvPr>
          <p:cNvSpPr/>
          <p:nvPr/>
        </p:nvSpPr>
        <p:spPr>
          <a:xfrm>
            <a:off x="426720" y="4539739"/>
            <a:ext cx="11338560" cy="1402080"/>
          </a:xfrm>
          <a:prstGeom prst="rect">
            <a:avLst/>
          </a:prstGeom>
          <a:solidFill>
            <a:srgbClr val="FFFFFF"/>
          </a:solidFill>
          <a:ln w="6350">
            <a:solidFill>
              <a:srgbClr val="B2D8DE"/>
            </a:solidFill>
            <a:prstDash val="solid"/>
          </a:ln>
          <a:effectLst>
            <a:outerShdw blurRad="76200" dist="38100" dir="8100000" algn="bl" rotWithShape="0">
              <a:srgbClr val="000000">
                <a:alpha val="10000"/>
              </a:srgbClr>
            </a:outerShdw>
          </a:effectLst>
        </p:spPr>
        <p:txBody>
          <a:bodyPr/>
          <a:lstStyle/>
          <a:p>
            <a:pPr defTabSz="1219170">
              <a:defRPr/>
            </a:pPr>
            <a:endParaRPr lang="ru-RU" sz="2667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Shape 14">
            <a:extLst>
              <a:ext uri="{FF2B5EF4-FFF2-40B4-BE49-F238E27FC236}">
                <a16:creationId xmlns:a16="http://schemas.microsoft.com/office/drawing/2014/main" id="{11D7E585-1730-6600-60EC-05C44B9F8CBA}"/>
              </a:ext>
            </a:extLst>
          </p:cNvPr>
          <p:cNvSpPr/>
          <p:nvPr/>
        </p:nvSpPr>
        <p:spPr>
          <a:xfrm>
            <a:off x="573024" y="4966459"/>
            <a:ext cx="512064" cy="512064"/>
          </a:xfrm>
          <a:prstGeom prst="line">
            <a:avLst/>
          </a:prstGeom>
          <a:solidFill>
            <a:srgbClr val="027A87"/>
          </a:solidFill>
          <a:ln w="12700">
            <a:solidFill>
              <a:srgbClr val="027A87"/>
            </a:solidFill>
            <a:prstDash val="solid"/>
          </a:ln>
        </p:spPr>
        <p:txBody>
          <a:bodyPr/>
          <a:lstStyle/>
          <a:p>
            <a:pPr defTabSz="1219170">
              <a:defRPr/>
            </a:pPr>
            <a:endParaRPr lang="ru-RU" sz="2667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Text 15">
            <a:extLst>
              <a:ext uri="{FF2B5EF4-FFF2-40B4-BE49-F238E27FC236}">
                <a16:creationId xmlns:a16="http://schemas.microsoft.com/office/drawing/2014/main" id="{D83A7EC7-9D46-FC9F-4ABF-B0CE699EB55E}"/>
              </a:ext>
            </a:extLst>
          </p:cNvPr>
          <p:cNvSpPr/>
          <p:nvPr/>
        </p:nvSpPr>
        <p:spPr>
          <a:xfrm>
            <a:off x="573024" y="4966459"/>
            <a:ext cx="512064" cy="512064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algn="ctr" defTabSz="1219170">
              <a:defRPr/>
            </a:pPr>
            <a:r>
              <a:rPr lang="ru-RU" sz="2400" b="1" noProof="1">
                <a:solidFill>
                  <a:srgbClr val="FFC000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3</a:t>
            </a:r>
            <a:endParaRPr lang="ru-RU" sz="2400" noProof="1">
              <a:solidFill>
                <a:srgbClr val="FFC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Text 16">
            <a:extLst>
              <a:ext uri="{FF2B5EF4-FFF2-40B4-BE49-F238E27FC236}">
                <a16:creationId xmlns:a16="http://schemas.microsoft.com/office/drawing/2014/main" id="{6154B728-A8C9-2667-FD86-DE9418420386}"/>
              </a:ext>
            </a:extLst>
          </p:cNvPr>
          <p:cNvSpPr/>
          <p:nvPr/>
        </p:nvSpPr>
        <p:spPr>
          <a:xfrm>
            <a:off x="1280160" y="4612891"/>
            <a:ext cx="10363200" cy="512064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867" b="1" noProof="1">
                <a:solidFill>
                  <a:srgbClr val="16303A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Узнали ли педагоги, описанные в вашем брифе, обозначенную вами связь с реальной жизнью как действительно актуальную для их повседневной работы? </a:t>
            </a:r>
            <a:endParaRPr lang="ru-RU" sz="1867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" name="Text 17">
            <a:extLst>
              <a:ext uri="{FF2B5EF4-FFF2-40B4-BE49-F238E27FC236}">
                <a16:creationId xmlns:a16="http://schemas.microsoft.com/office/drawing/2014/main" id="{AC7C48FA-5834-FEEE-D259-634A3A70C0D1}"/>
              </a:ext>
            </a:extLst>
          </p:cNvPr>
          <p:cNvSpPr/>
          <p:nvPr/>
        </p:nvSpPr>
        <p:spPr>
          <a:xfrm>
            <a:off x="1280160" y="5149339"/>
            <a:ext cx="10363200" cy="707136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467" i="1" noProof="1">
                <a:solidFill>
                  <a:srgbClr val="5C7A84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Повседневная реальность педагога средней школы отличается от реальности мастера производственного обучения. Убедитесь, что ваша связь с реальным миром попадает в нужную из них.</a:t>
            </a:r>
            <a:endParaRPr lang="ru-RU" sz="1467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" name="Shape 18">
            <a:extLst>
              <a:ext uri="{FF2B5EF4-FFF2-40B4-BE49-F238E27FC236}">
                <a16:creationId xmlns:a16="http://schemas.microsoft.com/office/drawing/2014/main" id="{DB640DA6-8672-481F-6C82-B9CE201FAE50}"/>
              </a:ext>
            </a:extLst>
          </p:cNvPr>
          <p:cNvSpPr/>
          <p:nvPr/>
        </p:nvSpPr>
        <p:spPr>
          <a:xfrm>
            <a:off x="426720" y="6100315"/>
            <a:ext cx="11338560" cy="463296"/>
          </a:xfrm>
          <a:prstGeom prst="rect">
            <a:avLst/>
          </a:prstGeom>
          <a:solidFill>
            <a:srgbClr val="027A87"/>
          </a:solidFill>
          <a:ln w="12700">
            <a:solidFill>
              <a:srgbClr val="027A87"/>
            </a:solidFill>
            <a:prstDash val="solid"/>
          </a:ln>
        </p:spPr>
        <p:txBody>
          <a:bodyPr/>
          <a:lstStyle/>
          <a:p>
            <a:pPr defTabSz="1219170">
              <a:defRPr/>
            </a:pPr>
            <a:endParaRPr lang="ru-RU" sz="2667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2" name="Text 19">
            <a:extLst>
              <a:ext uri="{FF2B5EF4-FFF2-40B4-BE49-F238E27FC236}">
                <a16:creationId xmlns:a16="http://schemas.microsoft.com/office/drawing/2014/main" id="{319001C2-46D8-C0DF-69F2-4F1B2CBC4648}"/>
              </a:ext>
            </a:extLst>
          </p:cNvPr>
          <p:cNvSpPr/>
          <p:nvPr/>
        </p:nvSpPr>
        <p:spPr>
          <a:xfrm>
            <a:off x="670560" y="6100315"/>
            <a:ext cx="10972800" cy="463296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467" noProof="1">
                <a:solidFill>
                  <a:srgbClr val="FFFFFF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Столы пересматривают дизайн в ответ на это. Тренеры по разработке доступны для краткой второй консультации, если стол выявляет существенную проблему.</a:t>
            </a:r>
            <a:endParaRPr lang="ru-RU" sz="1467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B207541-2D29-B287-3143-A73E0730B88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70560" y="46819"/>
            <a:ext cx="7815651" cy="847512"/>
          </a:xfrm>
        </p:spPr>
        <p:txBody>
          <a:bodyPr/>
          <a:lstStyle/>
          <a:p>
            <a:r>
              <a:rPr lang="ru-RU" noProof="1"/>
              <a:t>Сведение идеи воедино – три вопроса</a:t>
            </a:r>
          </a:p>
        </p:txBody>
      </p:sp>
      <p:sp>
        <p:nvSpPr>
          <p:cNvPr id="27" name="Text 11">
            <a:extLst>
              <a:ext uri="{FF2B5EF4-FFF2-40B4-BE49-F238E27FC236}">
                <a16:creationId xmlns:a16="http://schemas.microsoft.com/office/drawing/2014/main" id="{63699E75-FB41-8334-D1EB-58ED2DAC6F41}"/>
              </a:ext>
            </a:extLst>
          </p:cNvPr>
          <p:cNvSpPr/>
          <p:nvPr/>
        </p:nvSpPr>
        <p:spPr>
          <a:xfrm>
            <a:off x="1280160" y="1589275"/>
            <a:ext cx="10363200" cy="512064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867" b="1" noProof="1">
                <a:solidFill>
                  <a:srgbClr val="16303A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Развивает ли ваш метод обучения напрямую те компетенции, которые вы выбрали в Карточке 1, - для этой конкретной группы педагогов?  </a:t>
            </a:r>
            <a:endParaRPr lang="ru-RU" sz="1867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6103921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C9AD1D4-1437-430E-38B4-2626CA9318B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0569" y="201218"/>
            <a:ext cx="10237931" cy="1080120"/>
          </a:xfrm>
        </p:spPr>
        <p:txBody>
          <a:bodyPr/>
          <a:lstStyle/>
          <a:p>
            <a:r>
              <a:rPr lang="ru-RU" noProof="1">
                <a:latin typeface="Arial" panose="020B0604020202020204" pitchFamily="34" charset="0"/>
              </a:rPr>
              <a:t>Подготовка к показу и индивидуальная рефлексия</a:t>
            </a:r>
          </a:p>
        </p:txBody>
      </p:sp>
      <p:sp>
        <p:nvSpPr>
          <p:cNvPr id="4" name="Shape 3">
            <a:extLst>
              <a:ext uri="{FF2B5EF4-FFF2-40B4-BE49-F238E27FC236}">
                <a16:creationId xmlns:a16="http://schemas.microsoft.com/office/drawing/2014/main" id="{5E621D85-27FB-B9A8-9E0B-653740B9F846}"/>
              </a:ext>
            </a:extLst>
          </p:cNvPr>
          <p:cNvSpPr/>
          <p:nvPr/>
        </p:nvSpPr>
        <p:spPr>
          <a:xfrm>
            <a:off x="620569" y="1099574"/>
            <a:ext cx="11216640" cy="1731264"/>
          </a:xfrm>
          <a:prstGeom prst="rect">
            <a:avLst/>
          </a:prstGeom>
          <a:solidFill>
            <a:srgbClr val="D6F0F3"/>
          </a:solidFill>
          <a:ln w="12700">
            <a:solidFill>
              <a:srgbClr val="039AAA"/>
            </a:solidFill>
            <a:prstDash val="solid"/>
          </a:ln>
        </p:spPr>
        <p:txBody>
          <a:bodyPr/>
          <a:lstStyle/>
          <a:p>
            <a:pPr defTabSz="1219170">
              <a:defRPr/>
            </a:pPr>
            <a:endParaRPr lang="ru-RU" sz="24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Shape 4">
            <a:extLst>
              <a:ext uri="{FF2B5EF4-FFF2-40B4-BE49-F238E27FC236}">
                <a16:creationId xmlns:a16="http://schemas.microsoft.com/office/drawing/2014/main" id="{5ABA1552-FCA3-ADD9-6274-70D017743E12}"/>
              </a:ext>
            </a:extLst>
          </p:cNvPr>
          <p:cNvSpPr/>
          <p:nvPr/>
        </p:nvSpPr>
        <p:spPr>
          <a:xfrm>
            <a:off x="620569" y="1099574"/>
            <a:ext cx="121920" cy="1731264"/>
          </a:xfrm>
          <a:prstGeom prst="rect">
            <a:avLst/>
          </a:prstGeom>
          <a:solidFill>
            <a:srgbClr val="027A87"/>
          </a:solidFill>
          <a:ln w="12700">
            <a:solidFill>
              <a:srgbClr val="027A87"/>
            </a:solidFill>
            <a:prstDash val="solid"/>
          </a:ln>
        </p:spPr>
        <p:txBody>
          <a:bodyPr/>
          <a:lstStyle/>
          <a:p>
            <a:pPr defTabSz="1219170">
              <a:defRPr/>
            </a:pPr>
            <a:endParaRPr lang="ru-RU" sz="24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Text 5">
            <a:extLst>
              <a:ext uri="{FF2B5EF4-FFF2-40B4-BE49-F238E27FC236}">
                <a16:creationId xmlns:a16="http://schemas.microsoft.com/office/drawing/2014/main" id="{719F7963-963D-4A62-88EA-EFF9F599C038}"/>
              </a:ext>
            </a:extLst>
          </p:cNvPr>
          <p:cNvSpPr/>
          <p:nvPr/>
        </p:nvSpPr>
        <p:spPr>
          <a:xfrm>
            <a:off x="986329" y="1197110"/>
            <a:ext cx="10607040" cy="36576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467" b="1" noProof="1">
                <a:solidFill>
                  <a:srgbClr val="027A87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Подготовьтесь объяснить логику своего дизайна — не просто описать карточки</a:t>
            </a:r>
            <a:endParaRPr lang="ru-RU" sz="1467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Text 6">
            <a:extLst>
              <a:ext uri="{FF2B5EF4-FFF2-40B4-BE49-F238E27FC236}">
                <a16:creationId xmlns:a16="http://schemas.microsoft.com/office/drawing/2014/main" id="{E57BAABF-93DD-4638-398E-3D0C69D98DF1}"/>
              </a:ext>
            </a:extLst>
          </p:cNvPr>
          <p:cNvSpPr/>
          <p:nvPr/>
        </p:nvSpPr>
        <p:spPr>
          <a:xfrm>
            <a:off x="986329" y="1611638"/>
            <a:ext cx="10607040" cy="1121664"/>
          </a:xfrm>
          <a:prstGeom prst="rect">
            <a:avLst/>
          </a:prstGeom>
          <a:noFill/>
          <a:ln/>
        </p:spPr>
        <p:txBody>
          <a:bodyPr wrap="square" rtlCol="0" anchor="t"/>
          <a:lstStyle/>
          <a:p>
            <a:pPr defTabSz="1219170">
              <a:defRPr/>
            </a:pPr>
            <a:r>
              <a:rPr lang="ru-RU" sz="1600" i="1" noProof="1">
                <a:solidFill>
                  <a:srgbClr val="16303A"/>
                </a:solidFill>
                <a:latin typeface="Arial" panose="020B0604020202020204" pitchFamily="34" charset="0"/>
                <a:ea typeface="Georgia" pitchFamily="34" charset="-122"/>
                <a:cs typeface="Arial" panose="020B0604020202020204" pitchFamily="34" charset="0"/>
              </a:rPr>
              <a:t>В Сессии 7 у вас есть 8 минут, чтобы провести стол-партнёр через ваш дизайн: почему эта компетенция, почему этот метод, почему этот подход к оцениванию и что, по вашему ожиданию, педагоги из вашего задания должны унести с собой. Ваш стол-партнёр работал над тем же заданием. Они сделали другие выборы. Это различие и делает сравнение интересным.</a:t>
            </a:r>
            <a:endParaRPr lang="ru-RU" sz="16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Shape 7">
            <a:extLst>
              <a:ext uri="{FF2B5EF4-FFF2-40B4-BE49-F238E27FC236}">
                <a16:creationId xmlns:a16="http://schemas.microsoft.com/office/drawing/2014/main" id="{C0CF7382-5D9C-591D-8C63-787011AAB60B}"/>
              </a:ext>
            </a:extLst>
          </p:cNvPr>
          <p:cNvSpPr/>
          <p:nvPr/>
        </p:nvSpPr>
        <p:spPr>
          <a:xfrm>
            <a:off x="559609" y="2964950"/>
            <a:ext cx="11277600" cy="633984"/>
          </a:xfrm>
          <a:prstGeom prst="rect">
            <a:avLst/>
          </a:prstGeom>
          <a:solidFill>
            <a:srgbClr val="16303A"/>
          </a:solidFill>
          <a:ln w="12700">
            <a:solidFill>
              <a:srgbClr val="16303A"/>
            </a:solidFill>
            <a:prstDash val="solid"/>
          </a:ln>
        </p:spPr>
        <p:txBody>
          <a:bodyPr/>
          <a:lstStyle/>
          <a:p>
            <a:pPr defTabSz="1219170">
              <a:defRPr/>
            </a:pPr>
            <a:endParaRPr lang="ru-RU" sz="24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Text 8">
            <a:extLst>
              <a:ext uri="{FF2B5EF4-FFF2-40B4-BE49-F238E27FC236}">
                <a16:creationId xmlns:a16="http://schemas.microsoft.com/office/drawing/2014/main" id="{4E510504-885D-662B-3FAB-DD2B4ABF2E33}"/>
              </a:ext>
            </a:extLst>
          </p:cNvPr>
          <p:cNvSpPr/>
          <p:nvPr/>
        </p:nvSpPr>
        <p:spPr>
          <a:xfrm>
            <a:off x="803449" y="3033530"/>
            <a:ext cx="10972800" cy="463296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467" noProof="1">
                <a:solidFill>
                  <a:srgbClr val="FFFFFF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Решите: кто представляет | как вы покажете свои карточки | одну вещь, которую вы больше всего хотите, чтобы ваш стол-партнёр заметил</a:t>
            </a:r>
            <a:endParaRPr lang="ru-RU" sz="1467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Text 9">
            <a:extLst>
              <a:ext uri="{FF2B5EF4-FFF2-40B4-BE49-F238E27FC236}">
                <a16:creationId xmlns:a16="http://schemas.microsoft.com/office/drawing/2014/main" id="{709844BB-948F-C497-4AAB-C294D8D6F354}"/>
              </a:ext>
            </a:extLst>
          </p:cNvPr>
          <p:cNvSpPr/>
          <p:nvPr/>
        </p:nvSpPr>
        <p:spPr>
          <a:xfrm>
            <a:off x="742489" y="3598934"/>
            <a:ext cx="10972800" cy="463296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2400" b="1" noProof="1">
                <a:solidFill>
                  <a:schemeClr val="bg1"/>
                </a:solidFill>
                <a:latin typeface="Arial" panose="020B0604020202020204" pitchFamily="34" charset="0"/>
                <a:ea typeface="Georgia" pitchFamily="34" charset="-122"/>
                <a:cs typeface="Arial" panose="020B0604020202020204" pitchFamily="34" charset="0"/>
              </a:rPr>
              <a:t>Индивидуальная рефлексия  |  3 предложения (не собираются)</a:t>
            </a:r>
            <a:endParaRPr lang="ru-RU" sz="2400" noProof="1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Shape 10">
            <a:extLst>
              <a:ext uri="{FF2B5EF4-FFF2-40B4-BE49-F238E27FC236}">
                <a16:creationId xmlns:a16="http://schemas.microsoft.com/office/drawing/2014/main" id="{1794F18C-20C1-26FF-B7B1-6154E7ABE1FC}"/>
              </a:ext>
            </a:extLst>
          </p:cNvPr>
          <p:cNvSpPr/>
          <p:nvPr/>
        </p:nvSpPr>
        <p:spPr>
          <a:xfrm>
            <a:off x="559609" y="4184150"/>
            <a:ext cx="11277600" cy="463296"/>
          </a:xfrm>
          <a:prstGeom prst="rect">
            <a:avLst/>
          </a:prstGeom>
          <a:solidFill>
            <a:srgbClr val="FFFFFF"/>
          </a:solidFill>
          <a:ln w="5080">
            <a:solidFill>
              <a:srgbClr val="B2D8DE"/>
            </a:solidFill>
            <a:prstDash val="solid"/>
          </a:ln>
        </p:spPr>
        <p:txBody>
          <a:bodyPr/>
          <a:lstStyle/>
          <a:p>
            <a:pPr defTabSz="1219170">
              <a:defRPr/>
            </a:pPr>
            <a:endParaRPr lang="ru-RU" sz="24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Text 12">
            <a:extLst>
              <a:ext uri="{FF2B5EF4-FFF2-40B4-BE49-F238E27FC236}">
                <a16:creationId xmlns:a16="http://schemas.microsoft.com/office/drawing/2014/main" id="{55F31F52-645C-9911-E37E-EC9EA631B02F}"/>
              </a:ext>
            </a:extLst>
          </p:cNvPr>
          <p:cNvSpPr/>
          <p:nvPr/>
        </p:nvSpPr>
        <p:spPr>
          <a:xfrm>
            <a:off x="681529" y="4269494"/>
            <a:ext cx="316992" cy="316992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algn="ctr" defTabSz="1219170">
              <a:defRPr/>
            </a:pPr>
            <a:r>
              <a:rPr lang="ru-RU" sz="1467" b="1" noProof="1">
                <a:solidFill>
                  <a:schemeClr val="tx2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1</a:t>
            </a:r>
            <a:endParaRPr lang="ru-RU" sz="1467" noProof="1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Text 13">
            <a:extLst>
              <a:ext uri="{FF2B5EF4-FFF2-40B4-BE49-F238E27FC236}">
                <a16:creationId xmlns:a16="http://schemas.microsoft.com/office/drawing/2014/main" id="{92052CBC-DEB4-90C4-9473-82E62D797064}"/>
              </a:ext>
            </a:extLst>
          </p:cNvPr>
          <p:cNvSpPr/>
          <p:nvPr/>
        </p:nvSpPr>
        <p:spPr>
          <a:xfrm>
            <a:off x="1230169" y="4184150"/>
            <a:ext cx="10485120" cy="463296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600" i="1" noProof="1">
                <a:solidFill>
                  <a:srgbClr val="16303A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Одно решение по дизайну, в котором я уверен(а) — и почему</a:t>
            </a:r>
            <a:endParaRPr lang="ru-RU" sz="16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Shape 14">
            <a:extLst>
              <a:ext uri="{FF2B5EF4-FFF2-40B4-BE49-F238E27FC236}">
                <a16:creationId xmlns:a16="http://schemas.microsoft.com/office/drawing/2014/main" id="{50C4B2B9-C32B-989E-1488-37BBE6070E8D}"/>
              </a:ext>
            </a:extLst>
          </p:cNvPr>
          <p:cNvSpPr/>
          <p:nvPr/>
        </p:nvSpPr>
        <p:spPr>
          <a:xfrm>
            <a:off x="559609" y="4696214"/>
            <a:ext cx="11277600" cy="463296"/>
          </a:xfrm>
          <a:prstGeom prst="rect">
            <a:avLst/>
          </a:prstGeom>
          <a:solidFill>
            <a:srgbClr val="D6F0F3"/>
          </a:solidFill>
          <a:ln w="5080">
            <a:solidFill>
              <a:srgbClr val="B2D8DE"/>
            </a:solidFill>
            <a:prstDash val="solid"/>
          </a:ln>
        </p:spPr>
        <p:txBody>
          <a:bodyPr/>
          <a:lstStyle/>
          <a:p>
            <a:pPr defTabSz="1219170">
              <a:defRPr/>
            </a:pPr>
            <a:endParaRPr lang="ru-RU" sz="24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Text 16">
            <a:extLst>
              <a:ext uri="{FF2B5EF4-FFF2-40B4-BE49-F238E27FC236}">
                <a16:creationId xmlns:a16="http://schemas.microsoft.com/office/drawing/2014/main" id="{840D7777-3656-B776-5A68-C4239D0C7C4B}"/>
              </a:ext>
            </a:extLst>
          </p:cNvPr>
          <p:cNvSpPr/>
          <p:nvPr/>
        </p:nvSpPr>
        <p:spPr>
          <a:xfrm>
            <a:off x="681529" y="4781558"/>
            <a:ext cx="316992" cy="316992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algn="ctr" defTabSz="1219170">
              <a:defRPr/>
            </a:pPr>
            <a:r>
              <a:rPr lang="ru-RU" sz="1467" b="1" noProof="1">
                <a:solidFill>
                  <a:schemeClr val="tx2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2</a:t>
            </a:r>
            <a:endParaRPr lang="ru-RU" sz="1467" noProof="1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Text 17">
            <a:extLst>
              <a:ext uri="{FF2B5EF4-FFF2-40B4-BE49-F238E27FC236}">
                <a16:creationId xmlns:a16="http://schemas.microsoft.com/office/drawing/2014/main" id="{96CD6BEB-64E9-B82F-B9DE-7CA1EE082B27}"/>
              </a:ext>
            </a:extLst>
          </p:cNvPr>
          <p:cNvSpPr/>
          <p:nvPr/>
        </p:nvSpPr>
        <p:spPr>
          <a:xfrm>
            <a:off x="1230169" y="4696214"/>
            <a:ext cx="10485120" cy="463296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600" i="1" noProof="1">
                <a:solidFill>
                  <a:srgbClr val="16303A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Одно решение по дизайну, в котором я всё ещё не уверен(а)</a:t>
            </a:r>
            <a:endParaRPr lang="ru-RU" sz="16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Shape 18">
            <a:extLst>
              <a:ext uri="{FF2B5EF4-FFF2-40B4-BE49-F238E27FC236}">
                <a16:creationId xmlns:a16="http://schemas.microsoft.com/office/drawing/2014/main" id="{F17B50BF-7691-253C-8BAF-2AB1AC76920F}"/>
              </a:ext>
            </a:extLst>
          </p:cNvPr>
          <p:cNvSpPr/>
          <p:nvPr/>
        </p:nvSpPr>
        <p:spPr>
          <a:xfrm>
            <a:off x="559609" y="5208278"/>
            <a:ext cx="11277600" cy="463296"/>
          </a:xfrm>
          <a:prstGeom prst="rect">
            <a:avLst/>
          </a:prstGeom>
          <a:solidFill>
            <a:srgbClr val="FFFFFF"/>
          </a:solidFill>
          <a:ln w="5080">
            <a:solidFill>
              <a:srgbClr val="B2D8DE"/>
            </a:solidFill>
            <a:prstDash val="solid"/>
          </a:ln>
        </p:spPr>
        <p:txBody>
          <a:bodyPr/>
          <a:lstStyle/>
          <a:p>
            <a:pPr defTabSz="1219170">
              <a:defRPr/>
            </a:pPr>
            <a:endParaRPr lang="ru-RU" sz="24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" name="Text 20">
            <a:extLst>
              <a:ext uri="{FF2B5EF4-FFF2-40B4-BE49-F238E27FC236}">
                <a16:creationId xmlns:a16="http://schemas.microsoft.com/office/drawing/2014/main" id="{23B598AC-5294-0F5A-0877-A00F83918B94}"/>
              </a:ext>
            </a:extLst>
          </p:cNvPr>
          <p:cNvSpPr/>
          <p:nvPr/>
        </p:nvSpPr>
        <p:spPr>
          <a:xfrm>
            <a:off x="681529" y="5293622"/>
            <a:ext cx="316992" cy="316992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algn="ctr" defTabSz="1219170">
              <a:defRPr/>
            </a:pPr>
            <a:r>
              <a:rPr lang="ru-RU" sz="1467" b="1" noProof="1">
                <a:solidFill>
                  <a:schemeClr val="tx2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3</a:t>
            </a:r>
            <a:endParaRPr lang="ru-RU" sz="1467" noProof="1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2" name="Text 21">
            <a:extLst>
              <a:ext uri="{FF2B5EF4-FFF2-40B4-BE49-F238E27FC236}">
                <a16:creationId xmlns:a16="http://schemas.microsoft.com/office/drawing/2014/main" id="{68F0E323-D0BB-0799-385A-A22F0E39EA30}"/>
              </a:ext>
            </a:extLst>
          </p:cNvPr>
          <p:cNvSpPr/>
          <p:nvPr/>
        </p:nvSpPr>
        <p:spPr>
          <a:xfrm>
            <a:off x="1230169" y="5208278"/>
            <a:ext cx="10485120" cy="463296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600" i="1" noProof="1">
                <a:solidFill>
                  <a:srgbClr val="16303A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Одно, в чём мне поможет обратная связь от коллег в Сессии 7</a:t>
            </a:r>
            <a:endParaRPr lang="ru-RU" sz="16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3" name="Shape 22">
            <a:extLst>
              <a:ext uri="{FF2B5EF4-FFF2-40B4-BE49-F238E27FC236}">
                <a16:creationId xmlns:a16="http://schemas.microsoft.com/office/drawing/2014/main" id="{B032350E-DDEC-E308-22E4-7DB69CF42C40}"/>
              </a:ext>
            </a:extLst>
          </p:cNvPr>
          <p:cNvSpPr/>
          <p:nvPr/>
        </p:nvSpPr>
        <p:spPr>
          <a:xfrm>
            <a:off x="620569" y="6037334"/>
            <a:ext cx="11216640" cy="414528"/>
          </a:xfrm>
          <a:prstGeom prst="rect">
            <a:avLst/>
          </a:prstGeom>
          <a:solidFill>
            <a:srgbClr val="E8940A"/>
          </a:solidFill>
          <a:ln w="12700">
            <a:solidFill>
              <a:srgbClr val="E8940A"/>
            </a:solidFill>
            <a:prstDash val="solid"/>
          </a:ln>
        </p:spPr>
        <p:txBody>
          <a:bodyPr/>
          <a:lstStyle/>
          <a:p>
            <a:pPr defTabSz="1219170">
              <a:defRPr/>
            </a:pPr>
            <a:endParaRPr lang="ru-RU" sz="24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4" name="Text 23">
            <a:extLst>
              <a:ext uri="{FF2B5EF4-FFF2-40B4-BE49-F238E27FC236}">
                <a16:creationId xmlns:a16="http://schemas.microsoft.com/office/drawing/2014/main" id="{4555F0BE-AC07-556F-E5D6-538CD7E10AD8}"/>
              </a:ext>
            </a:extLst>
          </p:cNvPr>
          <p:cNvSpPr/>
          <p:nvPr/>
        </p:nvSpPr>
        <p:spPr>
          <a:xfrm>
            <a:off x="620569" y="6037334"/>
            <a:ext cx="11216640" cy="414528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algn="ctr" defTabSz="1219170">
              <a:defRPr/>
            </a:pPr>
            <a:r>
              <a:rPr lang="ru-RU" sz="1200" b="1" noProof="1">
                <a:solidFill>
                  <a:srgbClr val="FFFFFF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SCAFFOLD: Принцип 3.2 — использовать рефлексию для понимания того, как вы учитесь и что вам нужно дальше.</a:t>
            </a:r>
            <a:endParaRPr lang="ru-RU" sz="12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0455723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2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hape 0"/>
          <p:cNvSpPr/>
          <p:nvPr/>
        </p:nvSpPr>
        <p:spPr>
          <a:xfrm>
            <a:off x="0" y="0"/>
            <a:ext cx="12192000" cy="1036320"/>
          </a:xfrm>
          <a:prstGeom prst="rect">
            <a:avLst/>
          </a:prstGeom>
          <a:solidFill>
            <a:srgbClr val="16303A"/>
          </a:solidFill>
          <a:ln w="12700">
            <a:solidFill>
              <a:srgbClr val="16303A"/>
            </a:solidFill>
            <a:prstDash val="solid"/>
          </a:ln>
        </p:spPr>
        <p:txBody>
          <a:bodyPr/>
          <a:lstStyle/>
          <a:p>
            <a:pPr defTabSz="1219170">
              <a:defRPr/>
            </a:pPr>
            <a:endParaRPr lang="ru-RU" sz="2400" noProof="1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3" name="Text 1"/>
          <p:cNvSpPr/>
          <p:nvPr/>
        </p:nvSpPr>
        <p:spPr>
          <a:xfrm>
            <a:off x="609600" y="0"/>
            <a:ext cx="10972800" cy="103632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867" b="1" kern="0" spc="267" noProof="1">
                <a:solidFill>
                  <a:srgbClr val="E8940A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СЕССИЯ 6  |  СПИСОК МАТЕРИАЛОВ</a:t>
            </a:r>
            <a:endParaRPr lang="ru-RU" sz="1867" noProof="1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4" name="Shape 2"/>
          <p:cNvSpPr/>
          <p:nvPr/>
        </p:nvSpPr>
        <p:spPr>
          <a:xfrm>
            <a:off x="365760" y="1219200"/>
            <a:ext cx="11460480" cy="573024"/>
          </a:xfrm>
          <a:prstGeom prst="rect">
            <a:avLst/>
          </a:prstGeom>
          <a:solidFill>
            <a:srgbClr val="FFFFFF"/>
          </a:solidFill>
          <a:ln w="5080">
            <a:solidFill>
              <a:srgbClr val="B2D8DE"/>
            </a:solidFill>
            <a:prstDash val="solid"/>
          </a:ln>
        </p:spPr>
        <p:txBody>
          <a:bodyPr/>
          <a:lstStyle/>
          <a:p>
            <a:pPr defTabSz="1219170">
              <a:defRPr/>
            </a:pPr>
            <a:endParaRPr lang="ru-RU" sz="2400" noProof="1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5" name="Shape 3"/>
          <p:cNvSpPr/>
          <p:nvPr/>
        </p:nvSpPr>
        <p:spPr>
          <a:xfrm>
            <a:off x="487680" y="1341120"/>
            <a:ext cx="316992" cy="316992"/>
          </a:xfrm>
          <a:prstGeom prst="rect">
            <a:avLst/>
          </a:prstGeom>
          <a:solidFill>
            <a:srgbClr val="FFFFFF"/>
          </a:solidFill>
          <a:ln w="19050">
            <a:solidFill>
              <a:srgbClr val="027A87"/>
            </a:solidFill>
            <a:prstDash val="solid"/>
          </a:ln>
        </p:spPr>
        <p:txBody>
          <a:bodyPr/>
          <a:lstStyle/>
          <a:p>
            <a:pPr defTabSz="1219170">
              <a:defRPr/>
            </a:pPr>
            <a:endParaRPr lang="ru-RU" sz="2400" noProof="1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6" name="Text 4"/>
          <p:cNvSpPr/>
          <p:nvPr/>
        </p:nvSpPr>
        <p:spPr>
          <a:xfrm>
            <a:off x="1036320" y="1219200"/>
            <a:ext cx="4023360" cy="573024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467" b="1" noProof="1">
                <a:solidFill>
                  <a:srgbClr val="16303A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Колоды карточек SCAFFOLD</a:t>
            </a:r>
            <a:endParaRPr lang="ru-RU" sz="1467" noProof="1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7" name="Text 5"/>
          <p:cNvSpPr/>
          <p:nvPr/>
        </p:nvSpPr>
        <p:spPr>
          <a:xfrm>
            <a:off x="5181600" y="1219200"/>
            <a:ext cx="6461760" cy="573024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400" noProof="1">
                <a:solidFill>
                  <a:srgbClr val="3D6673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Все карточки теперь в использовании — уже на столах с Дня 1</a:t>
            </a:r>
            <a:endParaRPr lang="ru-RU" sz="1400" noProof="1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8" name="Shape 6"/>
          <p:cNvSpPr/>
          <p:nvPr/>
        </p:nvSpPr>
        <p:spPr>
          <a:xfrm>
            <a:off x="365760" y="1853184"/>
            <a:ext cx="11460480" cy="573024"/>
          </a:xfrm>
          <a:prstGeom prst="rect">
            <a:avLst/>
          </a:prstGeom>
          <a:solidFill>
            <a:srgbClr val="D6F0F3"/>
          </a:solidFill>
          <a:ln w="5080">
            <a:solidFill>
              <a:srgbClr val="B2D8DE"/>
            </a:solidFill>
            <a:prstDash val="solid"/>
          </a:ln>
        </p:spPr>
        <p:txBody>
          <a:bodyPr/>
          <a:lstStyle/>
          <a:p>
            <a:pPr defTabSz="1219170">
              <a:defRPr/>
            </a:pPr>
            <a:endParaRPr lang="ru-RU" sz="2400" noProof="1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9" name="Shape 7"/>
          <p:cNvSpPr/>
          <p:nvPr/>
        </p:nvSpPr>
        <p:spPr>
          <a:xfrm>
            <a:off x="487680" y="1975104"/>
            <a:ext cx="316992" cy="316992"/>
          </a:xfrm>
          <a:prstGeom prst="rect">
            <a:avLst/>
          </a:prstGeom>
          <a:solidFill>
            <a:srgbClr val="FFFFFF"/>
          </a:solidFill>
          <a:ln w="19050">
            <a:solidFill>
              <a:srgbClr val="027A87"/>
            </a:solidFill>
            <a:prstDash val="solid"/>
          </a:ln>
        </p:spPr>
        <p:txBody>
          <a:bodyPr/>
          <a:lstStyle/>
          <a:p>
            <a:pPr defTabSz="1219170">
              <a:defRPr/>
            </a:pPr>
            <a:endParaRPr lang="ru-RU" sz="2400" noProof="1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0" name="Text 8"/>
          <p:cNvSpPr/>
          <p:nvPr/>
        </p:nvSpPr>
        <p:spPr>
          <a:xfrm>
            <a:off x="1036320" y="1853184"/>
            <a:ext cx="4023360" cy="573024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467" b="1" noProof="1">
                <a:solidFill>
                  <a:srgbClr val="16303A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Задания</a:t>
            </a:r>
            <a:endParaRPr lang="ru-RU" sz="1467" noProof="1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1" name="Text 9"/>
          <p:cNvSpPr/>
          <p:nvPr/>
        </p:nvSpPr>
        <p:spPr>
          <a:xfrm>
            <a:off x="5181600" y="1853184"/>
            <a:ext cx="6461760" cy="573024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400" noProof="1">
                <a:solidFill>
                  <a:srgbClr val="3D6673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Уже на столах с Сессии 5</a:t>
            </a:r>
            <a:endParaRPr lang="ru-RU" sz="1400" noProof="1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2" name="Shape 10"/>
          <p:cNvSpPr/>
          <p:nvPr/>
        </p:nvSpPr>
        <p:spPr>
          <a:xfrm>
            <a:off x="365760" y="2487168"/>
            <a:ext cx="11460480" cy="573024"/>
          </a:xfrm>
          <a:prstGeom prst="rect">
            <a:avLst/>
          </a:prstGeom>
          <a:solidFill>
            <a:srgbClr val="FFFFFF"/>
          </a:solidFill>
          <a:ln w="5080">
            <a:solidFill>
              <a:srgbClr val="B2D8DE"/>
            </a:solidFill>
            <a:prstDash val="solid"/>
          </a:ln>
        </p:spPr>
        <p:txBody>
          <a:bodyPr/>
          <a:lstStyle/>
          <a:p>
            <a:pPr defTabSz="1219170">
              <a:defRPr/>
            </a:pPr>
            <a:endParaRPr lang="ru-RU" sz="2400" noProof="1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3" name="Shape 11"/>
          <p:cNvSpPr/>
          <p:nvPr/>
        </p:nvSpPr>
        <p:spPr>
          <a:xfrm>
            <a:off x="487680" y="2609088"/>
            <a:ext cx="316992" cy="316992"/>
          </a:xfrm>
          <a:prstGeom prst="rect">
            <a:avLst/>
          </a:prstGeom>
          <a:solidFill>
            <a:srgbClr val="FFFFFF"/>
          </a:solidFill>
          <a:ln w="19050">
            <a:solidFill>
              <a:srgbClr val="027A87"/>
            </a:solidFill>
            <a:prstDash val="solid"/>
          </a:ln>
        </p:spPr>
        <p:txBody>
          <a:bodyPr/>
          <a:lstStyle/>
          <a:p>
            <a:pPr defTabSz="1219170">
              <a:defRPr/>
            </a:pPr>
            <a:endParaRPr lang="ru-RU" sz="2400" noProof="1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4" name="Text 12"/>
          <p:cNvSpPr/>
          <p:nvPr/>
        </p:nvSpPr>
        <p:spPr>
          <a:xfrm>
            <a:off x="1036320" y="2487168"/>
            <a:ext cx="4023360" cy="573024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467" b="1" noProof="1">
                <a:solidFill>
                  <a:srgbClr val="16303A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Стикеры и ручки</a:t>
            </a:r>
            <a:endParaRPr lang="ru-RU" sz="1467" noProof="1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5" name="Text 13"/>
          <p:cNvSpPr/>
          <p:nvPr/>
        </p:nvSpPr>
        <p:spPr>
          <a:xfrm>
            <a:off x="5181600" y="2487168"/>
            <a:ext cx="6461760" cy="573024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400" noProof="1">
                <a:solidFill>
                  <a:srgbClr val="3D6673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Уже на столах</a:t>
            </a:r>
            <a:endParaRPr lang="ru-RU" sz="1400" noProof="1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6" name="Shape 14"/>
          <p:cNvSpPr/>
          <p:nvPr/>
        </p:nvSpPr>
        <p:spPr>
          <a:xfrm>
            <a:off x="365760" y="3121152"/>
            <a:ext cx="11460480" cy="573024"/>
          </a:xfrm>
          <a:prstGeom prst="rect">
            <a:avLst/>
          </a:prstGeom>
          <a:solidFill>
            <a:srgbClr val="D6F0F3"/>
          </a:solidFill>
          <a:ln w="5080">
            <a:solidFill>
              <a:srgbClr val="B2D8DE"/>
            </a:solidFill>
            <a:prstDash val="solid"/>
          </a:ln>
        </p:spPr>
        <p:txBody>
          <a:bodyPr/>
          <a:lstStyle/>
          <a:p>
            <a:pPr defTabSz="1219170">
              <a:defRPr/>
            </a:pPr>
            <a:endParaRPr lang="ru-RU" sz="2400" noProof="1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7" name="Shape 15"/>
          <p:cNvSpPr/>
          <p:nvPr/>
        </p:nvSpPr>
        <p:spPr>
          <a:xfrm>
            <a:off x="487680" y="3243072"/>
            <a:ext cx="316992" cy="316992"/>
          </a:xfrm>
          <a:prstGeom prst="rect">
            <a:avLst/>
          </a:prstGeom>
          <a:solidFill>
            <a:srgbClr val="FFFFFF"/>
          </a:solidFill>
          <a:ln w="19050">
            <a:solidFill>
              <a:srgbClr val="027A87"/>
            </a:solidFill>
            <a:prstDash val="solid"/>
          </a:ln>
        </p:spPr>
        <p:txBody>
          <a:bodyPr/>
          <a:lstStyle/>
          <a:p>
            <a:pPr defTabSz="1219170">
              <a:defRPr/>
            </a:pPr>
            <a:endParaRPr lang="ru-RU" sz="2400" noProof="1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8" name="Text 16"/>
          <p:cNvSpPr/>
          <p:nvPr/>
        </p:nvSpPr>
        <p:spPr>
          <a:xfrm>
            <a:off x="1036320" y="3121152"/>
            <a:ext cx="4023360" cy="573024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467" b="1" noProof="1">
                <a:solidFill>
                  <a:srgbClr val="16303A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Инструктивные карточки для тренеров по разработке</a:t>
            </a:r>
            <a:endParaRPr lang="ru-RU" sz="1467" noProof="1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9" name="Text 17"/>
          <p:cNvSpPr/>
          <p:nvPr/>
        </p:nvSpPr>
        <p:spPr>
          <a:xfrm>
            <a:off x="5181600" y="3121152"/>
            <a:ext cx="6461760" cy="573024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400" noProof="1">
                <a:solidFill>
                  <a:srgbClr val="3D6673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По одной на регионального специалиста — А5 ламинированная, с перечнем их столов и буквой задания</a:t>
            </a:r>
            <a:endParaRPr lang="ru-RU" sz="1400" noProof="1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20" name="Shape 18"/>
          <p:cNvSpPr/>
          <p:nvPr/>
        </p:nvSpPr>
        <p:spPr>
          <a:xfrm>
            <a:off x="365760" y="3755136"/>
            <a:ext cx="11460480" cy="573024"/>
          </a:xfrm>
          <a:prstGeom prst="rect">
            <a:avLst/>
          </a:prstGeom>
          <a:solidFill>
            <a:srgbClr val="FFFFFF"/>
          </a:solidFill>
          <a:ln w="5080">
            <a:solidFill>
              <a:srgbClr val="B2D8DE"/>
            </a:solidFill>
            <a:prstDash val="solid"/>
          </a:ln>
        </p:spPr>
        <p:txBody>
          <a:bodyPr/>
          <a:lstStyle/>
          <a:p>
            <a:pPr defTabSz="1219170">
              <a:defRPr/>
            </a:pPr>
            <a:endParaRPr lang="ru-RU" sz="2400" noProof="1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21" name="Shape 19"/>
          <p:cNvSpPr/>
          <p:nvPr/>
        </p:nvSpPr>
        <p:spPr>
          <a:xfrm>
            <a:off x="487680" y="3877056"/>
            <a:ext cx="316992" cy="316992"/>
          </a:xfrm>
          <a:prstGeom prst="rect">
            <a:avLst/>
          </a:prstGeom>
          <a:solidFill>
            <a:srgbClr val="FFFFFF"/>
          </a:solidFill>
          <a:ln w="19050">
            <a:solidFill>
              <a:srgbClr val="027A87"/>
            </a:solidFill>
            <a:prstDash val="solid"/>
          </a:ln>
        </p:spPr>
        <p:txBody>
          <a:bodyPr/>
          <a:lstStyle/>
          <a:p>
            <a:pPr defTabSz="1219170">
              <a:defRPr/>
            </a:pPr>
            <a:endParaRPr lang="ru-RU" sz="2400" noProof="1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22" name="Text 20"/>
          <p:cNvSpPr/>
          <p:nvPr/>
        </p:nvSpPr>
        <p:spPr>
          <a:xfrm>
            <a:off x="1036320" y="3755136"/>
            <a:ext cx="4023360" cy="573024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467" b="1" noProof="1">
                <a:solidFill>
                  <a:srgbClr val="16303A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Слайд: пошаговый разбор мета-момента</a:t>
            </a:r>
            <a:endParaRPr lang="ru-RU" sz="1467" noProof="1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23" name="Text 21"/>
          <p:cNvSpPr/>
          <p:nvPr/>
        </p:nvSpPr>
        <p:spPr>
          <a:xfrm>
            <a:off x="5181600" y="3755136"/>
            <a:ext cx="6461760" cy="573024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400" noProof="1">
                <a:solidFill>
                  <a:srgbClr val="3D6673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Семь карточек планирования и решения, принятые при разработке этой сессии</a:t>
            </a:r>
            <a:endParaRPr lang="ru-RU" sz="1400" noProof="1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24" name="Shape 22"/>
          <p:cNvSpPr/>
          <p:nvPr/>
        </p:nvSpPr>
        <p:spPr>
          <a:xfrm>
            <a:off x="365760" y="4389120"/>
            <a:ext cx="11460480" cy="573024"/>
          </a:xfrm>
          <a:prstGeom prst="rect">
            <a:avLst/>
          </a:prstGeom>
          <a:solidFill>
            <a:srgbClr val="D6F0F3"/>
          </a:solidFill>
          <a:ln w="5080">
            <a:solidFill>
              <a:srgbClr val="B2D8DE"/>
            </a:solidFill>
            <a:prstDash val="solid"/>
          </a:ln>
        </p:spPr>
        <p:txBody>
          <a:bodyPr/>
          <a:lstStyle/>
          <a:p>
            <a:pPr defTabSz="1219170">
              <a:defRPr/>
            </a:pPr>
            <a:endParaRPr lang="ru-RU" sz="2400" noProof="1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25" name="Shape 23"/>
          <p:cNvSpPr/>
          <p:nvPr/>
        </p:nvSpPr>
        <p:spPr>
          <a:xfrm>
            <a:off x="487680" y="4511040"/>
            <a:ext cx="316992" cy="316992"/>
          </a:xfrm>
          <a:prstGeom prst="rect">
            <a:avLst/>
          </a:prstGeom>
          <a:solidFill>
            <a:srgbClr val="FFFFFF"/>
          </a:solidFill>
          <a:ln w="19050">
            <a:solidFill>
              <a:srgbClr val="027A87"/>
            </a:solidFill>
            <a:prstDash val="solid"/>
          </a:ln>
        </p:spPr>
        <p:txBody>
          <a:bodyPr/>
          <a:lstStyle/>
          <a:p>
            <a:pPr defTabSz="1219170">
              <a:defRPr/>
            </a:pPr>
            <a:endParaRPr lang="ru-RU" sz="2400" noProof="1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26" name="Text 24"/>
          <p:cNvSpPr/>
          <p:nvPr/>
        </p:nvSpPr>
        <p:spPr>
          <a:xfrm>
            <a:off x="1036320" y="4389120"/>
            <a:ext cx="4023360" cy="573024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467" b="1" noProof="1">
                <a:solidFill>
                  <a:srgbClr val="16303A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Слайд: три вопроса консолидации</a:t>
            </a:r>
            <a:endParaRPr lang="ru-RU" sz="1467" noProof="1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27" name="Text 25"/>
          <p:cNvSpPr/>
          <p:nvPr/>
        </p:nvSpPr>
        <p:spPr>
          <a:xfrm>
            <a:off x="5181600" y="4389120"/>
            <a:ext cx="6461760" cy="573024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400" noProof="1">
                <a:solidFill>
                  <a:srgbClr val="3D6673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Показывать с 11:55 до 12:15</a:t>
            </a:r>
            <a:endParaRPr lang="ru-RU" sz="1400" noProof="1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28" name="Shape 26"/>
          <p:cNvSpPr/>
          <p:nvPr/>
        </p:nvSpPr>
        <p:spPr>
          <a:xfrm>
            <a:off x="365760" y="5023104"/>
            <a:ext cx="11460480" cy="573024"/>
          </a:xfrm>
          <a:prstGeom prst="rect">
            <a:avLst/>
          </a:prstGeom>
          <a:solidFill>
            <a:srgbClr val="FFFFFF"/>
          </a:solidFill>
          <a:ln w="5080">
            <a:solidFill>
              <a:srgbClr val="B2D8DE"/>
            </a:solidFill>
            <a:prstDash val="solid"/>
          </a:ln>
        </p:spPr>
        <p:txBody>
          <a:bodyPr/>
          <a:lstStyle/>
          <a:p>
            <a:pPr defTabSz="1219170">
              <a:defRPr/>
            </a:pPr>
            <a:endParaRPr lang="ru-RU" sz="2400" noProof="1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29" name="Shape 27"/>
          <p:cNvSpPr/>
          <p:nvPr/>
        </p:nvSpPr>
        <p:spPr>
          <a:xfrm>
            <a:off x="487680" y="5145024"/>
            <a:ext cx="316992" cy="316992"/>
          </a:xfrm>
          <a:prstGeom prst="rect">
            <a:avLst/>
          </a:prstGeom>
          <a:solidFill>
            <a:srgbClr val="FFFFFF"/>
          </a:solidFill>
          <a:ln w="19050">
            <a:solidFill>
              <a:srgbClr val="027A87"/>
            </a:solidFill>
            <a:prstDash val="solid"/>
          </a:ln>
        </p:spPr>
        <p:txBody>
          <a:bodyPr/>
          <a:lstStyle/>
          <a:p>
            <a:pPr defTabSz="1219170">
              <a:defRPr/>
            </a:pPr>
            <a:endParaRPr lang="ru-RU" sz="2400" noProof="1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30" name="Text 28"/>
          <p:cNvSpPr/>
          <p:nvPr/>
        </p:nvSpPr>
        <p:spPr>
          <a:xfrm>
            <a:off x="1036320" y="5023104"/>
            <a:ext cx="4023360" cy="573024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467" b="1" noProof="1">
                <a:solidFill>
                  <a:srgbClr val="16303A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Слайд: инструкции по подготовке к показу</a:t>
            </a:r>
            <a:endParaRPr lang="ru-RU" sz="1467" noProof="1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31" name="Text 29"/>
          <p:cNvSpPr/>
          <p:nvPr/>
        </p:nvSpPr>
        <p:spPr>
          <a:xfrm>
            <a:off x="5181600" y="5023104"/>
            <a:ext cx="6461760" cy="573024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400" noProof="1">
                <a:solidFill>
                  <a:srgbClr val="3D6673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Включая распределение пар столов</a:t>
            </a:r>
            <a:endParaRPr lang="ru-RU" sz="1400" noProof="1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32" name="Shape 30"/>
          <p:cNvSpPr/>
          <p:nvPr/>
        </p:nvSpPr>
        <p:spPr>
          <a:xfrm>
            <a:off x="365760" y="5657088"/>
            <a:ext cx="11460480" cy="573024"/>
          </a:xfrm>
          <a:prstGeom prst="rect">
            <a:avLst/>
          </a:prstGeom>
          <a:solidFill>
            <a:srgbClr val="D6F0F3"/>
          </a:solidFill>
          <a:ln w="5080">
            <a:solidFill>
              <a:srgbClr val="B2D8DE"/>
            </a:solidFill>
            <a:prstDash val="solid"/>
          </a:ln>
        </p:spPr>
        <p:txBody>
          <a:bodyPr/>
          <a:lstStyle/>
          <a:p>
            <a:pPr defTabSz="1219170">
              <a:defRPr/>
            </a:pPr>
            <a:endParaRPr lang="ru-RU" sz="2400" noProof="1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33" name="Shape 31"/>
          <p:cNvSpPr/>
          <p:nvPr/>
        </p:nvSpPr>
        <p:spPr>
          <a:xfrm>
            <a:off x="487680" y="5779008"/>
            <a:ext cx="316992" cy="316992"/>
          </a:xfrm>
          <a:prstGeom prst="rect">
            <a:avLst/>
          </a:prstGeom>
          <a:solidFill>
            <a:srgbClr val="FFFFFF"/>
          </a:solidFill>
          <a:ln w="19050">
            <a:solidFill>
              <a:srgbClr val="027A87"/>
            </a:solidFill>
            <a:prstDash val="solid"/>
          </a:ln>
        </p:spPr>
        <p:txBody>
          <a:bodyPr/>
          <a:lstStyle/>
          <a:p>
            <a:pPr defTabSz="1219170">
              <a:defRPr/>
            </a:pPr>
            <a:endParaRPr lang="ru-RU" sz="2400" noProof="1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34" name="Text 32"/>
          <p:cNvSpPr/>
          <p:nvPr/>
        </p:nvSpPr>
        <p:spPr>
          <a:xfrm>
            <a:off x="1036320" y="5657088"/>
            <a:ext cx="4023360" cy="573024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467" b="1" noProof="1">
                <a:solidFill>
                  <a:srgbClr val="16303A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Напоминание о парах заданий</a:t>
            </a:r>
            <a:endParaRPr lang="ru-RU" sz="1467" noProof="1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35" name="Text 33"/>
          <p:cNvSpPr/>
          <p:nvPr/>
        </p:nvSpPr>
        <p:spPr>
          <a:xfrm>
            <a:off x="5181600" y="5657088"/>
            <a:ext cx="6461760" cy="573024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400" noProof="1">
                <a:solidFill>
                  <a:srgbClr val="3D6673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Размещено в передней части с Сессии 5 — всё ещё видно</a:t>
            </a:r>
            <a:endParaRPr lang="ru-RU" sz="1400" noProof="1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36" name="Shape 34"/>
          <p:cNvSpPr/>
          <p:nvPr/>
        </p:nvSpPr>
        <p:spPr>
          <a:xfrm>
            <a:off x="365760" y="6291072"/>
            <a:ext cx="11460480" cy="573024"/>
          </a:xfrm>
          <a:prstGeom prst="rect">
            <a:avLst/>
          </a:prstGeom>
          <a:solidFill>
            <a:srgbClr val="FFFFFF"/>
          </a:solidFill>
          <a:ln w="5080">
            <a:solidFill>
              <a:srgbClr val="B2D8DE"/>
            </a:solidFill>
            <a:prstDash val="solid"/>
          </a:ln>
        </p:spPr>
        <p:txBody>
          <a:bodyPr/>
          <a:lstStyle/>
          <a:p>
            <a:pPr defTabSz="1219170">
              <a:defRPr/>
            </a:pPr>
            <a:endParaRPr lang="ru-RU" sz="2400" noProof="1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37" name="Shape 35"/>
          <p:cNvSpPr/>
          <p:nvPr/>
        </p:nvSpPr>
        <p:spPr>
          <a:xfrm>
            <a:off x="487680" y="6412992"/>
            <a:ext cx="316992" cy="316992"/>
          </a:xfrm>
          <a:prstGeom prst="rect">
            <a:avLst/>
          </a:prstGeom>
          <a:solidFill>
            <a:srgbClr val="FFFFFF"/>
          </a:solidFill>
          <a:ln w="19050">
            <a:solidFill>
              <a:srgbClr val="027A87"/>
            </a:solidFill>
            <a:prstDash val="solid"/>
          </a:ln>
        </p:spPr>
        <p:txBody>
          <a:bodyPr/>
          <a:lstStyle/>
          <a:p>
            <a:pPr defTabSz="1219170">
              <a:defRPr/>
            </a:pPr>
            <a:endParaRPr lang="ru-RU" sz="2400" noProof="1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38" name="Text 36"/>
          <p:cNvSpPr/>
          <p:nvPr/>
        </p:nvSpPr>
        <p:spPr>
          <a:xfrm>
            <a:off x="1036320" y="6291072"/>
            <a:ext cx="4023360" cy="573024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467" b="1" noProof="1">
                <a:solidFill>
                  <a:srgbClr val="16303A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Все настенные материалы Дня 1</a:t>
            </a:r>
            <a:endParaRPr lang="ru-RU" sz="1467" noProof="1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39" name="Text 37"/>
          <p:cNvSpPr/>
          <p:nvPr/>
        </p:nvSpPr>
        <p:spPr>
          <a:xfrm>
            <a:off x="5181600" y="6291072"/>
            <a:ext cx="6461760" cy="573024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400" noProof="1">
                <a:solidFill>
                  <a:srgbClr val="3D6673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Нетронуты и видны на протяжении всей сессии</a:t>
            </a:r>
            <a:endParaRPr lang="ru-RU" sz="1400" noProof="1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40" name="Text 38"/>
          <p:cNvSpPr/>
          <p:nvPr/>
        </p:nvSpPr>
        <p:spPr>
          <a:xfrm>
            <a:off x="365760" y="6973824"/>
            <a:ext cx="11460480" cy="30480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333" b="1" noProof="1">
                <a:solidFill>
                  <a:srgbClr val="E8940A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Карточки остаются на столе во время обеда — участники не должны их убирать.</a:t>
            </a:r>
            <a:endParaRPr lang="ru-RU" sz="1333" noProof="1">
              <a:solidFill>
                <a:prstClr val="black"/>
              </a:solidFill>
              <a:latin typeface="Calibri" panose="020F0502020204030204"/>
            </a:endParaRPr>
          </a:p>
        </p:txBody>
      </p:sp>
    </p:spTree>
  </p:cSld>
  <p:clrMapOvr>
    <a:masterClrMapping/>
  </p:clrMapOvr>
</p:sld>
</file>

<file path=ppt/slides/slide12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99658990"/>
      </p:ext>
    </p:extLst>
  </p:cSld>
  <p:clrMapOvr>
    <a:masterClrMapping/>
  </p:clrMapOvr>
</p:sld>
</file>

<file path=ppt/slides/slide1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8C51751-6E8C-F846-DF0C-957A387EF30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C932228A-B468-CDF6-3FDF-EF7C271FEB38}"/>
              </a:ext>
            </a:extLst>
          </p:cNvPr>
          <p:cNvSpPr/>
          <p:nvPr/>
        </p:nvSpPr>
        <p:spPr>
          <a:xfrm>
            <a:off x="552450" y="219075"/>
            <a:ext cx="1943100" cy="12287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noProof="1"/>
          </a:p>
        </p:txBody>
      </p:sp>
      <p:pic>
        <p:nvPicPr>
          <p:cNvPr id="10" name="Picture 9" descr="A blue flag with yellow stars&#10;&#10;AI-generated content may be incorrect.">
            <a:extLst>
              <a:ext uri="{FF2B5EF4-FFF2-40B4-BE49-F238E27FC236}">
                <a16:creationId xmlns:a16="http://schemas.microsoft.com/office/drawing/2014/main" id="{C2BC51F2-FE46-1DD7-F4FC-32D8D09F6CE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67" r="-524" b="5181"/>
          <a:stretch>
            <a:fillRect/>
          </a:stretch>
        </p:blipFill>
        <p:spPr bwMode="auto">
          <a:xfrm>
            <a:off x="10242394" y="85444"/>
            <a:ext cx="1783073" cy="1715333"/>
          </a:xfrm>
          <a:prstGeom prst="rect">
            <a:avLst/>
          </a:prstGeom>
          <a:noFill/>
        </p:spPr>
      </p:pic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E7A76713-33D8-D43D-E5E9-230D65CC680D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/>
        <p:txBody>
          <a:bodyPr/>
          <a:lstStyle/>
          <a:p>
            <a:endParaRPr lang="ru-RU" noProof="1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A7E6B6D9-C00C-4DBC-81BE-1257009AF9B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ru-RU" noProof="1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2E5DCD41-2660-0431-C10A-5BB0ABF5E8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ru-RU" noProof="1"/>
          </a:p>
        </p:txBody>
      </p:sp>
      <p:pic>
        <p:nvPicPr>
          <p:cNvPr id="12" name="Picture 11" descr="A blue text on a black background&#10;&#10;AI-generated content may be incorrect.">
            <a:extLst>
              <a:ext uri="{FF2B5EF4-FFF2-40B4-BE49-F238E27FC236}">
                <a16:creationId xmlns:a16="http://schemas.microsoft.com/office/drawing/2014/main" id="{B155B3D1-2178-A928-D90F-7C230556860B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5293" y="89083"/>
            <a:ext cx="2030830" cy="1224303"/>
          </a:xfrm>
          <a:prstGeom prst="rect">
            <a:avLst/>
          </a:prstGeom>
          <a:noFill/>
        </p:spPr>
      </p:pic>
      <p:pic>
        <p:nvPicPr>
          <p:cNvPr id="15" name="Picture 14" descr="A logo with stars and text&#10;&#10;AI-generated content may be incorrect.">
            <a:extLst>
              <a:ext uri="{FF2B5EF4-FFF2-40B4-BE49-F238E27FC236}">
                <a16:creationId xmlns:a16="http://schemas.microsoft.com/office/drawing/2014/main" id="{9908B357-789C-0F57-D754-14B22F22C443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81196" y="5210046"/>
            <a:ext cx="2111127" cy="1713490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39A2E49B-8DFA-6C83-A708-4969E99D79D2}"/>
              </a:ext>
            </a:extLst>
          </p:cNvPr>
          <p:cNvSpPr txBox="1"/>
          <p:nvPr/>
        </p:nvSpPr>
        <p:spPr>
          <a:xfrm>
            <a:off x="-116229" y="1352125"/>
            <a:ext cx="7361854" cy="5162439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>
            <a:defPPr>
              <a:defRPr lang="en-GB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7000"/>
              </a:lnSpc>
              <a:spcAft>
                <a:spcPts val="800"/>
              </a:spcAft>
            </a:pPr>
            <a:endParaRPr lang="ru-RU" sz="4000" b="1" kern="100" noProof="1">
              <a:solidFill>
                <a:srgbClr val="455560"/>
              </a:solidFill>
              <a:latin typeface="Arial"/>
              <a:ea typeface="Roboto"/>
              <a:cs typeface="Arial"/>
            </a:endParaRPr>
          </a:p>
          <a:p>
            <a:pPr algn="ctr"/>
            <a:r>
              <a:rPr lang="ru-RU" sz="4000" b="1" noProof="1">
                <a:cs typeface="Arial"/>
              </a:rPr>
              <a:t>13:00 - 14:00</a:t>
            </a:r>
          </a:p>
          <a:p>
            <a:pPr algn="ctr"/>
            <a:r>
              <a:rPr lang="ru-RU" sz="4000" b="1" noProof="1">
                <a:cs typeface="Arial"/>
              </a:rPr>
              <a:t>Обед</a:t>
            </a:r>
            <a:endParaRPr lang="ru-RU" sz="4000" noProof="1">
              <a:cs typeface="Arial"/>
            </a:endParaRPr>
          </a:p>
          <a:p>
            <a:pPr algn="ctr"/>
            <a:endParaRPr lang="ru-RU" sz="4000" b="1" noProof="1">
              <a:cs typeface="Arial" panose="020B0604020202020204"/>
            </a:endParaRPr>
          </a:p>
          <a:p>
            <a:pPr algn="ctr"/>
            <a:r>
              <a:rPr lang="ru-RU" sz="4000" b="1" noProof="1">
                <a:cs typeface="Arial" panose="020B0604020202020204"/>
              </a:rPr>
              <a:t>13:00 - 14:00</a:t>
            </a:r>
          </a:p>
          <a:p>
            <a:pPr algn="ctr"/>
            <a:r>
              <a:rPr lang="ru-RU" sz="4000" b="1" noProof="1">
                <a:cs typeface="Arial" panose="020B0604020202020204"/>
              </a:rPr>
              <a:t>Lunch</a:t>
            </a:r>
          </a:p>
          <a:p>
            <a:pPr algn="ctr"/>
            <a:endParaRPr lang="ru-RU" sz="4000" b="1" noProof="1">
              <a:cs typeface="Arial" panose="020B0604020202020204"/>
            </a:endParaRPr>
          </a:p>
          <a:p>
            <a:pPr algn="ctr"/>
            <a:endParaRPr lang="ru-RU" sz="4000" b="1" noProof="1">
              <a:cs typeface="Arial" panose="020B0604020202020204"/>
            </a:endParaRPr>
          </a:p>
        </p:txBody>
      </p:sp>
    </p:spTree>
    <p:extLst>
      <p:ext uri="{BB962C8B-B14F-4D97-AF65-F5344CB8AC3E}">
        <p14:creationId xmlns:p14="http://schemas.microsoft.com/office/powerpoint/2010/main" val="316180867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418C55C-37A4-09D6-2CB1-25EA8CDD7C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5317" y="75809"/>
            <a:ext cx="7815651" cy="1080120"/>
          </a:xfrm>
        </p:spPr>
        <p:txBody>
          <a:bodyPr/>
          <a:lstStyle/>
          <a:p>
            <a:r>
              <a:rPr lang="ru-RU" noProof="1"/>
              <a:t>Результаты микрообучения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EEDCE806-38AD-F87D-67C6-AA173F44FBE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48176"/>
          <a:stretch>
            <a:fillRect/>
          </a:stretch>
        </p:blipFill>
        <p:spPr>
          <a:xfrm>
            <a:off x="635317" y="1316571"/>
            <a:ext cx="11357349" cy="50967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2725064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C5457B0-19E9-D3B4-EF56-920291150B3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0">
            <a:extLst>
              <a:ext uri="{FF2B5EF4-FFF2-40B4-BE49-F238E27FC236}">
                <a16:creationId xmlns:a16="http://schemas.microsoft.com/office/drawing/2014/main" id="{F3FA4ED7-D844-8635-B98A-AD6BD59680CD}"/>
              </a:ext>
            </a:extLst>
          </p:cNvPr>
          <p:cNvSpPr/>
          <p:nvPr/>
        </p:nvSpPr>
        <p:spPr>
          <a:xfrm>
            <a:off x="7315200" y="-487680"/>
            <a:ext cx="5120640" cy="548640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algn="r"/>
            <a:r>
              <a:rPr lang="ru-RU" sz="42666" b="1" noProof="1">
                <a:solidFill>
                  <a:srgbClr val="0092BB">
                    <a:alpha val="40000"/>
                  </a:srgbClr>
                </a:solidFill>
                <a:latin typeface="Trebuchet MS" pitchFamily="34" charset="0"/>
                <a:ea typeface="Trebuchet MS" pitchFamily="34" charset="-122"/>
                <a:cs typeface="Trebuchet MS" pitchFamily="34" charset="-120"/>
              </a:rPr>
              <a:t>07</a:t>
            </a:r>
            <a:endParaRPr lang="ru-RU" sz="42666" noProof="1"/>
          </a:p>
        </p:txBody>
      </p:sp>
      <p:sp>
        <p:nvSpPr>
          <p:cNvPr id="3" name="Shape 1">
            <a:extLst>
              <a:ext uri="{FF2B5EF4-FFF2-40B4-BE49-F238E27FC236}">
                <a16:creationId xmlns:a16="http://schemas.microsoft.com/office/drawing/2014/main" id="{A2973F09-1260-DFCA-38E2-EC57F7C0B2D6}"/>
              </a:ext>
            </a:extLst>
          </p:cNvPr>
          <p:cNvSpPr/>
          <p:nvPr/>
        </p:nvSpPr>
        <p:spPr>
          <a:xfrm>
            <a:off x="654178" y="1289539"/>
            <a:ext cx="202863" cy="3421248"/>
          </a:xfrm>
          <a:prstGeom prst="rect">
            <a:avLst/>
          </a:prstGeom>
          <a:solidFill>
            <a:srgbClr val="FFDC00"/>
          </a:solidFill>
          <a:ln w="12700">
            <a:solidFill>
              <a:srgbClr val="FFDC00"/>
            </a:solidFill>
            <a:prstDash val="solid"/>
          </a:ln>
        </p:spPr>
        <p:txBody>
          <a:bodyPr/>
          <a:lstStyle/>
          <a:p>
            <a:endParaRPr lang="ru-RU" sz="2400" noProof="1"/>
          </a:p>
        </p:txBody>
      </p:sp>
      <p:sp>
        <p:nvSpPr>
          <p:cNvPr id="4" name="Text 2">
            <a:extLst>
              <a:ext uri="{FF2B5EF4-FFF2-40B4-BE49-F238E27FC236}">
                <a16:creationId xmlns:a16="http://schemas.microsoft.com/office/drawing/2014/main" id="{B011B805-BE24-C3A5-12E7-9498853DD1C4}"/>
              </a:ext>
            </a:extLst>
          </p:cNvPr>
          <p:cNvSpPr/>
          <p:nvPr/>
        </p:nvSpPr>
        <p:spPr>
          <a:xfrm>
            <a:off x="914400" y="1975104"/>
            <a:ext cx="9144000" cy="146304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lvl="0">
              <a:defRPr/>
            </a:pPr>
            <a:r>
              <a:rPr lang="ru-RU" sz="3200" b="1" noProof="1">
                <a:solidFill>
                  <a:srgbClr val="FFFFFF"/>
                </a:solidFill>
                <a:latin typeface="Arial" panose="020B0604020202020204" pitchFamily="34" charset="0"/>
                <a:ea typeface="Georgia" pitchFamily="34" charset="-122"/>
                <a:cs typeface="Arial" panose="020B0604020202020204" pitchFamily="34" charset="0"/>
              </a:rPr>
              <a:t>Показ дизайна профессионального развития педагогов</a:t>
            </a:r>
          </a:p>
          <a:p>
            <a:pPr lvl="0">
              <a:defRPr/>
            </a:pPr>
            <a:r>
              <a:rPr lang="ru-RU" sz="3200" b="1" noProof="1">
                <a:solidFill>
                  <a:srgbClr val="FFFFFF"/>
                </a:solidFill>
                <a:latin typeface="Arial" panose="020B0604020202020204" pitchFamily="34" charset="0"/>
                <a:ea typeface="Georgia" pitchFamily="34" charset="-122"/>
                <a:cs typeface="Arial" panose="020B0604020202020204" pitchFamily="34" charset="0"/>
              </a:rPr>
              <a:t>и обратная связь от коллег</a:t>
            </a:r>
          </a:p>
        </p:txBody>
      </p:sp>
      <p:sp>
        <p:nvSpPr>
          <p:cNvPr id="5" name="Shape 3">
            <a:extLst>
              <a:ext uri="{FF2B5EF4-FFF2-40B4-BE49-F238E27FC236}">
                <a16:creationId xmlns:a16="http://schemas.microsoft.com/office/drawing/2014/main" id="{2480B856-DC2D-D25D-BAA9-06B9E143A505}"/>
              </a:ext>
            </a:extLst>
          </p:cNvPr>
          <p:cNvSpPr/>
          <p:nvPr/>
        </p:nvSpPr>
        <p:spPr>
          <a:xfrm>
            <a:off x="1015537" y="3605073"/>
            <a:ext cx="3413760" cy="512064"/>
          </a:xfrm>
          <a:prstGeom prst="roundRect">
            <a:avLst>
              <a:gd name="adj" fmla="val 14286"/>
            </a:avLst>
          </a:prstGeom>
          <a:solidFill>
            <a:srgbClr val="FFDC00"/>
          </a:solidFill>
          <a:ln w="12700">
            <a:solidFill>
              <a:srgbClr val="FFDC00"/>
            </a:solidFill>
            <a:prstDash val="solid"/>
          </a:ln>
        </p:spPr>
        <p:txBody>
          <a:bodyPr/>
          <a:lstStyle/>
          <a:p>
            <a:endParaRPr lang="ru-RU" sz="2400" noProof="1"/>
          </a:p>
        </p:txBody>
      </p:sp>
      <p:sp>
        <p:nvSpPr>
          <p:cNvPr id="6" name="Text 4">
            <a:extLst>
              <a:ext uri="{FF2B5EF4-FFF2-40B4-BE49-F238E27FC236}">
                <a16:creationId xmlns:a16="http://schemas.microsoft.com/office/drawing/2014/main" id="{04ECA6B2-67F9-826F-9E13-5C9A43DD91A7}"/>
              </a:ext>
            </a:extLst>
          </p:cNvPr>
          <p:cNvSpPr/>
          <p:nvPr/>
        </p:nvSpPr>
        <p:spPr>
          <a:xfrm>
            <a:off x="1015537" y="3605073"/>
            <a:ext cx="3255264" cy="512064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lvl="0" algn="ctr">
              <a:defRPr/>
            </a:pPr>
            <a:r>
              <a:rPr lang="ru-RU" sz="1867" b="1" noProof="1">
                <a:solidFill>
                  <a:schemeClr val="accent2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14:00 – 15:15  |  75 минут</a:t>
            </a:r>
            <a:endParaRPr lang="ru-RU" sz="1867" noProof="1">
              <a:solidFill>
                <a:schemeClr val="accent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9DD4BAD0-EF9D-DA76-005C-0044F50A35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15537" y="1012083"/>
            <a:ext cx="10944225" cy="1080120"/>
          </a:xfrm>
        </p:spPr>
        <p:txBody>
          <a:bodyPr/>
          <a:lstStyle/>
          <a:p>
            <a:pPr algn="l"/>
            <a:r>
              <a:rPr lang="ru-RU" sz="3200" noProof="1">
                <a:solidFill>
                  <a:schemeClr val="accent4"/>
                </a:solidFill>
                <a:latin typeface="Arial" panose="020B0604020202020204" pitchFamily="34" charset="0"/>
                <a:ea typeface="Georgia" pitchFamily="34" charset="-122"/>
              </a:rPr>
              <a:t>Сессия 7</a:t>
            </a:r>
            <a:endParaRPr lang="ru-RU" b="1" noProof="1">
              <a:solidFill>
                <a:schemeClr val="accent4"/>
              </a:solidFill>
              <a:latin typeface="Arial" panose="020B0604020202020204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47036175-3B7D-25D5-6BDC-C6134F21D09F}"/>
              </a:ext>
            </a:extLst>
          </p:cNvPr>
          <p:cNvSpPr txBox="1"/>
          <p:nvPr/>
        </p:nvSpPr>
        <p:spPr>
          <a:xfrm>
            <a:off x="914401" y="4444724"/>
            <a:ext cx="427555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ru-RU" sz="1400" i="1" noProof="1">
              <a:solidFill>
                <a:schemeClr val="bg1"/>
              </a:solidFill>
            </a:endParaRPr>
          </a:p>
        </p:txBody>
      </p:sp>
      <p:sp>
        <p:nvSpPr>
          <p:cNvPr id="9" name="Text 7">
            <a:extLst>
              <a:ext uri="{FF2B5EF4-FFF2-40B4-BE49-F238E27FC236}">
                <a16:creationId xmlns:a16="http://schemas.microsoft.com/office/drawing/2014/main" id="{AE9C5E38-6C89-7A83-F1CA-86365BB0D7E0}"/>
              </a:ext>
            </a:extLst>
          </p:cNvPr>
          <p:cNvSpPr/>
          <p:nvPr/>
        </p:nvSpPr>
        <p:spPr>
          <a:xfrm>
            <a:off x="1015537" y="4284067"/>
            <a:ext cx="10972800" cy="42672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600" i="1" noProof="1">
                <a:solidFill>
                  <a:schemeClr val="bg1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Парный показ — одно задание  |  Карточка обратной связи аналогична шаблону наблюдения Сессии 4</a:t>
            </a:r>
            <a:endParaRPr lang="ru-RU" sz="1600" noProof="1">
              <a:solidFill>
                <a:schemeClr val="bg1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225272782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3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D3242265-8A93-7698-EE4B-C92B54C016F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109264"/>
            <a:ext cx="7815651" cy="1080120"/>
          </a:xfrm>
        </p:spPr>
        <p:txBody>
          <a:bodyPr/>
          <a:lstStyle/>
          <a:p>
            <a:r>
              <a:rPr lang="ru-RU" noProof="1"/>
              <a:t>СЕССИЯ 7  |  ФОРМАТ</a:t>
            </a:r>
          </a:p>
        </p:txBody>
      </p:sp>
      <p:sp>
        <p:nvSpPr>
          <p:cNvPr id="4" name="Text 2">
            <a:extLst>
              <a:ext uri="{FF2B5EF4-FFF2-40B4-BE49-F238E27FC236}">
                <a16:creationId xmlns:a16="http://schemas.microsoft.com/office/drawing/2014/main" id="{E22BD085-7EE7-EFFA-4B2A-40E3530F5DC2}"/>
              </a:ext>
            </a:extLst>
          </p:cNvPr>
          <p:cNvSpPr/>
          <p:nvPr/>
        </p:nvSpPr>
        <p:spPr>
          <a:xfrm>
            <a:off x="609600" y="1075844"/>
            <a:ext cx="1645920" cy="42672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333" b="1" kern="0" spc="133" noProof="1">
                <a:solidFill>
                  <a:schemeClr val="bg1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ФАЗА</a:t>
            </a:r>
            <a:endParaRPr lang="ru-RU" sz="1333" noProof="1">
              <a:solidFill>
                <a:schemeClr val="bg1"/>
              </a:solidFill>
              <a:latin typeface="Calibri" panose="020F0502020204030204"/>
            </a:endParaRPr>
          </a:p>
        </p:txBody>
      </p:sp>
      <p:sp>
        <p:nvSpPr>
          <p:cNvPr id="5" name="Text 3">
            <a:extLst>
              <a:ext uri="{FF2B5EF4-FFF2-40B4-BE49-F238E27FC236}">
                <a16:creationId xmlns:a16="http://schemas.microsoft.com/office/drawing/2014/main" id="{85EE0D2E-1EBF-50B3-530B-54F72F82D57D}"/>
              </a:ext>
            </a:extLst>
          </p:cNvPr>
          <p:cNvSpPr/>
          <p:nvPr/>
        </p:nvSpPr>
        <p:spPr>
          <a:xfrm>
            <a:off x="2377440" y="1075844"/>
            <a:ext cx="3596640" cy="42672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333" b="1" kern="0" spc="133" noProof="1">
                <a:solidFill>
                  <a:schemeClr val="bg1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ВРЕМЯ</a:t>
            </a:r>
            <a:endParaRPr lang="ru-RU" sz="1333" noProof="1">
              <a:solidFill>
                <a:schemeClr val="bg1"/>
              </a:solidFill>
              <a:latin typeface="Calibri" panose="020F0502020204030204"/>
            </a:endParaRPr>
          </a:p>
        </p:txBody>
      </p:sp>
      <p:sp>
        <p:nvSpPr>
          <p:cNvPr id="7" name="Text 5">
            <a:extLst>
              <a:ext uri="{FF2B5EF4-FFF2-40B4-BE49-F238E27FC236}">
                <a16:creationId xmlns:a16="http://schemas.microsoft.com/office/drawing/2014/main" id="{8A400B4D-B981-ABE2-7D3F-E22691EDA940}"/>
              </a:ext>
            </a:extLst>
          </p:cNvPr>
          <p:cNvSpPr/>
          <p:nvPr/>
        </p:nvSpPr>
        <p:spPr>
          <a:xfrm>
            <a:off x="4450080" y="1075844"/>
            <a:ext cx="1280160" cy="42672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333" b="1" kern="0" spc="133" noProof="1">
                <a:solidFill>
                  <a:schemeClr val="bg1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МИН</a:t>
            </a:r>
            <a:endParaRPr lang="ru-RU" sz="1333" noProof="1">
              <a:solidFill>
                <a:schemeClr val="bg1"/>
              </a:solidFill>
              <a:latin typeface="Calibri" panose="020F0502020204030204"/>
            </a:endParaRPr>
          </a:p>
        </p:txBody>
      </p:sp>
      <p:sp>
        <p:nvSpPr>
          <p:cNvPr id="8" name="Text 6">
            <a:extLst>
              <a:ext uri="{FF2B5EF4-FFF2-40B4-BE49-F238E27FC236}">
                <a16:creationId xmlns:a16="http://schemas.microsoft.com/office/drawing/2014/main" id="{EFC68AB9-6F16-8435-6193-92E230B2E3B3}"/>
              </a:ext>
            </a:extLst>
          </p:cNvPr>
          <p:cNvSpPr/>
          <p:nvPr/>
        </p:nvSpPr>
        <p:spPr>
          <a:xfrm>
            <a:off x="5852160" y="1075844"/>
            <a:ext cx="2560320" cy="42672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333" b="1" kern="0" spc="133" noProof="1">
                <a:solidFill>
                  <a:schemeClr val="bg1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ФОРМАТ</a:t>
            </a:r>
            <a:endParaRPr lang="ru-RU" sz="1333" noProof="1">
              <a:solidFill>
                <a:schemeClr val="bg1"/>
              </a:solidFill>
              <a:latin typeface="Calibri" panose="020F0502020204030204"/>
            </a:endParaRPr>
          </a:p>
        </p:txBody>
      </p:sp>
      <p:sp>
        <p:nvSpPr>
          <p:cNvPr id="9" name="Shape 7">
            <a:extLst>
              <a:ext uri="{FF2B5EF4-FFF2-40B4-BE49-F238E27FC236}">
                <a16:creationId xmlns:a16="http://schemas.microsoft.com/office/drawing/2014/main" id="{0E460D39-FE7C-4865-FA7A-39749C42302C}"/>
              </a:ext>
            </a:extLst>
          </p:cNvPr>
          <p:cNvSpPr/>
          <p:nvPr/>
        </p:nvSpPr>
        <p:spPr>
          <a:xfrm>
            <a:off x="548640" y="1575716"/>
            <a:ext cx="9611360" cy="609600"/>
          </a:xfrm>
          <a:prstGeom prst="rect">
            <a:avLst/>
          </a:prstGeom>
          <a:solidFill>
            <a:srgbClr val="FFFFFF"/>
          </a:solidFill>
          <a:ln w="5080">
            <a:solidFill>
              <a:srgbClr val="B2D8DE"/>
            </a:solidFill>
            <a:prstDash val="solid"/>
          </a:ln>
        </p:spPr>
        <p:txBody>
          <a:bodyPr/>
          <a:lstStyle/>
          <a:p>
            <a:pPr defTabSz="1219170">
              <a:defRPr/>
            </a:pPr>
            <a:endParaRPr lang="ru-RU" sz="2400" noProof="1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0" name="Text 8">
            <a:extLst>
              <a:ext uri="{FF2B5EF4-FFF2-40B4-BE49-F238E27FC236}">
                <a16:creationId xmlns:a16="http://schemas.microsoft.com/office/drawing/2014/main" id="{DC61CB21-DFA8-37E3-2600-CEFC48C2B55D}"/>
              </a:ext>
            </a:extLst>
          </p:cNvPr>
          <p:cNvSpPr/>
          <p:nvPr/>
        </p:nvSpPr>
        <p:spPr>
          <a:xfrm>
            <a:off x="609600" y="1624484"/>
            <a:ext cx="1645920" cy="524256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733" noProof="1">
                <a:solidFill>
                  <a:srgbClr val="16303A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Введение</a:t>
            </a:r>
            <a:endParaRPr lang="ru-RU" sz="1733" noProof="1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1" name="Text 9">
            <a:extLst>
              <a:ext uri="{FF2B5EF4-FFF2-40B4-BE49-F238E27FC236}">
                <a16:creationId xmlns:a16="http://schemas.microsoft.com/office/drawing/2014/main" id="{115BE208-2C77-387E-EB7C-19B056F9B0D2}"/>
              </a:ext>
            </a:extLst>
          </p:cNvPr>
          <p:cNvSpPr/>
          <p:nvPr/>
        </p:nvSpPr>
        <p:spPr>
          <a:xfrm>
            <a:off x="2377440" y="1624484"/>
            <a:ext cx="3596640" cy="524256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733" noProof="1">
                <a:solidFill>
                  <a:srgbClr val="027A87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14:00 – 14:05</a:t>
            </a:r>
            <a:endParaRPr lang="ru-RU" sz="1733" noProof="1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2" name="Text 10">
            <a:extLst>
              <a:ext uri="{FF2B5EF4-FFF2-40B4-BE49-F238E27FC236}">
                <a16:creationId xmlns:a16="http://schemas.microsoft.com/office/drawing/2014/main" id="{CBE36170-E746-57D8-A242-EA7B75D30303}"/>
              </a:ext>
            </a:extLst>
          </p:cNvPr>
          <p:cNvSpPr/>
          <p:nvPr/>
        </p:nvSpPr>
        <p:spPr>
          <a:xfrm>
            <a:off x="4450080" y="1624484"/>
            <a:ext cx="1280160" cy="524256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algn="ctr" defTabSz="1219170">
              <a:defRPr/>
            </a:pPr>
            <a:r>
              <a:rPr lang="ru-RU" sz="1733" b="1" noProof="1">
                <a:solidFill>
                  <a:srgbClr val="16303A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5 мин</a:t>
            </a:r>
            <a:endParaRPr lang="ru-RU" sz="1733" noProof="1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3" name="Text 11">
            <a:extLst>
              <a:ext uri="{FF2B5EF4-FFF2-40B4-BE49-F238E27FC236}">
                <a16:creationId xmlns:a16="http://schemas.microsoft.com/office/drawing/2014/main" id="{638CB7DC-4E7E-6691-7794-A9A72EA25287}"/>
              </a:ext>
            </a:extLst>
          </p:cNvPr>
          <p:cNvSpPr/>
          <p:nvPr/>
        </p:nvSpPr>
        <p:spPr>
          <a:xfrm>
            <a:off x="5852160" y="1624484"/>
            <a:ext cx="2560320" cy="524256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733" noProof="1">
                <a:solidFill>
                  <a:srgbClr val="3D6673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Пленарное заседание</a:t>
            </a:r>
            <a:endParaRPr lang="ru-RU" sz="1733" noProof="1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4" name="Shape 12">
            <a:extLst>
              <a:ext uri="{FF2B5EF4-FFF2-40B4-BE49-F238E27FC236}">
                <a16:creationId xmlns:a16="http://schemas.microsoft.com/office/drawing/2014/main" id="{FCDA0D6E-86F9-6A27-E79B-EFD0B0815B1D}"/>
              </a:ext>
            </a:extLst>
          </p:cNvPr>
          <p:cNvSpPr/>
          <p:nvPr/>
        </p:nvSpPr>
        <p:spPr>
          <a:xfrm>
            <a:off x="548640" y="2246276"/>
            <a:ext cx="9611360" cy="609600"/>
          </a:xfrm>
          <a:prstGeom prst="rect">
            <a:avLst/>
          </a:prstGeom>
          <a:solidFill>
            <a:srgbClr val="D6F0F3"/>
          </a:solidFill>
          <a:ln w="5080">
            <a:solidFill>
              <a:srgbClr val="B2D8DE"/>
            </a:solidFill>
            <a:prstDash val="solid"/>
          </a:ln>
        </p:spPr>
        <p:txBody>
          <a:bodyPr/>
          <a:lstStyle/>
          <a:p>
            <a:pPr defTabSz="1219170">
              <a:defRPr/>
            </a:pPr>
            <a:endParaRPr lang="ru-RU" sz="1733" noProof="1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5" name="Text 13">
            <a:extLst>
              <a:ext uri="{FF2B5EF4-FFF2-40B4-BE49-F238E27FC236}">
                <a16:creationId xmlns:a16="http://schemas.microsoft.com/office/drawing/2014/main" id="{7DBDA289-995F-69A7-2CC5-5FAA3F1A4834}"/>
              </a:ext>
            </a:extLst>
          </p:cNvPr>
          <p:cNvSpPr/>
          <p:nvPr/>
        </p:nvSpPr>
        <p:spPr>
          <a:xfrm>
            <a:off x="609600" y="2295044"/>
            <a:ext cx="1645920" cy="524256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733" b="1" noProof="1">
                <a:solidFill>
                  <a:srgbClr val="027A87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Раунд 1</a:t>
            </a:r>
            <a:endParaRPr lang="ru-RU" sz="1733" noProof="1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6" name="Text 14">
            <a:extLst>
              <a:ext uri="{FF2B5EF4-FFF2-40B4-BE49-F238E27FC236}">
                <a16:creationId xmlns:a16="http://schemas.microsoft.com/office/drawing/2014/main" id="{F52F6F45-4336-F2F8-D3E0-E89AA05B0E2F}"/>
              </a:ext>
            </a:extLst>
          </p:cNvPr>
          <p:cNvSpPr/>
          <p:nvPr/>
        </p:nvSpPr>
        <p:spPr>
          <a:xfrm>
            <a:off x="2377440" y="2295044"/>
            <a:ext cx="3596640" cy="524256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733" noProof="1">
                <a:solidFill>
                  <a:srgbClr val="027A87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14:05 – 14:23</a:t>
            </a:r>
            <a:endParaRPr lang="ru-RU" sz="1733" noProof="1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7" name="Text 15">
            <a:extLst>
              <a:ext uri="{FF2B5EF4-FFF2-40B4-BE49-F238E27FC236}">
                <a16:creationId xmlns:a16="http://schemas.microsoft.com/office/drawing/2014/main" id="{4E96EF28-1ABE-2C2B-AE2F-56882DAC5065}"/>
              </a:ext>
            </a:extLst>
          </p:cNvPr>
          <p:cNvSpPr/>
          <p:nvPr/>
        </p:nvSpPr>
        <p:spPr>
          <a:xfrm>
            <a:off x="4450080" y="2295044"/>
            <a:ext cx="1280160" cy="524256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algn="ctr" defTabSz="1219170">
              <a:defRPr/>
            </a:pPr>
            <a:r>
              <a:rPr lang="ru-RU" sz="1733" b="1" noProof="1">
                <a:solidFill>
                  <a:srgbClr val="16303A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18 мин</a:t>
            </a:r>
            <a:endParaRPr lang="ru-RU" sz="1733" noProof="1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8" name="Text 16">
            <a:extLst>
              <a:ext uri="{FF2B5EF4-FFF2-40B4-BE49-F238E27FC236}">
                <a16:creationId xmlns:a16="http://schemas.microsoft.com/office/drawing/2014/main" id="{4CD4BADA-5D27-E2F3-2807-033DA9E3369B}"/>
              </a:ext>
            </a:extLst>
          </p:cNvPr>
          <p:cNvSpPr/>
          <p:nvPr/>
        </p:nvSpPr>
        <p:spPr>
          <a:xfrm>
            <a:off x="5852160" y="2295044"/>
            <a:ext cx="3962400" cy="524256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733" noProof="1">
                <a:solidFill>
                  <a:srgbClr val="3D6673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Парный — первый стол представляет (Столы 1,3,5,7,9)</a:t>
            </a:r>
            <a:endParaRPr lang="ru-RU" sz="1733" noProof="1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9" name="Shape 17">
            <a:extLst>
              <a:ext uri="{FF2B5EF4-FFF2-40B4-BE49-F238E27FC236}">
                <a16:creationId xmlns:a16="http://schemas.microsoft.com/office/drawing/2014/main" id="{84A59AD9-BF0D-1854-B7C1-62372E76F37F}"/>
              </a:ext>
            </a:extLst>
          </p:cNvPr>
          <p:cNvSpPr/>
          <p:nvPr/>
        </p:nvSpPr>
        <p:spPr>
          <a:xfrm>
            <a:off x="548640" y="2916836"/>
            <a:ext cx="9611360" cy="609600"/>
          </a:xfrm>
          <a:prstGeom prst="rect">
            <a:avLst/>
          </a:prstGeom>
          <a:solidFill>
            <a:srgbClr val="FFFFFF"/>
          </a:solidFill>
          <a:ln w="5080">
            <a:solidFill>
              <a:srgbClr val="B2D8DE"/>
            </a:solidFill>
            <a:prstDash val="solid"/>
          </a:ln>
        </p:spPr>
        <p:txBody>
          <a:bodyPr/>
          <a:lstStyle/>
          <a:p>
            <a:pPr defTabSz="1219170">
              <a:defRPr/>
            </a:pPr>
            <a:endParaRPr lang="ru-RU" sz="2400" noProof="1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20" name="Text 18">
            <a:extLst>
              <a:ext uri="{FF2B5EF4-FFF2-40B4-BE49-F238E27FC236}">
                <a16:creationId xmlns:a16="http://schemas.microsoft.com/office/drawing/2014/main" id="{405B764B-F23F-8713-BEE4-97F11502B6F7}"/>
              </a:ext>
            </a:extLst>
          </p:cNvPr>
          <p:cNvSpPr/>
          <p:nvPr/>
        </p:nvSpPr>
        <p:spPr>
          <a:xfrm>
            <a:off x="609600" y="2965604"/>
            <a:ext cx="1645920" cy="524256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733" noProof="1">
                <a:solidFill>
                  <a:srgbClr val="16303A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Смена ролей</a:t>
            </a:r>
            <a:endParaRPr lang="ru-RU" sz="1733" noProof="1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21" name="Text 19">
            <a:extLst>
              <a:ext uri="{FF2B5EF4-FFF2-40B4-BE49-F238E27FC236}">
                <a16:creationId xmlns:a16="http://schemas.microsoft.com/office/drawing/2014/main" id="{926810A2-D56A-0C80-EBB0-41250C2FFCA1}"/>
              </a:ext>
            </a:extLst>
          </p:cNvPr>
          <p:cNvSpPr/>
          <p:nvPr/>
        </p:nvSpPr>
        <p:spPr>
          <a:xfrm>
            <a:off x="2377440" y="2965604"/>
            <a:ext cx="3596640" cy="524256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733" noProof="1">
                <a:solidFill>
                  <a:srgbClr val="027A87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14:23 – 14:24</a:t>
            </a:r>
            <a:endParaRPr lang="ru-RU" sz="1733" noProof="1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22" name="Text 20">
            <a:extLst>
              <a:ext uri="{FF2B5EF4-FFF2-40B4-BE49-F238E27FC236}">
                <a16:creationId xmlns:a16="http://schemas.microsoft.com/office/drawing/2014/main" id="{9249ACA5-6427-EDE0-91A8-731048A786CD}"/>
              </a:ext>
            </a:extLst>
          </p:cNvPr>
          <p:cNvSpPr/>
          <p:nvPr/>
        </p:nvSpPr>
        <p:spPr>
          <a:xfrm>
            <a:off x="4450080" y="2965604"/>
            <a:ext cx="1280160" cy="524256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algn="ctr" defTabSz="1219170">
              <a:defRPr/>
            </a:pPr>
            <a:r>
              <a:rPr lang="ru-RU" sz="1733" b="1" noProof="1">
                <a:solidFill>
                  <a:srgbClr val="16303A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1 мин</a:t>
            </a:r>
            <a:endParaRPr lang="ru-RU" sz="1733" noProof="1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23" name="Text 21">
            <a:extLst>
              <a:ext uri="{FF2B5EF4-FFF2-40B4-BE49-F238E27FC236}">
                <a16:creationId xmlns:a16="http://schemas.microsoft.com/office/drawing/2014/main" id="{27A6B44D-BAC9-4889-2A23-E0975BE867C4}"/>
              </a:ext>
            </a:extLst>
          </p:cNvPr>
          <p:cNvSpPr/>
          <p:nvPr/>
        </p:nvSpPr>
        <p:spPr>
          <a:xfrm>
            <a:off x="5852160" y="2965604"/>
            <a:ext cx="3962400" cy="524256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400" noProof="1">
                <a:solidFill>
                  <a:srgbClr val="3D6673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Смена ролей внутри каждой пары</a:t>
            </a:r>
            <a:endParaRPr lang="ru-RU" sz="1400" noProof="1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24" name="Shape 22">
            <a:extLst>
              <a:ext uri="{FF2B5EF4-FFF2-40B4-BE49-F238E27FC236}">
                <a16:creationId xmlns:a16="http://schemas.microsoft.com/office/drawing/2014/main" id="{B5DF5D02-2865-5FE2-E011-7F7B70F0D931}"/>
              </a:ext>
            </a:extLst>
          </p:cNvPr>
          <p:cNvSpPr/>
          <p:nvPr/>
        </p:nvSpPr>
        <p:spPr>
          <a:xfrm>
            <a:off x="548640" y="3587396"/>
            <a:ext cx="9611360" cy="609600"/>
          </a:xfrm>
          <a:prstGeom prst="rect">
            <a:avLst/>
          </a:prstGeom>
          <a:solidFill>
            <a:srgbClr val="D6F0F3"/>
          </a:solidFill>
          <a:ln w="5080">
            <a:solidFill>
              <a:srgbClr val="B2D8DE"/>
            </a:solidFill>
            <a:prstDash val="solid"/>
          </a:ln>
        </p:spPr>
        <p:txBody>
          <a:bodyPr/>
          <a:lstStyle/>
          <a:p>
            <a:pPr defTabSz="1219170">
              <a:defRPr/>
            </a:pPr>
            <a:endParaRPr lang="ru-RU" sz="1733" noProof="1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25" name="Text 23">
            <a:extLst>
              <a:ext uri="{FF2B5EF4-FFF2-40B4-BE49-F238E27FC236}">
                <a16:creationId xmlns:a16="http://schemas.microsoft.com/office/drawing/2014/main" id="{262044B7-90C4-85C4-316B-9D9E5A5807A7}"/>
              </a:ext>
            </a:extLst>
          </p:cNvPr>
          <p:cNvSpPr/>
          <p:nvPr/>
        </p:nvSpPr>
        <p:spPr>
          <a:xfrm>
            <a:off x="609600" y="3636164"/>
            <a:ext cx="1645920" cy="524256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733" b="1" noProof="1">
                <a:solidFill>
                  <a:srgbClr val="027A87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Раунд 2</a:t>
            </a:r>
            <a:endParaRPr lang="ru-RU" sz="1733" noProof="1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26" name="Text 24">
            <a:extLst>
              <a:ext uri="{FF2B5EF4-FFF2-40B4-BE49-F238E27FC236}">
                <a16:creationId xmlns:a16="http://schemas.microsoft.com/office/drawing/2014/main" id="{9689EA50-7C67-6980-615C-F8BD64BBA6C6}"/>
              </a:ext>
            </a:extLst>
          </p:cNvPr>
          <p:cNvSpPr/>
          <p:nvPr/>
        </p:nvSpPr>
        <p:spPr>
          <a:xfrm>
            <a:off x="2377440" y="3636164"/>
            <a:ext cx="3596640" cy="524256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733" noProof="1">
                <a:solidFill>
                  <a:srgbClr val="027A87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14:24 – 14:42</a:t>
            </a:r>
            <a:endParaRPr lang="ru-RU" sz="1733" noProof="1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27" name="Text 25">
            <a:extLst>
              <a:ext uri="{FF2B5EF4-FFF2-40B4-BE49-F238E27FC236}">
                <a16:creationId xmlns:a16="http://schemas.microsoft.com/office/drawing/2014/main" id="{EF714C3C-F531-B841-E2F5-C698E2EB0AEC}"/>
              </a:ext>
            </a:extLst>
          </p:cNvPr>
          <p:cNvSpPr/>
          <p:nvPr/>
        </p:nvSpPr>
        <p:spPr>
          <a:xfrm>
            <a:off x="4450080" y="3636164"/>
            <a:ext cx="1280160" cy="524256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algn="ctr" defTabSz="1219170">
              <a:defRPr/>
            </a:pPr>
            <a:r>
              <a:rPr lang="ru-RU" sz="1733" b="1" noProof="1">
                <a:solidFill>
                  <a:srgbClr val="16303A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18 мин</a:t>
            </a:r>
            <a:endParaRPr lang="ru-RU" sz="1733" noProof="1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28" name="Text 26">
            <a:extLst>
              <a:ext uri="{FF2B5EF4-FFF2-40B4-BE49-F238E27FC236}">
                <a16:creationId xmlns:a16="http://schemas.microsoft.com/office/drawing/2014/main" id="{AE40812C-DA4B-4002-A4C5-AF56E798B9D2}"/>
              </a:ext>
            </a:extLst>
          </p:cNvPr>
          <p:cNvSpPr/>
          <p:nvPr/>
        </p:nvSpPr>
        <p:spPr>
          <a:xfrm>
            <a:off x="5852160" y="3636164"/>
            <a:ext cx="3962400" cy="524256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733" noProof="1">
                <a:solidFill>
                  <a:srgbClr val="3D6673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Парный — второй стол представляет (Столы 2,4,6,8,10)</a:t>
            </a:r>
            <a:endParaRPr lang="ru-RU" sz="1733" noProof="1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29" name="Shape 27">
            <a:extLst>
              <a:ext uri="{FF2B5EF4-FFF2-40B4-BE49-F238E27FC236}">
                <a16:creationId xmlns:a16="http://schemas.microsoft.com/office/drawing/2014/main" id="{E89D311C-88E0-8D2F-59A5-FD1DFC23FFAC}"/>
              </a:ext>
            </a:extLst>
          </p:cNvPr>
          <p:cNvSpPr/>
          <p:nvPr/>
        </p:nvSpPr>
        <p:spPr>
          <a:xfrm>
            <a:off x="548640" y="4257956"/>
            <a:ext cx="9611360" cy="609600"/>
          </a:xfrm>
          <a:prstGeom prst="rect">
            <a:avLst/>
          </a:prstGeom>
          <a:solidFill>
            <a:srgbClr val="FFFFFF"/>
          </a:solidFill>
          <a:ln w="5080">
            <a:solidFill>
              <a:srgbClr val="B2D8DE"/>
            </a:solidFill>
            <a:prstDash val="solid"/>
          </a:ln>
        </p:spPr>
        <p:txBody>
          <a:bodyPr/>
          <a:lstStyle/>
          <a:p>
            <a:pPr defTabSz="1219170">
              <a:defRPr/>
            </a:pPr>
            <a:endParaRPr lang="ru-RU" sz="2400" noProof="1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30" name="Text 28">
            <a:extLst>
              <a:ext uri="{FF2B5EF4-FFF2-40B4-BE49-F238E27FC236}">
                <a16:creationId xmlns:a16="http://schemas.microsoft.com/office/drawing/2014/main" id="{42653EC2-76EC-BFB9-8077-4624493E7E09}"/>
              </a:ext>
            </a:extLst>
          </p:cNvPr>
          <p:cNvSpPr/>
          <p:nvPr/>
        </p:nvSpPr>
        <p:spPr>
          <a:xfrm>
            <a:off x="609600" y="4306724"/>
            <a:ext cx="1645920" cy="524256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733" noProof="1">
                <a:solidFill>
                  <a:srgbClr val="16303A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Пленарный показ</a:t>
            </a:r>
            <a:endParaRPr lang="ru-RU" sz="1733" noProof="1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31" name="Text 29">
            <a:extLst>
              <a:ext uri="{FF2B5EF4-FFF2-40B4-BE49-F238E27FC236}">
                <a16:creationId xmlns:a16="http://schemas.microsoft.com/office/drawing/2014/main" id="{92C5A9D8-AEEF-9E15-994A-69BB8ADFC592}"/>
              </a:ext>
            </a:extLst>
          </p:cNvPr>
          <p:cNvSpPr/>
          <p:nvPr/>
        </p:nvSpPr>
        <p:spPr>
          <a:xfrm>
            <a:off x="2377440" y="4306724"/>
            <a:ext cx="3596640" cy="524256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733" noProof="1">
                <a:solidFill>
                  <a:srgbClr val="027A87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14:42 – 14:57</a:t>
            </a:r>
            <a:endParaRPr lang="ru-RU" sz="1733" noProof="1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32" name="Text 30">
            <a:extLst>
              <a:ext uri="{FF2B5EF4-FFF2-40B4-BE49-F238E27FC236}">
                <a16:creationId xmlns:a16="http://schemas.microsoft.com/office/drawing/2014/main" id="{A1AB2B15-BC45-A911-37B9-059C0FC53862}"/>
              </a:ext>
            </a:extLst>
          </p:cNvPr>
          <p:cNvSpPr/>
          <p:nvPr/>
        </p:nvSpPr>
        <p:spPr>
          <a:xfrm>
            <a:off x="4450080" y="4306724"/>
            <a:ext cx="1280160" cy="524256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algn="ctr" defTabSz="1219170">
              <a:defRPr/>
            </a:pPr>
            <a:r>
              <a:rPr lang="ru-RU" sz="1467" b="1" noProof="1">
                <a:solidFill>
                  <a:srgbClr val="16303A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15 мин</a:t>
            </a:r>
            <a:endParaRPr lang="ru-RU" sz="1467" noProof="1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33" name="Text 31">
            <a:extLst>
              <a:ext uri="{FF2B5EF4-FFF2-40B4-BE49-F238E27FC236}">
                <a16:creationId xmlns:a16="http://schemas.microsoft.com/office/drawing/2014/main" id="{C18D8188-80B3-F3FA-913E-BFBDB51947BE}"/>
              </a:ext>
            </a:extLst>
          </p:cNvPr>
          <p:cNvSpPr/>
          <p:nvPr/>
        </p:nvSpPr>
        <p:spPr>
          <a:xfrm>
            <a:off x="5852160" y="4306724"/>
            <a:ext cx="3962400" cy="524256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733" noProof="1">
                <a:solidFill>
                  <a:srgbClr val="3D6673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Одна выбранная пара — по 2 мин каждый + сравнение фасилитатора</a:t>
            </a:r>
            <a:endParaRPr lang="ru-RU" sz="1733" noProof="1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34" name="Shape 32">
            <a:extLst>
              <a:ext uri="{FF2B5EF4-FFF2-40B4-BE49-F238E27FC236}">
                <a16:creationId xmlns:a16="http://schemas.microsoft.com/office/drawing/2014/main" id="{70A886CC-A5D5-BC43-4B76-87E767FC9AC1}"/>
              </a:ext>
            </a:extLst>
          </p:cNvPr>
          <p:cNvSpPr/>
          <p:nvPr/>
        </p:nvSpPr>
        <p:spPr>
          <a:xfrm>
            <a:off x="548640" y="4928516"/>
            <a:ext cx="9611360" cy="609600"/>
          </a:xfrm>
          <a:prstGeom prst="rect">
            <a:avLst/>
          </a:prstGeom>
          <a:solidFill>
            <a:srgbClr val="D6F0F3"/>
          </a:solidFill>
          <a:ln w="5080">
            <a:solidFill>
              <a:srgbClr val="B2D8DE"/>
            </a:solidFill>
            <a:prstDash val="solid"/>
          </a:ln>
        </p:spPr>
        <p:txBody>
          <a:bodyPr/>
          <a:lstStyle/>
          <a:p>
            <a:pPr defTabSz="1219170">
              <a:defRPr/>
            </a:pPr>
            <a:endParaRPr lang="ru-RU" sz="2400" noProof="1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35" name="Text 33">
            <a:extLst>
              <a:ext uri="{FF2B5EF4-FFF2-40B4-BE49-F238E27FC236}">
                <a16:creationId xmlns:a16="http://schemas.microsoft.com/office/drawing/2014/main" id="{F10727EF-D99E-B27D-36F9-4335BC5D40CE}"/>
              </a:ext>
            </a:extLst>
          </p:cNvPr>
          <p:cNvSpPr/>
          <p:nvPr/>
        </p:nvSpPr>
        <p:spPr>
          <a:xfrm>
            <a:off x="609600" y="4977284"/>
            <a:ext cx="1645920" cy="524256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733" noProof="1">
                <a:solidFill>
                  <a:srgbClr val="16303A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Синтез + одна правка</a:t>
            </a:r>
            <a:endParaRPr lang="ru-RU" sz="1733" noProof="1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36" name="Text 34">
            <a:extLst>
              <a:ext uri="{FF2B5EF4-FFF2-40B4-BE49-F238E27FC236}">
                <a16:creationId xmlns:a16="http://schemas.microsoft.com/office/drawing/2014/main" id="{14DCB0CB-52AE-2778-E6BF-E7DCD243802E}"/>
              </a:ext>
            </a:extLst>
          </p:cNvPr>
          <p:cNvSpPr/>
          <p:nvPr/>
        </p:nvSpPr>
        <p:spPr>
          <a:xfrm>
            <a:off x="2377440" y="4977284"/>
            <a:ext cx="3596640" cy="524256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733" noProof="1">
                <a:solidFill>
                  <a:srgbClr val="027A87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14:57 – 15:11</a:t>
            </a:r>
            <a:endParaRPr lang="ru-RU" sz="1733" noProof="1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37" name="Text 35">
            <a:extLst>
              <a:ext uri="{FF2B5EF4-FFF2-40B4-BE49-F238E27FC236}">
                <a16:creationId xmlns:a16="http://schemas.microsoft.com/office/drawing/2014/main" id="{1D35604D-7255-AFD0-36F6-46B73CDFA469}"/>
              </a:ext>
            </a:extLst>
          </p:cNvPr>
          <p:cNvSpPr/>
          <p:nvPr/>
        </p:nvSpPr>
        <p:spPr>
          <a:xfrm>
            <a:off x="4450080" y="4977284"/>
            <a:ext cx="1280160" cy="524256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algn="ctr" defTabSz="1219170">
              <a:defRPr/>
            </a:pPr>
            <a:r>
              <a:rPr lang="ru-RU" sz="1467" b="1" noProof="1">
                <a:solidFill>
                  <a:srgbClr val="16303A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14 мин</a:t>
            </a:r>
            <a:endParaRPr lang="ru-RU" sz="1467" noProof="1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38" name="Text 36">
            <a:extLst>
              <a:ext uri="{FF2B5EF4-FFF2-40B4-BE49-F238E27FC236}">
                <a16:creationId xmlns:a16="http://schemas.microsoft.com/office/drawing/2014/main" id="{9BC8AFCC-068B-61DB-43FB-90535880A09C}"/>
              </a:ext>
            </a:extLst>
          </p:cNvPr>
          <p:cNvSpPr/>
          <p:nvPr/>
        </p:nvSpPr>
        <p:spPr>
          <a:xfrm>
            <a:off x="5852160" y="4977284"/>
            <a:ext cx="3962400" cy="524256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733" noProof="1">
                <a:solidFill>
                  <a:srgbClr val="3D6673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Пленарный синтез, затем 5 мин правки за каждым столом</a:t>
            </a:r>
            <a:endParaRPr lang="ru-RU" sz="1733" noProof="1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39" name="Shape 37">
            <a:extLst>
              <a:ext uri="{FF2B5EF4-FFF2-40B4-BE49-F238E27FC236}">
                <a16:creationId xmlns:a16="http://schemas.microsoft.com/office/drawing/2014/main" id="{DDB86105-F69D-3B3B-2B11-BC3B57AD7515}"/>
              </a:ext>
            </a:extLst>
          </p:cNvPr>
          <p:cNvSpPr/>
          <p:nvPr/>
        </p:nvSpPr>
        <p:spPr>
          <a:xfrm>
            <a:off x="548640" y="5599076"/>
            <a:ext cx="9611360" cy="609600"/>
          </a:xfrm>
          <a:prstGeom prst="rect">
            <a:avLst/>
          </a:prstGeom>
          <a:solidFill>
            <a:srgbClr val="FFFFFF"/>
          </a:solidFill>
          <a:ln w="5080">
            <a:solidFill>
              <a:srgbClr val="B2D8DE"/>
            </a:solidFill>
            <a:prstDash val="solid"/>
          </a:ln>
        </p:spPr>
        <p:txBody>
          <a:bodyPr/>
          <a:lstStyle/>
          <a:p>
            <a:pPr defTabSz="1219170">
              <a:defRPr/>
            </a:pPr>
            <a:endParaRPr lang="ru-RU" sz="2400" noProof="1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40" name="Text 38">
            <a:extLst>
              <a:ext uri="{FF2B5EF4-FFF2-40B4-BE49-F238E27FC236}">
                <a16:creationId xmlns:a16="http://schemas.microsoft.com/office/drawing/2014/main" id="{6184373D-322D-AAFC-B71D-D1AA454AC38E}"/>
              </a:ext>
            </a:extLst>
          </p:cNvPr>
          <p:cNvSpPr/>
          <p:nvPr/>
        </p:nvSpPr>
        <p:spPr>
          <a:xfrm>
            <a:off x="609600" y="5647844"/>
            <a:ext cx="1645920" cy="524256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733" noProof="1">
                <a:solidFill>
                  <a:srgbClr val="16303A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Переход</a:t>
            </a:r>
            <a:endParaRPr lang="ru-RU" sz="1733" noProof="1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41" name="Text 39">
            <a:extLst>
              <a:ext uri="{FF2B5EF4-FFF2-40B4-BE49-F238E27FC236}">
                <a16:creationId xmlns:a16="http://schemas.microsoft.com/office/drawing/2014/main" id="{6E78ACD1-57E9-E6CD-91A3-748A40AE177D}"/>
              </a:ext>
            </a:extLst>
          </p:cNvPr>
          <p:cNvSpPr/>
          <p:nvPr/>
        </p:nvSpPr>
        <p:spPr>
          <a:xfrm>
            <a:off x="2377440" y="5647844"/>
            <a:ext cx="3596640" cy="524256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733" noProof="1">
                <a:solidFill>
                  <a:srgbClr val="027A87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15:11 – 15:15</a:t>
            </a:r>
            <a:endParaRPr lang="ru-RU" sz="1733" noProof="1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42" name="Text 40">
            <a:extLst>
              <a:ext uri="{FF2B5EF4-FFF2-40B4-BE49-F238E27FC236}">
                <a16:creationId xmlns:a16="http://schemas.microsoft.com/office/drawing/2014/main" id="{C468F8FD-C6B1-5D2A-C647-A025003A050F}"/>
              </a:ext>
            </a:extLst>
          </p:cNvPr>
          <p:cNvSpPr/>
          <p:nvPr/>
        </p:nvSpPr>
        <p:spPr>
          <a:xfrm>
            <a:off x="4450080" y="5647844"/>
            <a:ext cx="1280160" cy="524256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algn="ctr" defTabSz="1219170">
              <a:defRPr/>
            </a:pPr>
            <a:r>
              <a:rPr lang="ru-RU" sz="1733" b="1" noProof="1">
                <a:solidFill>
                  <a:srgbClr val="16303A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4 мин</a:t>
            </a:r>
            <a:endParaRPr lang="ru-RU" sz="1733" noProof="1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43" name="Text 41">
            <a:extLst>
              <a:ext uri="{FF2B5EF4-FFF2-40B4-BE49-F238E27FC236}">
                <a16:creationId xmlns:a16="http://schemas.microsoft.com/office/drawing/2014/main" id="{8212104E-D92F-31C3-1787-4203F640E8CB}"/>
              </a:ext>
            </a:extLst>
          </p:cNvPr>
          <p:cNvSpPr/>
          <p:nvPr/>
        </p:nvSpPr>
        <p:spPr>
          <a:xfrm>
            <a:off x="5852160" y="5647844"/>
            <a:ext cx="2560320" cy="524256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733" noProof="1">
                <a:solidFill>
                  <a:srgbClr val="3D6673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Прямая связь с Сессией 8</a:t>
            </a:r>
            <a:endParaRPr lang="ru-RU" sz="1733" noProof="1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44" name="Shape 42">
            <a:extLst>
              <a:ext uri="{FF2B5EF4-FFF2-40B4-BE49-F238E27FC236}">
                <a16:creationId xmlns:a16="http://schemas.microsoft.com/office/drawing/2014/main" id="{E7662707-2419-06EE-4657-8C06A2F9D39C}"/>
              </a:ext>
            </a:extLst>
          </p:cNvPr>
          <p:cNvSpPr/>
          <p:nvPr/>
        </p:nvSpPr>
        <p:spPr>
          <a:xfrm>
            <a:off x="535093" y="6342788"/>
            <a:ext cx="11338560" cy="512064"/>
          </a:xfrm>
          <a:prstGeom prst="rect">
            <a:avLst/>
          </a:prstGeom>
          <a:solidFill>
            <a:srgbClr val="027A87"/>
          </a:solidFill>
          <a:ln w="12700">
            <a:solidFill>
              <a:srgbClr val="027A87"/>
            </a:solidFill>
            <a:prstDash val="solid"/>
          </a:ln>
        </p:spPr>
        <p:txBody>
          <a:bodyPr/>
          <a:lstStyle/>
          <a:p>
            <a:pPr defTabSz="1219170">
              <a:defRPr/>
            </a:pPr>
            <a:endParaRPr lang="ru-RU" sz="2400" noProof="1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45" name="Text 43">
            <a:extLst>
              <a:ext uri="{FF2B5EF4-FFF2-40B4-BE49-F238E27FC236}">
                <a16:creationId xmlns:a16="http://schemas.microsoft.com/office/drawing/2014/main" id="{650E4E32-ABF5-7FE4-7BB3-FC18A9A75E88}"/>
              </a:ext>
            </a:extLst>
          </p:cNvPr>
          <p:cNvSpPr/>
          <p:nvPr/>
        </p:nvSpPr>
        <p:spPr>
          <a:xfrm>
            <a:off x="778933" y="6342788"/>
            <a:ext cx="10972800" cy="512064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467" b="1" noProof="1">
                <a:solidFill>
                  <a:srgbClr val="FFFFFF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Тайминг раунда: 8 мин презентация  |  8 мин обратная связь от коллег  |  2 мин ответ представляющего стола (без защиты — только заметки)</a:t>
            </a:r>
            <a:endParaRPr lang="ru-RU" sz="1467" noProof="1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257483830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113382E2-CBFC-75CD-E9AC-E8ED8B5C4CAD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DB84476-BC29-4407-9D57-B2E562B8968B}" type="slidenum">
              <a:rPr lang="ru-RU" noProof="1" smtClean="0"/>
              <a:pPr/>
              <a:t>132</a:t>
            </a:fld>
            <a:endParaRPr lang="ru-RU" noProof="1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BB1AFDF9-4A32-AEAD-8C53-F2664EC29C1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noProof="1"/>
              <a:t>Ожидаемые результаты: </a:t>
            </a:r>
          </a:p>
        </p:txBody>
      </p:sp>
      <p:sp>
        <p:nvSpPr>
          <p:cNvPr id="4" name="Rectangle 1">
            <a:extLst>
              <a:ext uri="{FF2B5EF4-FFF2-40B4-BE49-F238E27FC236}">
                <a16:creationId xmlns:a16="http://schemas.microsoft.com/office/drawing/2014/main" id="{F5C28F1E-49D1-05B7-E842-A25BCB0189DD}"/>
              </a:ext>
            </a:extLst>
          </p:cNvPr>
          <p:cNvSpPr>
            <a:spLocks noChangeArrowheads="1"/>
          </p:cNvSpPr>
          <p:nvPr/>
        </p:nvSpPr>
        <p:spPr bwMode="auto">
          <a:xfrm>
            <a:off x="520263" y="1524573"/>
            <a:ext cx="10484068" cy="7078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285750" marR="0" lvl="0" indent="-2857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kumimoji="0" lang="ru-RU" sz="2000" b="0" i="0" u="none" strike="noStrike" cap="none" normalizeH="0" baseline="0" noProof="1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Оцените качество мероприятия или активности по профессиональному развитию педагогов с помощью индикаторов качества</a:t>
            </a:r>
          </a:p>
        </p:txBody>
      </p:sp>
    </p:spTree>
    <p:extLst>
      <p:ext uri="{BB962C8B-B14F-4D97-AF65-F5344CB8AC3E}">
        <p14:creationId xmlns:p14="http://schemas.microsoft.com/office/powerpoint/2010/main" val="84526715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0EDB6AD-9C47-C83F-C48A-83556C6C92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5316" y="-150501"/>
            <a:ext cx="10971964" cy="1080120"/>
          </a:xfrm>
        </p:spPr>
        <p:txBody>
          <a:bodyPr>
            <a:normAutofit/>
          </a:bodyPr>
          <a:lstStyle/>
          <a:p>
            <a:r>
              <a:rPr lang="ru-RU" noProof="1"/>
              <a:t>КАРТОЧКА ОБРАТНОЙ СВЯЗИ</a:t>
            </a:r>
          </a:p>
        </p:txBody>
      </p:sp>
      <p:sp>
        <p:nvSpPr>
          <p:cNvPr id="3" name="Shape 2">
            <a:extLst>
              <a:ext uri="{FF2B5EF4-FFF2-40B4-BE49-F238E27FC236}">
                <a16:creationId xmlns:a16="http://schemas.microsoft.com/office/drawing/2014/main" id="{E809A762-275F-F45C-29F0-A5C6F4A6FBBB}"/>
              </a:ext>
            </a:extLst>
          </p:cNvPr>
          <p:cNvSpPr/>
          <p:nvPr/>
        </p:nvSpPr>
        <p:spPr>
          <a:xfrm>
            <a:off x="635316" y="765945"/>
            <a:ext cx="11338560" cy="463296"/>
          </a:xfrm>
          <a:prstGeom prst="rect">
            <a:avLst/>
          </a:prstGeom>
          <a:solidFill>
            <a:srgbClr val="16303A"/>
          </a:solidFill>
          <a:ln w="12700">
            <a:solidFill>
              <a:srgbClr val="16303A"/>
            </a:solidFill>
            <a:prstDash val="solid"/>
          </a:ln>
        </p:spPr>
        <p:txBody>
          <a:bodyPr/>
          <a:lstStyle/>
          <a:p>
            <a:pPr defTabSz="1219170">
              <a:defRPr/>
            </a:pPr>
            <a:endParaRPr lang="ru-RU" sz="24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Text 3">
            <a:extLst>
              <a:ext uri="{FF2B5EF4-FFF2-40B4-BE49-F238E27FC236}">
                <a16:creationId xmlns:a16="http://schemas.microsoft.com/office/drawing/2014/main" id="{5E6EF043-9F89-2206-DCAD-2D575429B8B2}"/>
              </a:ext>
            </a:extLst>
          </p:cNvPr>
          <p:cNvSpPr/>
          <p:nvPr/>
        </p:nvSpPr>
        <p:spPr>
          <a:xfrm>
            <a:off x="879156" y="765945"/>
            <a:ext cx="10972800" cy="463296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400" b="1" noProof="1">
                <a:solidFill>
                  <a:srgbClr val="E8940A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Карточка обратной связи по дизайну профессионального развития педагогов — заполняется во время презентации (та же сетка ИК, что и в шаблоне наблюдения Сессии 4)</a:t>
            </a:r>
            <a:endParaRPr lang="ru-RU" sz="14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Shape 4">
            <a:extLst>
              <a:ext uri="{FF2B5EF4-FFF2-40B4-BE49-F238E27FC236}">
                <a16:creationId xmlns:a16="http://schemas.microsoft.com/office/drawing/2014/main" id="{A035D40A-E6B5-0B3B-F34D-BBA2FC839D04}"/>
              </a:ext>
            </a:extLst>
          </p:cNvPr>
          <p:cNvSpPr/>
          <p:nvPr/>
        </p:nvSpPr>
        <p:spPr>
          <a:xfrm>
            <a:off x="635316" y="1290201"/>
            <a:ext cx="11338560" cy="365760"/>
          </a:xfrm>
          <a:prstGeom prst="rect">
            <a:avLst/>
          </a:prstGeom>
          <a:solidFill>
            <a:srgbClr val="D6F0F3"/>
          </a:solidFill>
          <a:ln w="5080">
            <a:solidFill>
              <a:srgbClr val="039AAA"/>
            </a:solidFill>
            <a:prstDash val="solid"/>
          </a:ln>
        </p:spPr>
        <p:txBody>
          <a:bodyPr/>
          <a:lstStyle/>
          <a:p>
            <a:pPr defTabSz="1219170">
              <a:defRPr/>
            </a:pPr>
            <a:endParaRPr lang="ru-RU" sz="24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Text 5">
            <a:extLst>
              <a:ext uri="{FF2B5EF4-FFF2-40B4-BE49-F238E27FC236}">
                <a16:creationId xmlns:a16="http://schemas.microsoft.com/office/drawing/2014/main" id="{D8BCB865-51FC-DEA0-CD46-355010E0D669}"/>
              </a:ext>
            </a:extLst>
          </p:cNvPr>
          <p:cNvSpPr/>
          <p:nvPr/>
        </p:nvSpPr>
        <p:spPr>
          <a:xfrm>
            <a:off x="818196" y="1290201"/>
            <a:ext cx="10972800" cy="36576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333" b="1" noProof="1">
                <a:solidFill>
                  <a:srgbClr val="16303A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Задание (А/Б/В) и представляющий стол</a:t>
            </a:r>
            <a:endParaRPr lang="ru-RU" sz="1333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Shape 6">
            <a:extLst>
              <a:ext uri="{FF2B5EF4-FFF2-40B4-BE49-F238E27FC236}">
                <a16:creationId xmlns:a16="http://schemas.microsoft.com/office/drawing/2014/main" id="{BCBBC8FC-D4B5-E09F-C208-7A386EF93BBA}"/>
              </a:ext>
            </a:extLst>
          </p:cNvPr>
          <p:cNvSpPr/>
          <p:nvPr/>
        </p:nvSpPr>
        <p:spPr>
          <a:xfrm>
            <a:off x="635316" y="1716921"/>
            <a:ext cx="11338560" cy="365760"/>
          </a:xfrm>
          <a:prstGeom prst="rect">
            <a:avLst/>
          </a:prstGeom>
          <a:solidFill>
            <a:srgbClr val="D6F0F3"/>
          </a:solidFill>
          <a:ln w="5080">
            <a:solidFill>
              <a:srgbClr val="039AAA"/>
            </a:solidFill>
            <a:prstDash val="solid"/>
          </a:ln>
        </p:spPr>
        <p:txBody>
          <a:bodyPr/>
          <a:lstStyle/>
          <a:p>
            <a:pPr defTabSz="1219170">
              <a:defRPr/>
            </a:pPr>
            <a:endParaRPr lang="ru-RU" sz="24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Text 7">
            <a:extLst>
              <a:ext uri="{FF2B5EF4-FFF2-40B4-BE49-F238E27FC236}">
                <a16:creationId xmlns:a16="http://schemas.microsoft.com/office/drawing/2014/main" id="{D43CB358-01D9-4BF4-C091-7AC04FD8BEE9}"/>
              </a:ext>
            </a:extLst>
          </p:cNvPr>
          <p:cNvSpPr/>
          <p:nvPr/>
        </p:nvSpPr>
        <p:spPr>
          <a:xfrm>
            <a:off x="818196" y="1716921"/>
            <a:ext cx="10972800" cy="36576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333" b="1" noProof="1">
                <a:solidFill>
                  <a:srgbClr val="16303A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Группа педагогов — сохранял ли дизайн верность этой группе на протяжении всего времени?</a:t>
            </a:r>
            <a:endParaRPr lang="ru-RU" sz="1333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Shape 8">
            <a:extLst>
              <a:ext uri="{FF2B5EF4-FFF2-40B4-BE49-F238E27FC236}">
                <a16:creationId xmlns:a16="http://schemas.microsoft.com/office/drawing/2014/main" id="{1A7CB642-44F3-AF88-1645-B756FC52510E}"/>
              </a:ext>
            </a:extLst>
          </p:cNvPr>
          <p:cNvSpPr/>
          <p:nvPr/>
        </p:nvSpPr>
        <p:spPr>
          <a:xfrm>
            <a:off x="635316" y="2216793"/>
            <a:ext cx="11338560" cy="365760"/>
          </a:xfrm>
          <a:prstGeom prst="rect">
            <a:avLst/>
          </a:prstGeom>
          <a:solidFill>
            <a:srgbClr val="16303A"/>
          </a:solidFill>
          <a:ln w="12700">
            <a:solidFill>
              <a:srgbClr val="16303A"/>
            </a:solidFill>
            <a:prstDash val="solid"/>
          </a:ln>
        </p:spPr>
        <p:txBody>
          <a:bodyPr/>
          <a:lstStyle/>
          <a:p>
            <a:pPr defTabSz="1219170">
              <a:defRPr/>
            </a:pPr>
            <a:endParaRPr lang="ru-RU" sz="24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Text 9">
            <a:extLst>
              <a:ext uri="{FF2B5EF4-FFF2-40B4-BE49-F238E27FC236}">
                <a16:creationId xmlns:a16="http://schemas.microsoft.com/office/drawing/2014/main" id="{36882305-6668-66ED-EA3C-225E1BC0E23D}"/>
              </a:ext>
            </a:extLst>
          </p:cNvPr>
          <p:cNvSpPr/>
          <p:nvPr/>
        </p:nvSpPr>
        <p:spPr>
          <a:xfrm>
            <a:off x="818196" y="2216793"/>
            <a:ext cx="10972800" cy="36576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333" b="1" noProof="1">
                <a:solidFill>
                  <a:srgbClr val="FFFFFF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Индикаторы качества — что вы наблюдаете в этом дизайне?</a:t>
            </a:r>
            <a:endParaRPr lang="ru-RU" sz="1333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Shape 10">
            <a:extLst>
              <a:ext uri="{FF2B5EF4-FFF2-40B4-BE49-F238E27FC236}">
                <a16:creationId xmlns:a16="http://schemas.microsoft.com/office/drawing/2014/main" id="{AAB064EF-E1DF-2F66-5F46-EFCF167B8904}"/>
              </a:ext>
            </a:extLst>
          </p:cNvPr>
          <p:cNvSpPr/>
          <p:nvPr/>
        </p:nvSpPr>
        <p:spPr>
          <a:xfrm>
            <a:off x="7340916" y="2582553"/>
            <a:ext cx="1341120" cy="341376"/>
          </a:xfrm>
          <a:prstGeom prst="rect">
            <a:avLst/>
          </a:prstGeom>
          <a:solidFill>
            <a:srgbClr val="2D8A3E"/>
          </a:solidFill>
          <a:ln w="12700">
            <a:solidFill>
              <a:srgbClr val="2D8A3E"/>
            </a:solidFill>
            <a:prstDash val="solid"/>
          </a:ln>
        </p:spPr>
        <p:txBody>
          <a:bodyPr/>
          <a:lstStyle/>
          <a:p>
            <a:pPr defTabSz="1219170">
              <a:defRPr/>
            </a:pPr>
            <a:endParaRPr lang="ru-RU" sz="24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Text 11">
            <a:extLst>
              <a:ext uri="{FF2B5EF4-FFF2-40B4-BE49-F238E27FC236}">
                <a16:creationId xmlns:a16="http://schemas.microsoft.com/office/drawing/2014/main" id="{55181F57-B640-052F-AD88-7362B04C7E6C}"/>
              </a:ext>
            </a:extLst>
          </p:cNvPr>
          <p:cNvSpPr/>
          <p:nvPr/>
        </p:nvSpPr>
        <p:spPr>
          <a:xfrm>
            <a:off x="7340916" y="2582553"/>
            <a:ext cx="1341120" cy="341376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algn="ctr" defTabSz="1219170">
              <a:defRPr/>
            </a:pPr>
            <a:r>
              <a:rPr lang="ru-RU" sz="1133" b="1" noProof="1">
                <a:solidFill>
                  <a:srgbClr val="FFFFFF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✓  Учтён</a:t>
            </a:r>
            <a:endParaRPr lang="ru-RU" sz="1133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Shape 12">
            <a:extLst>
              <a:ext uri="{FF2B5EF4-FFF2-40B4-BE49-F238E27FC236}">
                <a16:creationId xmlns:a16="http://schemas.microsoft.com/office/drawing/2014/main" id="{F855F0FF-6F53-FB18-B168-DDF74AB36E55}"/>
              </a:ext>
            </a:extLst>
          </p:cNvPr>
          <p:cNvSpPr/>
          <p:nvPr/>
        </p:nvSpPr>
        <p:spPr>
          <a:xfrm>
            <a:off x="8742996" y="2582553"/>
            <a:ext cx="1341120" cy="341376"/>
          </a:xfrm>
          <a:prstGeom prst="rect">
            <a:avLst/>
          </a:prstGeom>
          <a:solidFill>
            <a:srgbClr val="8A6D00"/>
          </a:solidFill>
          <a:ln w="12700">
            <a:solidFill>
              <a:srgbClr val="8A6D00"/>
            </a:solidFill>
            <a:prstDash val="solid"/>
          </a:ln>
        </p:spPr>
        <p:txBody>
          <a:bodyPr/>
          <a:lstStyle/>
          <a:p>
            <a:pPr defTabSz="1219170">
              <a:defRPr/>
            </a:pPr>
            <a:endParaRPr lang="ru-RU" sz="24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Text 13">
            <a:extLst>
              <a:ext uri="{FF2B5EF4-FFF2-40B4-BE49-F238E27FC236}">
                <a16:creationId xmlns:a16="http://schemas.microsoft.com/office/drawing/2014/main" id="{73F43B56-76BA-5D90-C814-8556D96245A6}"/>
              </a:ext>
            </a:extLst>
          </p:cNvPr>
          <p:cNvSpPr/>
          <p:nvPr/>
        </p:nvSpPr>
        <p:spPr>
          <a:xfrm>
            <a:off x="8742996" y="2582553"/>
            <a:ext cx="1341120" cy="341376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algn="ctr" defTabSz="1219170">
              <a:defRPr/>
            </a:pPr>
            <a:r>
              <a:rPr lang="ru-RU" sz="1133" b="1" noProof="1">
                <a:solidFill>
                  <a:srgbClr val="FFFFFF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~  Частично</a:t>
            </a:r>
            <a:endParaRPr lang="ru-RU" sz="1133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Shape 14">
            <a:extLst>
              <a:ext uri="{FF2B5EF4-FFF2-40B4-BE49-F238E27FC236}">
                <a16:creationId xmlns:a16="http://schemas.microsoft.com/office/drawing/2014/main" id="{78E19183-E0BD-6959-00AB-08BF08E4BBE8}"/>
              </a:ext>
            </a:extLst>
          </p:cNvPr>
          <p:cNvSpPr/>
          <p:nvPr/>
        </p:nvSpPr>
        <p:spPr>
          <a:xfrm>
            <a:off x="10206036" y="2582553"/>
            <a:ext cx="1341120" cy="341376"/>
          </a:xfrm>
          <a:prstGeom prst="rect">
            <a:avLst/>
          </a:prstGeom>
          <a:solidFill>
            <a:srgbClr val="B03030"/>
          </a:solidFill>
          <a:ln w="12700">
            <a:solidFill>
              <a:srgbClr val="B03030"/>
            </a:solidFill>
            <a:prstDash val="solid"/>
          </a:ln>
        </p:spPr>
        <p:txBody>
          <a:bodyPr/>
          <a:lstStyle/>
          <a:p>
            <a:pPr defTabSz="1219170">
              <a:defRPr/>
            </a:pPr>
            <a:endParaRPr lang="ru-RU" sz="24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Text 15">
            <a:extLst>
              <a:ext uri="{FF2B5EF4-FFF2-40B4-BE49-F238E27FC236}">
                <a16:creationId xmlns:a16="http://schemas.microsoft.com/office/drawing/2014/main" id="{B8FA7ED0-6514-8BEE-93F3-93DE209126EE}"/>
              </a:ext>
            </a:extLst>
          </p:cNvPr>
          <p:cNvSpPr/>
          <p:nvPr/>
        </p:nvSpPr>
        <p:spPr>
          <a:xfrm>
            <a:off x="10206036" y="2582553"/>
            <a:ext cx="1341120" cy="341376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algn="ctr" defTabSz="1219170">
              <a:defRPr/>
            </a:pPr>
            <a:r>
              <a:rPr lang="ru-RU" sz="1133" b="1" noProof="1">
                <a:solidFill>
                  <a:srgbClr val="FFFFFF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—  Отсутствует</a:t>
            </a:r>
            <a:endParaRPr lang="ru-RU" sz="1133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Shape 16">
            <a:extLst>
              <a:ext uri="{FF2B5EF4-FFF2-40B4-BE49-F238E27FC236}">
                <a16:creationId xmlns:a16="http://schemas.microsoft.com/office/drawing/2014/main" id="{4F958E83-6618-B6A8-4135-99769B650370}"/>
              </a:ext>
            </a:extLst>
          </p:cNvPr>
          <p:cNvSpPr/>
          <p:nvPr/>
        </p:nvSpPr>
        <p:spPr>
          <a:xfrm>
            <a:off x="635316" y="2923929"/>
            <a:ext cx="11338560" cy="292608"/>
          </a:xfrm>
          <a:prstGeom prst="rect">
            <a:avLst/>
          </a:prstGeom>
          <a:solidFill>
            <a:srgbClr val="FFFFFF"/>
          </a:solidFill>
          <a:ln w="3810">
            <a:solidFill>
              <a:srgbClr val="B2D8DE"/>
            </a:solidFill>
            <a:prstDash val="solid"/>
          </a:ln>
        </p:spPr>
        <p:txBody>
          <a:bodyPr/>
          <a:lstStyle/>
          <a:p>
            <a:pPr defTabSz="1219170">
              <a:defRPr/>
            </a:pPr>
            <a:endParaRPr lang="ru-RU" sz="24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Text 17">
            <a:extLst>
              <a:ext uri="{FF2B5EF4-FFF2-40B4-BE49-F238E27FC236}">
                <a16:creationId xmlns:a16="http://schemas.microsoft.com/office/drawing/2014/main" id="{3FF44CB2-609D-E6E0-FBCE-5E9388C17DF7}"/>
              </a:ext>
            </a:extLst>
          </p:cNvPr>
          <p:cNvSpPr/>
          <p:nvPr/>
        </p:nvSpPr>
        <p:spPr>
          <a:xfrm>
            <a:off x="818196" y="2923929"/>
            <a:ext cx="6339840" cy="292608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267" noProof="1">
                <a:solidFill>
                  <a:srgbClr val="16303A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ИК 1 — Связь с вашей реальной работой</a:t>
            </a:r>
            <a:endParaRPr lang="ru-RU" sz="1267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Shape 18">
            <a:extLst>
              <a:ext uri="{FF2B5EF4-FFF2-40B4-BE49-F238E27FC236}">
                <a16:creationId xmlns:a16="http://schemas.microsoft.com/office/drawing/2014/main" id="{D00E612E-4D1D-B490-71DE-A0A66D08ECAD}"/>
              </a:ext>
            </a:extLst>
          </p:cNvPr>
          <p:cNvSpPr/>
          <p:nvPr/>
        </p:nvSpPr>
        <p:spPr>
          <a:xfrm>
            <a:off x="7340916" y="2923929"/>
            <a:ext cx="1341120" cy="292608"/>
          </a:xfrm>
          <a:prstGeom prst="rect">
            <a:avLst/>
          </a:prstGeom>
          <a:solidFill>
            <a:srgbClr val="FFFFFF"/>
          </a:solidFill>
          <a:ln w="3810">
            <a:solidFill>
              <a:srgbClr val="B2D8DE"/>
            </a:solidFill>
            <a:prstDash val="solid"/>
          </a:ln>
        </p:spPr>
        <p:txBody>
          <a:bodyPr/>
          <a:lstStyle/>
          <a:p>
            <a:pPr defTabSz="1219170">
              <a:defRPr/>
            </a:pPr>
            <a:endParaRPr lang="ru-RU" sz="24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" name="Shape 19">
            <a:extLst>
              <a:ext uri="{FF2B5EF4-FFF2-40B4-BE49-F238E27FC236}">
                <a16:creationId xmlns:a16="http://schemas.microsoft.com/office/drawing/2014/main" id="{E7F1132B-B0A4-A22A-56B5-83FEF3274B0F}"/>
              </a:ext>
            </a:extLst>
          </p:cNvPr>
          <p:cNvSpPr/>
          <p:nvPr/>
        </p:nvSpPr>
        <p:spPr>
          <a:xfrm>
            <a:off x="8742996" y="2923929"/>
            <a:ext cx="1341120" cy="292608"/>
          </a:xfrm>
          <a:prstGeom prst="rect">
            <a:avLst/>
          </a:prstGeom>
          <a:solidFill>
            <a:srgbClr val="FFFFFF"/>
          </a:solidFill>
          <a:ln w="3810">
            <a:solidFill>
              <a:srgbClr val="B2D8DE"/>
            </a:solidFill>
            <a:prstDash val="solid"/>
          </a:ln>
        </p:spPr>
        <p:txBody>
          <a:bodyPr/>
          <a:lstStyle/>
          <a:p>
            <a:pPr defTabSz="1219170">
              <a:defRPr/>
            </a:pPr>
            <a:endParaRPr lang="ru-RU" sz="24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" name="Shape 20">
            <a:extLst>
              <a:ext uri="{FF2B5EF4-FFF2-40B4-BE49-F238E27FC236}">
                <a16:creationId xmlns:a16="http://schemas.microsoft.com/office/drawing/2014/main" id="{697A6BFA-96A8-7E59-B5D7-0232CF2F15EB}"/>
              </a:ext>
            </a:extLst>
          </p:cNvPr>
          <p:cNvSpPr/>
          <p:nvPr/>
        </p:nvSpPr>
        <p:spPr>
          <a:xfrm>
            <a:off x="10206036" y="2923929"/>
            <a:ext cx="1341120" cy="292608"/>
          </a:xfrm>
          <a:prstGeom prst="rect">
            <a:avLst/>
          </a:prstGeom>
          <a:solidFill>
            <a:srgbClr val="FFFFFF"/>
          </a:solidFill>
          <a:ln w="3810">
            <a:solidFill>
              <a:srgbClr val="B2D8DE"/>
            </a:solidFill>
            <a:prstDash val="solid"/>
          </a:ln>
        </p:spPr>
        <p:txBody>
          <a:bodyPr/>
          <a:lstStyle/>
          <a:p>
            <a:pPr defTabSz="1219170">
              <a:defRPr/>
            </a:pPr>
            <a:endParaRPr lang="ru-RU" sz="24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2" name="Shape 21">
            <a:extLst>
              <a:ext uri="{FF2B5EF4-FFF2-40B4-BE49-F238E27FC236}">
                <a16:creationId xmlns:a16="http://schemas.microsoft.com/office/drawing/2014/main" id="{8000787E-0424-DCE0-87A9-D20F4D84C992}"/>
              </a:ext>
            </a:extLst>
          </p:cNvPr>
          <p:cNvSpPr/>
          <p:nvPr/>
        </p:nvSpPr>
        <p:spPr>
          <a:xfrm>
            <a:off x="635316" y="3265305"/>
            <a:ext cx="11338560" cy="292608"/>
          </a:xfrm>
          <a:prstGeom prst="rect">
            <a:avLst/>
          </a:prstGeom>
          <a:solidFill>
            <a:srgbClr val="D6F0F3"/>
          </a:solidFill>
          <a:ln w="3810">
            <a:solidFill>
              <a:srgbClr val="B2D8DE"/>
            </a:solidFill>
            <a:prstDash val="solid"/>
          </a:ln>
        </p:spPr>
        <p:txBody>
          <a:bodyPr/>
          <a:lstStyle/>
          <a:p>
            <a:pPr defTabSz="1219170">
              <a:defRPr/>
            </a:pPr>
            <a:endParaRPr lang="ru-RU" sz="24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3" name="Text 22">
            <a:extLst>
              <a:ext uri="{FF2B5EF4-FFF2-40B4-BE49-F238E27FC236}">
                <a16:creationId xmlns:a16="http://schemas.microsoft.com/office/drawing/2014/main" id="{D2EE2628-81F4-FFE9-F7BF-410EF2E81BDA}"/>
              </a:ext>
            </a:extLst>
          </p:cNvPr>
          <p:cNvSpPr/>
          <p:nvPr/>
        </p:nvSpPr>
        <p:spPr>
          <a:xfrm>
            <a:off x="818196" y="3265305"/>
            <a:ext cx="6339840" cy="292608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267" noProof="1">
                <a:solidFill>
                  <a:srgbClr val="16303A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ИК 2 — Вам необходимо время</a:t>
            </a:r>
            <a:endParaRPr lang="ru-RU" sz="1267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4" name="Shape 23">
            <a:extLst>
              <a:ext uri="{FF2B5EF4-FFF2-40B4-BE49-F238E27FC236}">
                <a16:creationId xmlns:a16="http://schemas.microsoft.com/office/drawing/2014/main" id="{090AFE71-597A-A7AE-ABAA-73CE75D1769D}"/>
              </a:ext>
            </a:extLst>
          </p:cNvPr>
          <p:cNvSpPr/>
          <p:nvPr/>
        </p:nvSpPr>
        <p:spPr>
          <a:xfrm>
            <a:off x="7340916" y="3265305"/>
            <a:ext cx="1341120" cy="292608"/>
          </a:xfrm>
          <a:prstGeom prst="rect">
            <a:avLst/>
          </a:prstGeom>
          <a:solidFill>
            <a:srgbClr val="D6F0F3"/>
          </a:solidFill>
          <a:ln w="3810">
            <a:solidFill>
              <a:srgbClr val="B2D8DE"/>
            </a:solidFill>
            <a:prstDash val="solid"/>
          </a:ln>
        </p:spPr>
        <p:txBody>
          <a:bodyPr/>
          <a:lstStyle/>
          <a:p>
            <a:pPr defTabSz="1219170">
              <a:defRPr/>
            </a:pPr>
            <a:endParaRPr lang="ru-RU" sz="24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5" name="Shape 24">
            <a:extLst>
              <a:ext uri="{FF2B5EF4-FFF2-40B4-BE49-F238E27FC236}">
                <a16:creationId xmlns:a16="http://schemas.microsoft.com/office/drawing/2014/main" id="{B8CD3F34-E6CE-5929-7C66-68CADF6EE1F0}"/>
              </a:ext>
            </a:extLst>
          </p:cNvPr>
          <p:cNvSpPr/>
          <p:nvPr/>
        </p:nvSpPr>
        <p:spPr>
          <a:xfrm>
            <a:off x="8742996" y="3265305"/>
            <a:ext cx="1341120" cy="292608"/>
          </a:xfrm>
          <a:prstGeom prst="rect">
            <a:avLst/>
          </a:prstGeom>
          <a:solidFill>
            <a:srgbClr val="D6F0F3"/>
          </a:solidFill>
          <a:ln w="3810">
            <a:solidFill>
              <a:srgbClr val="B2D8DE"/>
            </a:solidFill>
            <a:prstDash val="solid"/>
          </a:ln>
        </p:spPr>
        <p:txBody>
          <a:bodyPr/>
          <a:lstStyle/>
          <a:p>
            <a:pPr defTabSz="1219170">
              <a:defRPr/>
            </a:pPr>
            <a:endParaRPr lang="ru-RU" sz="24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6" name="Shape 25">
            <a:extLst>
              <a:ext uri="{FF2B5EF4-FFF2-40B4-BE49-F238E27FC236}">
                <a16:creationId xmlns:a16="http://schemas.microsoft.com/office/drawing/2014/main" id="{9DC3F91F-0ED2-6193-EB1F-0CB4BE18E595}"/>
              </a:ext>
            </a:extLst>
          </p:cNvPr>
          <p:cNvSpPr/>
          <p:nvPr/>
        </p:nvSpPr>
        <p:spPr>
          <a:xfrm>
            <a:off x="10206036" y="3265305"/>
            <a:ext cx="1341120" cy="292608"/>
          </a:xfrm>
          <a:prstGeom prst="rect">
            <a:avLst/>
          </a:prstGeom>
          <a:solidFill>
            <a:srgbClr val="D6F0F3"/>
          </a:solidFill>
          <a:ln w="3810">
            <a:solidFill>
              <a:srgbClr val="B2D8DE"/>
            </a:solidFill>
            <a:prstDash val="solid"/>
          </a:ln>
        </p:spPr>
        <p:txBody>
          <a:bodyPr/>
          <a:lstStyle/>
          <a:p>
            <a:pPr defTabSz="1219170">
              <a:defRPr/>
            </a:pPr>
            <a:endParaRPr lang="ru-RU" sz="24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7" name="Shape 26">
            <a:extLst>
              <a:ext uri="{FF2B5EF4-FFF2-40B4-BE49-F238E27FC236}">
                <a16:creationId xmlns:a16="http://schemas.microsoft.com/office/drawing/2014/main" id="{663257C9-E6E0-D901-CEED-63787A9B99E9}"/>
              </a:ext>
            </a:extLst>
          </p:cNvPr>
          <p:cNvSpPr/>
          <p:nvPr/>
        </p:nvSpPr>
        <p:spPr>
          <a:xfrm>
            <a:off x="635316" y="3606681"/>
            <a:ext cx="11338560" cy="292608"/>
          </a:xfrm>
          <a:prstGeom prst="rect">
            <a:avLst/>
          </a:prstGeom>
          <a:solidFill>
            <a:srgbClr val="FFFFFF"/>
          </a:solidFill>
          <a:ln w="3810">
            <a:solidFill>
              <a:srgbClr val="B2D8DE"/>
            </a:solidFill>
            <a:prstDash val="solid"/>
          </a:ln>
        </p:spPr>
        <p:txBody>
          <a:bodyPr/>
          <a:lstStyle/>
          <a:p>
            <a:pPr defTabSz="1219170">
              <a:defRPr/>
            </a:pPr>
            <a:endParaRPr lang="ru-RU" sz="24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8" name="Text 27">
            <a:extLst>
              <a:ext uri="{FF2B5EF4-FFF2-40B4-BE49-F238E27FC236}">
                <a16:creationId xmlns:a16="http://schemas.microsoft.com/office/drawing/2014/main" id="{608BD293-FD12-73F3-0639-8AE45C15FF0D}"/>
              </a:ext>
            </a:extLst>
          </p:cNvPr>
          <p:cNvSpPr/>
          <p:nvPr/>
        </p:nvSpPr>
        <p:spPr>
          <a:xfrm>
            <a:off x="818196" y="3606681"/>
            <a:ext cx="6339840" cy="292608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267" noProof="1">
                <a:solidFill>
                  <a:srgbClr val="16303A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ИК 3 — Вы получаете возможность попробовать</a:t>
            </a:r>
            <a:endParaRPr lang="ru-RU" sz="1267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9" name="Shape 28">
            <a:extLst>
              <a:ext uri="{FF2B5EF4-FFF2-40B4-BE49-F238E27FC236}">
                <a16:creationId xmlns:a16="http://schemas.microsoft.com/office/drawing/2014/main" id="{98D57EF0-1AC8-7CB5-7844-6116E143181A}"/>
              </a:ext>
            </a:extLst>
          </p:cNvPr>
          <p:cNvSpPr/>
          <p:nvPr/>
        </p:nvSpPr>
        <p:spPr>
          <a:xfrm>
            <a:off x="7340916" y="3606681"/>
            <a:ext cx="1341120" cy="292608"/>
          </a:xfrm>
          <a:prstGeom prst="rect">
            <a:avLst/>
          </a:prstGeom>
          <a:solidFill>
            <a:srgbClr val="FFFFFF"/>
          </a:solidFill>
          <a:ln w="3810">
            <a:solidFill>
              <a:srgbClr val="B2D8DE"/>
            </a:solidFill>
            <a:prstDash val="solid"/>
          </a:ln>
        </p:spPr>
        <p:txBody>
          <a:bodyPr/>
          <a:lstStyle/>
          <a:p>
            <a:pPr defTabSz="1219170">
              <a:defRPr/>
            </a:pPr>
            <a:endParaRPr lang="ru-RU" sz="24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0" name="Shape 29">
            <a:extLst>
              <a:ext uri="{FF2B5EF4-FFF2-40B4-BE49-F238E27FC236}">
                <a16:creationId xmlns:a16="http://schemas.microsoft.com/office/drawing/2014/main" id="{E6E5F600-A94F-F18A-01D4-EC92EED6F1F5}"/>
              </a:ext>
            </a:extLst>
          </p:cNvPr>
          <p:cNvSpPr/>
          <p:nvPr/>
        </p:nvSpPr>
        <p:spPr>
          <a:xfrm>
            <a:off x="8742996" y="3606681"/>
            <a:ext cx="1341120" cy="292608"/>
          </a:xfrm>
          <a:prstGeom prst="rect">
            <a:avLst/>
          </a:prstGeom>
          <a:solidFill>
            <a:srgbClr val="FFFFFF"/>
          </a:solidFill>
          <a:ln w="3810">
            <a:solidFill>
              <a:srgbClr val="B2D8DE"/>
            </a:solidFill>
            <a:prstDash val="solid"/>
          </a:ln>
        </p:spPr>
        <p:txBody>
          <a:bodyPr/>
          <a:lstStyle/>
          <a:p>
            <a:pPr defTabSz="1219170">
              <a:defRPr/>
            </a:pPr>
            <a:endParaRPr lang="ru-RU" sz="24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1" name="Shape 30">
            <a:extLst>
              <a:ext uri="{FF2B5EF4-FFF2-40B4-BE49-F238E27FC236}">
                <a16:creationId xmlns:a16="http://schemas.microsoft.com/office/drawing/2014/main" id="{2E1195FC-33C1-ABCA-6720-FF352C7C557D}"/>
              </a:ext>
            </a:extLst>
          </p:cNvPr>
          <p:cNvSpPr/>
          <p:nvPr/>
        </p:nvSpPr>
        <p:spPr>
          <a:xfrm>
            <a:off x="10206036" y="3606681"/>
            <a:ext cx="1341120" cy="292608"/>
          </a:xfrm>
          <a:prstGeom prst="rect">
            <a:avLst/>
          </a:prstGeom>
          <a:solidFill>
            <a:srgbClr val="FFFFFF"/>
          </a:solidFill>
          <a:ln w="3810">
            <a:solidFill>
              <a:srgbClr val="B2D8DE"/>
            </a:solidFill>
            <a:prstDash val="solid"/>
          </a:ln>
        </p:spPr>
        <p:txBody>
          <a:bodyPr/>
          <a:lstStyle/>
          <a:p>
            <a:pPr defTabSz="1219170">
              <a:defRPr/>
            </a:pPr>
            <a:endParaRPr lang="ru-RU" sz="24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2" name="Shape 31">
            <a:extLst>
              <a:ext uri="{FF2B5EF4-FFF2-40B4-BE49-F238E27FC236}">
                <a16:creationId xmlns:a16="http://schemas.microsoft.com/office/drawing/2014/main" id="{7E51D474-0262-F34F-7A25-A761A8E49B18}"/>
              </a:ext>
            </a:extLst>
          </p:cNvPr>
          <p:cNvSpPr/>
          <p:nvPr/>
        </p:nvSpPr>
        <p:spPr>
          <a:xfrm>
            <a:off x="635316" y="3948057"/>
            <a:ext cx="11338560" cy="292608"/>
          </a:xfrm>
          <a:prstGeom prst="rect">
            <a:avLst/>
          </a:prstGeom>
          <a:solidFill>
            <a:srgbClr val="D6F0F3"/>
          </a:solidFill>
          <a:ln w="3810">
            <a:solidFill>
              <a:srgbClr val="B2D8DE"/>
            </a:solidFill>
            <a:prstDash val="solid"/>
          </a:ln>
        </p:spPr>
        <p:txBody>
          <a:bodyPr/>
          <a:lstStyle/>
          <a:p>
            <a:pPr defTabSz="1219170">
              <a:defRPr/>
            </a:pPr>
            <a:endParaRPr lang="ru-RU" sz="24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3" name="Text 32">
            <a:extLst>
              <a:ext uri="{FF2B5EF4-FFF2-40B4-BE49-F238E27FC236}">
                <a16:creationId xmlns:a16="http://schemas.microsoft.com/office/drawing/2014/main" id="{97B76054-BA3C-63D5-6D7B-566731D336AB}"/>
              </a:ext>
            </a:extLst>
          </p:cNvPr>
          <p:cNvSpPr/>
          <p:nvPr/>
        </p:nvSpPr>
        <p:spPr>
          <a:xfrm>
            <a:off x="818196" y="3948057"/>
            <a:ext cx="6339840" cy="292608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267" noProof="1">
                <a:solidFill>
                  <a:srgbClr val="16303A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ИК 4 — Вы действуете, а не просто слушаете</a:t>
            </a:r>
            <a:endParaRPr lang="ru-RU" sz="1267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4" name="Shape 33">
            <a:extLst>
              <a:ext uri="{FF2B5EF4-FFF2-40B4-BE49-F238E27FC236}">
                <a16:creationId xmlns:a16="http://schemas.microsoft.com/office/drawing/2014/main" id="{631F74AE-8C9C-3241-ABBF-3F1AB858D0C7}"/>
              </a:ext>
            </a:extLst>
          </p:cNvPr>
          <p:cNvSpPr/>
          <p:nvPr/>
        </p:nvSpPr>
        <p:spPr>
          <a:xfrm>
            <a:off x="7340916" y="3948057"/>
            <a:ext cx="1341120" cy="292608"/>
          </a:xfrm>
          <a:prstGeom prst="rect">
            <a:avLst/>
          </a:prstGeom>
          <a:solidFill>
            <a:srgbClr val="D6F0F3"/>
          </a:solidFill>
          <a:ln w="3810">
            <a:solidFill>
              <a:srgbClr val="B2D8DE"/>
            </a:solidFill>
            <a:prstDash val="solid"/>
          </a:ln>
        </p:spPr>
        <p:txBody>
          <a:bodyPr/>
          <a:lstStyle/>
          <a:p>
            <a:pPr defTabSz="1219170">
              <a:defRPr/>
            </a:pPr>
            <a:endParaRPr lang="ru-RU" sz="24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5" name="Shape 34">
            <a:extLst>
              <a:ext uri="{FF2B5EF4-FFF2-40B4-BE49-F238E27FC236}">
                <a16:creationId xmlns:a16="http://schemas.microsoft.com/office/drawing/2014/main" id="{A7E4DCF9-EC92-5EF6-838A-94F137276EA4}"/>
              </a:ext>
            </a:extLst>
          </p:cNvPr>
          <p:cNvSpPr/>
          <p:nvPr/>
        </p:nvSpPr>
        <p:spPr>
          <a:xfrm>
            <a:off x="8742996" y="3948057"/>
            <a:ext cx="1341120" cy="292608"/>
          </a:xfrm>
          <a:prstGeom prst="rect">
            <a:avLst/>
          </a:prstGeom>
          <a:solidFill>
            <a:srgbClr val="D6F0F3"/>
          </a:solidFill>
          <a:ln w="3810">
            <a:solidFill>
              <a:srgbClr val="B2D8DE"/>
            </a:solidFill>
            <a:prstDash val="solid"/>
          </a:ln>
        </p:spPr>
        <p:txBody>
          <a:bodyPr/>
          <a:lstStyle/>
          <a:p>
            <a:pPr defTabSz="1219170">
              <a:defRPr/>
            </a:pPr>
            <a:endParaRPr lang="ru-RU" sz="24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6" name="Shape 35">
            <a:extLst>
              <a:ext uri="{FF2B5EF4-FFF2-40B4-BE49-F238E27FC236}">
                <a16:creationId xmlns:a16="http://schemas.microsoft.com/office/drawing/2014/main" id="{951138E4-6B8E-DB9F-EE26-9C34226624CB}"/>
              </a:ext>
            </a:extLst>
          </p:cNvPr>
          <p:cNvSpPr/>
          <p:nvPr/>
        </p:nvSpPr>
        <p:spPr>
          <a:xfrm>
            <a:off x="10206036" y="3948057"/>
            <a:ext cx="1341120" cy="292608"/>
          </a:xfrm>
          <a:prstGeom prst="rect">
            <a:avLst/>
          </a:prstGeom>
          <a:solidFill>
            <a:srgbClr val="D6F0F3"/>
          </a:solidFill>
          <a:ln w="3810">
            <a:solidFill>
              <a:srgbClr val="B2D8DE"/>
            </a:solidFill>
            <a:prstDash val="solid"/>
          </a:ln>
        </p:spPr>
        <p:txBody>
          <a:bodyPr/>
          <a:lstStyle/>
          <a:p>
            <a:pPr defTabSz="1219170">
              <a:defRPr/>
            </a:pPr>
            <a:endParaRPr lang="ru-RU" sz="24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7" name="Shape 36">
            <a:extLst>
              <a:ext uri="{FF2B5EF4-FFF2-40B4-BE49-F238E27FC236}">
                <a16:creationId xmlns:a16="http://schemas.microsoft.com/office/drawing/2014/main" id="{9C8854BC-539A-08C2-0E63-7B1DD784610B}"/>
              </a:ext>
            </a:extLst>
          </p:cNvPr>
          <p:cNvSpPr/>
          <p:nvPr/>
        </p:nvSpPr>
        <p:spPr>
          <a:xfrm>
            <a:off x="635316" y="4289433"/>
            <a:ext cx="11338560" cy="292608"/>
          </a:xfrm>
          <a:prstGeom prst="rect">
            <a:avLst/>
          </a:prstGeom>
          <a:solidFill>
            <a:srgbClr val="FFFFFF"/>
          </a:solidFill>
          <a:ln w="3810">
            <a:solidFill>
              <a:srgbClr val="B2D8DE"/>
            </a:solidFill>
            <a:prstDash val="solid"/>
          </a:ln>
        </p:spPr>
        <p:txBody>
          <a:bodyPr/>
          <a:lstStyle/>
          <a:p>
            <a:pPr defTabSz="1219170">
              <a:defRPr/>
            </a:pPr>
            <a:endParaRPr lang="ru-RU" sz="24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8" name="Text 37">
            <a:extLst>
              <a:ext uri="{FF2B5EF4-FFF2-40B4-BE49-F238E27FC236}">
                <a16:creationId xmlns:a16="http://schemas.microsoft.com/office/drawing/2014/main" id="{4E5E103D-C859-3A6F-E575-9D8E8E7F2FE6}"/>
              </a:ext>
            </a:extLst>
          </p:cNvPr>
          <p:cNvSpPr/>
          <p:nvPr/>
        </p:nvSpPr>
        <p:spPr>
          <a:xfrm>
            <a:off x="818196" y="4289433"/>
            <a:ext cx="6339840" cy="292608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267" noProof="1">
                <a:solidFill>
                  <a:srgbClr val="16303A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ИК 5 — Вы учитесь вместе с коллегами</a:t>
            </a:r>
            <a:endParaRPr lang="ru-RU" sz="1267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9" name="Shape 38">
            <a:extLst>
              <a:ext uri="{FF2B5EF4-FFF2-40B4-BE49-F238E27FC236}">
                <a16:creationId xmlns:a16="http://schemas.microsoft.com/office/drawing/2014/main" id="{9BE04999-E75C-F16C-C0DB-2EC2720D5329}"/>
              </a:ext>
            </a:extLst>
          </p:cNvPr>
          <p:cNvSpPr/>
          <p:nvPr/>
        </p:nvSpPr>
        <p:spPr>
          <a:xfrm>
            <a:off x="7340916" y="4289433"/>
            <a:ext cx="1341120" cy="292608"/>
          </a:xfrm>
          <a:prstGeom prst="rect">
            <a:avLst/>
          </a:prstGeom>
          <a:solidFill>
            <a:srgbClr val="FFFFFF"/>
          </a:solidFill>
          <a:ln w="3810">
            <a:solidFill>
              <a:srgbClr val="B2D8DE"/>
            </a:solidFill>
            <a:prstDash val="solid"/>
          </a:ln>
        </p:spPr>
        <p:txBody>
          <a:bodyPr/>
          <a:lstStyle/>
          <a:p>
            <a:pPr defTabSz="1219170">
              <a:defRPr/>
            </a:pPr>
            <a:endParaRPr lang="ru-RU" sz="24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0" name="Shape 39">
            <a:extLst>
              <a:ext uri="{FF2B5EF4-FFF2-40B4-BE49-F238E27FC236}">
                <a16:creationId xmlns:a16="http://schemas.microsoft.com/office/drawing/2014/main" id="{2A94E3F5-EC49-F84E-830E-E441FA62C0C9}"/>
              </a:ext>
            </a:extLst>
          </p:cNvPr>
          <p:cNvSpPr/>
          <p:nvPr/>
        </p:nvSpPr>
        <p:spPr>
          <a:xfrm>
            <a:off x="8742996" y="4289433"/>
            <a:ext cx="1341120" cy="292608"/>
          </a:xfrm>
          <a:prstGeom prst="rect">
            <a:avLst/>
          </a:prstGeom>
          <a:solidFill>
            <a:srgbClr val="FFFFFF"/>
          </a:solidFill>
          <a:ln w="3810">
            <a:solidFill>
              <a:srgbClr val="B2D8DE"/>
            </a:solidFill>
            <a:prstDash val="solid"/>
          </a:ln>
        </p:spPr>
        <p:txBody>
          <a:bodyPr/>
          <a:lstStyle/>
          <a:p>
            <a:pPr defTabSz="1219170">
              <a:defRPr/>
            </a:pPr>
            <a:endParaRPr lang="ru-RU" sz="24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1" name="Shape 40">
            <a:extLst>
              <a:ext uri="{FF2B5EF4-FFF2-40B4-BE49-F238E27FC236}">
                <a16:creationId xmlns:a16="http://schemas.microsoft.com/office/drawing/2014/main" id="{6ABCDF60-0C26-05B7-85B6-682895172BA7}"/>
              </a:ext>
            </a:extLst>
          </p:cNvPr>
          <p:cNvSpPr/>
          <p:nvPr/>
        </p:nvSpPr>
        <p:spPr>
          <a:xfrm>
            <a:off x="10206036" y="4289433"/>
            <a:ext cx="1341120" cy="292608"/>
          </a:xfrm>
          <a:prstGeom prst="rect">
            <a:avLst/>
          </a:prstGeom>
          <a:solidFill>
            <a:srgbClr val="FFFFFF"/>
          </a:solidFill>
          <a:ln w="3810">
            <a:solidFill>
              <a:srgbClr val="B2D8DE"/>
            </a:solidFill>
            <a:prstDash val="solid"/>
          </a:ln>
        </p:spPr>
        <p:txBody>
          <a:bodyPr/>
          <a:lstStyle/>
          <a:p>
            <a:pPr defTabSz="1219170">
              <a:defRPr/>
            </a:pPr>
            <a:endParaRPr lang="ru-RU" sz="24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2" name="Shape 41">
            <a:extLst>
              <a:ext uri="{FF2B5EF4-FFF2-40B4-BE49-F238E27FC236}">
                <a16:creationId xmlns:a16="http://schemas.microsoft.com/office/drawing/2014/main" id="{75D309BE-5CC1-5E55-EA87-5630FEF3DD77}"/>
              </a:ext>
            </a:extLst>
          </p:cNvPr>
          <p:cNvSpPr/>
          <p:nvPr/>
        </p:nvSpPr>
        <p:spPr>
          <a:xfrm>
            <a:off x="635316" y="4630809"/>
            <a:ext cx="11338560" cy="292608"/>
          </a:xfrm>
          <a:prstGeom prst="rect">
            <a:avLst/>
          </a:prstGeom>
          <a:solidFill>
            <a:srgbClr val="D6F0F3"/>
          </a:solidFill>
          <a:ln w="3810">
            <a:solidFill>
              <a:srgbClr val="B2D8DE"/>
            </a:solidFill>
            <a:prstDash val="solid"/>
          </a:ln>
        </p:spPr>
        <p:txBody>
          <a:bodyPr/>
          <a:lstStyle/>
          <a:p>
            <a:pPr defTabSz="1219170">
              <a:defRPr/>
            </a:pPr>
            <a:endParaRPr lang="ru-RU" sz="24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3" name="Text 42">
            <a:extLst>
              <a:ext uri="{FF2B5EF4-FFF2-40B4-BE49-F238E27FC236}">
                <a16:creationId xmlns:a16="http://schemas.microsoft.com/office/drawing/2014/main" id="{76B739B8-056F-B1D3-0837-7BE4EF4E06C4}"/>
              </a:ext>
            </a:extLst>
          </p:cNvPr>
          <p:cNvSpPr/>
          <p:nvPr/>
        </p:nvSpPr>
        <p:spPr>
          <a:xfrm>
            <a:off x="818196" y="4630809"/>
            <a:ext cx="6339840" cy="292608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267" noProof="1">
                <a:solidFill>
                  <a:srgbClr val="16303A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ИК 6 — Это касается ваших студентов</a:t>
            </a:r>
            <a:endParaRPr lang="ru-RU" sz="1267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4" name="Shape 43">
            <a:extLst>
              <a:ext uri="{FF2B5EF4-FFF2-40B4-BE49-F238E27FC236}">
                <a16:creationId xmlns:a16="http://schemas.microsoft.com/office/drawing/2014/main" id="{55A99D2C-B1E2-881D-A268-6A09E54648A8}"/>
              </a:ext>
            </a:extLst>
          </p:cNvPr>
          <p:cNvSpPr/>
          <p:nvPr/>
        </p:nvSpPr>
        <p:spPr>
          <a:xfrm>
            <a:off x="7340916" y="4630809"/>
            <a:ext cx="1341120" cy="292608"/>
          </a:xfrm>
          <a:prstGeom prst="rect">
            <a:avLst/>
          </a:prstGeom>
          <a:solidFill>
            <a:srgbClr val="D6F0F3"/>
          </a:solidFill>
          <a:ln w="3810">
            <a:solidFill>
              <a:srgbClr val="B2D8DE"/>
            </a:solidFill>
            <a:prstDash val="solid"/>
          </a:ln>
        </p:spPr>
        <p:txBody>
          <a:bodyPr/>
          <a:lstStyle/>
          <a:p>
            <a:pPr defTabSz="1219170">
              <a:defRPr/>
            </a:pPr>
            <a:endParaRPr lang="ru-RU" sz="24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5" name="Shape 44">
            <a:extLst>
              <a:ext uri="{FF2B5EF4-FFF2-40B4-BE49-F238E27FC236}">
                <a16:creationId xmlns:a16="http://schemas.microsoft.com/office/drawing/2014/main" id="{C0F6700E-9565-3CE2-C7E2-752415B15B4D}"/>
              </a:ext>
            </a:extLst>
          </p:cNvPr>
          <p:cNvSpPr/>
          <p:nvPr/>
        </p:nvSpPr>
        <p:spPr>
          <a:xfrm>
            <a:off x="8742996" y="4630809"/>
            <a:ext cx="1341120" cy="292608"/>
          </a:xfrm>
          <a:prstGeom prst="rect">
            <a:avLst/>
          </a:prstGeom>
          <a:solidFill>
            <a:srgbClr val="D6F0F3"/>
          </a:solidFill>
          <a:ln w="3810">
            <a:solidFill>
              <a:srgbClr val="B2D8DE"/>
            </a:solidFill>
            <a:prstDash val="solid"/>
          </a:ln>
        </p:spPr>
        <p:txBody>
          <a:bodyPr/>
          <a:lstStyle/>
          <a:p>
            <a:pPr defTabSz="1219170">
              <a:defRPr/>
            </a:pPr>
            <a:endParaRPr lang="ru-RU" sz="24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6" name="Shape 45">
            <a:extLst>
              <a:ext uri="{FF2B5EF4-FFF2-40B4-BE49-F238E27FC236}">
                <a16:creationId xmlns:a16="http://schemas.microsoft.com/office/drawing/2014/main" id="{5398B7F3-8A9A-8E59-CB6A-1A6DD620880B}"/>
              </a:ext>
            </a:extLst>
          </p:cNvPr>
          <p:cNvSpPr/>
          <p:nvPr/>
        </p:nvSpPr>
        <p:spPr>
          <a:xfrm>
            <a:off x="10206036" y="4630809"/>
            <a:ext cx="1341120" cy="292608"/>
          </a:xfrm>
          <a:prstGeom prst="rect">
            <a:avLst/>
          </a:prstGeom>
          <a:solidFill>
            <a:srgbClr val="D6F0F3"/>
          </a:solidFill>
          <a:ln w="3810">
            <a:solidFill>
              <a:srgbClr val="B2D8DE"/>
            </a:solidFill>
            <a:prstDash val="solid"/>
          </a:ln>
        </p:spPr>
        <p:txBody>
          <a:bodyPr/>
          <a:lstStyle/>
          <a:p>
            <a:pPr defTabSz="1219170">
              <a:defRPr/>
            </a:pPr>
            <a:endParaRPr lang="ru-RU" sz="24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7" name="Shape 46">
            <a:extLst>
              <a:ext uri="{FF2B5EF4-FFF2-40B4-BE49-F238E27FC236}">
                <a16:creationId xmlns:a16="http://schemas.microsoft.com/office/drawing/2014/main" id="{EEF3DF25-19E1-4965-AA8E-4C6C9DF48FD4}"/>
              </a:ext>
            </a:extLst>
          </p:cNvPr>
          <p:cNvSpPr/>
          <p:nvPr/>
        </p:nvSpPr>
        <p:spPr>
          <a:xfrm>
            <a:off x="635316" y="4972185"/>
            <a:ext cx="11338560" cy="292608"/>
          </a:xfrm>
          <a:prstGeom prst="rect">
            <a:avLst/>
          </a:prstGeom>
          <a:solidFill>
            <a:srgbClr val="FFFFFF"/>
          </a:solidFill>
          <a:ln w="3810">
            <a:solidFill>
              <a:srgbClr val="B2D8DE"/>
            </a:solidFill>
            <a:prstDash val="solid"/>
          </a:ln>
        </p:spPr>
        <p:txBody>
          <a:bodyPr/>
          <a:lstStyle/>
          <a:p>
            <a:pPr defTabSz="1219170">
              <a:defRPr/>
            </a:pPr>
            <a:endParaRPr lang="ru-RU" sz="24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8" name="Text 47">
            <a:extLst>
              <a:ext uri="{FF2B5EF4-FFF2-40B4-BE49-F238E27FC236}">
                <a16:creationId xmlns:a16="http://schemas.microsoft.com/office/drawing/2014/main" id="{6BFCAEDF-E8E8-D27E-4FF0-32858DA30DBB}"/>
              </a:ext>
            </a:extLst>
          </p:cNvPr>
          <p:cNvSpPr/>
          <p:nvPr/>
        </p:nvSpPr>
        <p:spPr>
          <a:xfrm>
            <a:off x="818196" y="4972185"/>
            <a:ext cx="6339840" cy="292608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267" noProof="1">
                <a:solidFill>
                  <a:srgbClr val="16303A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ИК 7 — Ваше руководство поддерживает это</a:t>
            </a:r>
            <a:endParaRPr lang="ru-RU" sz="1267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9" name="Shape 48">
            <a:extLst>
              <a:ext uri="{FF2B5EF4-FFF2-40B4-BE49-F238E27FC236}">
                <a16:creationId xmlns:a16="http://schemas.microsoft.com/office/drawing/2014/main" id="{0FE0F8DA-BFB8-A933-F408-F1B40FA467AE}"/>
              </a:ext>
            </a:extLst>
          </p:cNvPr>
          <p:cNvSpPr/>
          <p:nvPr/>
        </p:nvSpPr>
        <p:spPr>
          <a:xfrm>
            <a:off x="7340916" y="4972185"/>
            <a:ext cx="1341120" cy="292608"/>
          </a:xfrm>
          <a:prstGeom prst="rect">
            <a:avLst/>
          </a:prstGeom>
          <a:solidFill>
            <a:srgbClr val="FFFFFF"/>
          </a:solidFill>
          <a:ln w="3810">
            <a:solidFill>
              <a:srgbClr val="B2D8DE"/>
            </a:solidFill>
            <a:prstDash val="solid"/>
          </a:ln>
        </p:spPr>
        <p:txBody>
          <a:bodyPr/>
          <a:lstStyle/>
          <a:p>
            <a:pPr defTabSz="1219170">
              <a:defRPr/>
            </a:pPr>
            <a:endParaRPr lang="ru-RU" sz="24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0" name="Shape 49">
            <a:extLst>
              <a:ext uri="{FF2B5EF4-FFF2-40B4-BE49-F238E27FC236}">
                <a16:creationId xmlns:a16="http://schemas.microsoft.com/office/drawing/2014/main" id="{DD7C907B-227F-89EC-A5E4-46BC3DA5E258}"/>
              </a:ext>
            </a:extLst>
          </p:cNvPr>
          <p:cNvSpPr/>
          <p:nvPr/>
        </p:nvSpPr>
        <p:spPr>
          <a:xfrm>
            <a:off x="8742996" y="4972185"/>
            <a:ext cx="1341120" cy="292608"/>
          </a:xfrm>
          <a:prstGeom prst="rect">
            <a:avLst/>
          </a:prstGeom>
          <a:solidFill>
            <a:srgbClr val="FFFFFF"/>
          </a:solidFill>
          <a:ln w="3810">
            <a:solidFill>
              <a:srgbClr val="B2D8DE"/>
            </a:solidFill>
            <a:prstDash val="solid"/>
          </a:ln>
        </p:spPr>
        <p:txBody>
          <a:bodyPr/>
          <a:lstStyle/>
          <a:p>
            <a:pPr defTabSz="1219170">
              <a:defRPr/>
            </a:pPr>
            <a:endParaRPr lang="ru-RU" sz="24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1" name="Shape 50">
            <a:extLst>
              <a:ext uri="{FF2B5EF4-FFF2-40B4-BE49-F238E27FC236}">
                <a16:creationId xmlns:a16="http://schemas.microsoft.com/office/drawing/2014/main" id="{776A7D0B-957A-B14F-CC91-F5EAFDF3687B}"/>
              </a:ext>
            </a:extLst>
          </p:cNvPr>
          <p:cNvSpPr/>
          <p:nvPr/>
        </p:nvSpPr>
        <p:spPr>
          <a:xfrm>
            <a:off x="10206036" y="4972185"/>
            <a:ext cx="1341120" cy="292608"/>
          </a:xfrm>
          <a:prstGeom prst="rect">
            <a:avLst/>
          </a:prstGeom>
          <a:solidFill>
            <a:srgbClr val="FFFFFF"/>
          </a:solidFill>
          <a:ln w="3810">
            <a:solidFill>
              <a:srgbClr val="B2D8DE"/>
            </a:solidFill>
            <a:prstDash val="solid"/>
          </a:ln>
        </p:spPr>
        <p:txBody>
          <a:bodyPr/>
          <a:lstStyle/>
          <a:p>
            <a:pPr defTabSz="1219170">
              <a:defRPr/>
            </a:pPr>
            <a:endParaRPr lang="ru-RU" sz="24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2" name="Shape 51">
            <a:extLst>
              <a:ext uri="{FF2B5EF4-FFF2-40B4-BE49-F238E27FC236}">
                <a16:creationId xmlns:a16="http://schemas.microsoft.com/office/drawing/2014/main" id="{52D7BCDD-4A86-72FB-2786-7A36ED7B2BCF}"/>
              </a:ext>
            </a:extLst>
          </p:cNvPr>
          <p:cNvSpPr/>
          <p:nvPr/>
        </p:nvSpPr>
        <p:spPr>
          <a:xfrm>
            <a:off x="635316" y="5313561"/>
            <a:ext cx="11338560" cy="292608"/>
          </a:xfrm>
          <a:prstGeom prst="rect">
            <a:avLst/>
          </a:prstGeom>
          <a:solidFill>
            <a:srgbClr val="D6F0F3"/>
          </a:solidFill>
          <a:ln w="3810">
            <a:solidFill>
              <a:srgbClr val="B2D8DE"/>
            </a:solidFill>
            <a:prstDash val="solid"/>
          </a:ln>
        </p:spPr>
        <p:txBody>
          <a:bodyPr/>
          <a:lstStyle/>
          <a:p>
            <a:pPr defTabSz="1219170">
              <a:defRPr/>
            </a:pPr>
            <a:endParaRPr lang="ru-RU" sz="24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3" name="Text 52">
            <a:extLst>
              <a:ext uri="{FF2B5EF4-FFF2-40B4-BE49-F238E27FC236}">
                <a16:creationId xmlns:a16="http://schemas.microsoft.com/office/drawing/2014/main" id="{0E5B15A0-D9C6-280E-0807-F3AC227D1F3E}"/>
              </a:ext>
            </a:extLst>
          </p:cNvPr>
          <p:cNvSpPr/>
          <p:nvPr/>
        </p:nvSpPr>
        <p:spPr>
          <a:xfrm>
            <a:off x="818196" y="5313561"/>
            <a:ext cx="6339840" cy="292608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267" noProof="1">
                <a:solidFill>
                  <a:srgbClr val="16303A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ИК 8 — Основано на том, что работает</a:t>
            </a:r>
            <a:endParaRPr lang="ru-RU" sz="1267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4" name="Shape 53">
            <a:extLst>
              <a:ext uri="{FF2B5EF4-FFF2-40B4-BE49-F238E27FC236}">
                <a16:creationId xmlns:a16="http://schemas.microsoft.com/office/drawing/2014/main" id="{6C429516-6A70-B8A8-28D5-5406FE97399E}"/>
              </a:ext>
            </a:extLst>
          </p:cNvPr>
          <p:cNvSpPr/>
          <p:nvPr/>
        </p:nvSpPr>
        <p:spPr>
          <a:xfrm>
            <a:off x="7340916" y="5313561"/>
            <a:ext cx="1341120" cy="292608"/>
          </a:xfrm>
          <a:prstGeom prst="rect">
            <a:avLst/>
          </a:prstGeom>
          <a:solidFill>
            <a:srgbClr val="D6F0F3"/>
          </a:solidFill>
          <a:ln w="3810">
            <a:solidFill>
              <a:srgbClr val="B2D8DE"/>
            </a:solidFill>
            <a:prstDash val="solid"/>
          </a:ln>
        </p:spPr>
        <p:txBody>
          <a:bodyPr/>
          <a:lstStyle/>
          <a:p>
            <a:pPr defTabSz="1219170">
              <a:defRPr/>
            </a:pPr>
            <a:endParaRPr lang="ru-RU" sz="24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5" name="Shape 54">
            <a:extLst>
              <a:ext uri="{FF2B5EF4-FFF2-40B4-BE49-F238E27FC236}">
                <a16:creationId xmlns:a16="http://schemas.microsoft.com/office/drawing/2014/main" id="{BA7413F8-7BDD-D27D-B734-DEA7BB28A8CA}"/>
              </a:ext>
            </a:extLst>
          </p:cNvPr>
          <p:cNvSpPr/>
          <p:nvPr/>
        </p:nvSpPr>
        <p:spPr>
          <a:xfrm>
            <a:off x="8742996" y="5313561"/>
            <a:ext cx="1341120" cy="292608"/>
          </a:xfrm>
          <a:prstGeom prst="rect">
            <a:avLst/>
          </a:prstGeom>
          <a:solidFill>
            <a:srgbClr val="D6F0F3"/>
          </a:solidFill>
          <a:ln w="3810">
            <a:solidFill>
              <a:srgbClr val="B2D8DE"/>
            </a:solidFill>
            <a:prstDash val="solid"/>
          </a:ln>
        </p:spPr>
        <p:txBody>
          <a:bodyPr/>
          <a:lstStyle/>
          <a:p>
            <a:pPr defTabSz="1219170">
              <a:defRPr/>
            </a:pPr>
            <a:endParaRPr lang="ru-RU" sz="24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6" name="Shape 55">
            <a:extLst>
              <a:ext uri="{FF2B5EF4-FFF2-40B4-BE49-F238E27FC236}">
                <a16:creationId xmlns:a16="http://schemas.microsoft.com/office/drawing/2014/main" id="{DE9AE56D-FBBB-4FDA-B9FE-F799BCAD9802}"/>
              </a:ext>
            </a:extLst>
          </p:cNvPr>
          <p:cNvSpPr/>
          <p:nvPr/>
        </p:nvSpPr>
        <p:spPr>
          <a:xfrm>
            <a:off x="10206036" y="5313561"/>
            <a:ext cx="1341120" cy="292608"/>
          </a:xfrm>
          <a:prstGeom prst="rect">
            <a:avLst/>
          </a:prstGeom>
          <a:solidFill>
            <a:srgbClr val="D6F0F3"/>
          </a:solidFill>
          <a:ln w="3810">
            <a:solidFill>
              <a:srgbClr val="B2D8DE"/>
            </a:solidFill>
            <a:prstDash val="solid"/>
          </a:ln>
        </p:spPr>
        <p:txBody>
          <a:bodyPr/>
          <a:lstStyle/>
          <a:p>
            <a:pPr defTabSz="1219170">
              <a:defRPr/>
            </a:pPr>
            <a:endParaRPr lang="ru-RU" sz="24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7" name="Shape 56">
            <a:extLst>
              <a:ext uri="{FF2B5EF4-FFF2-40B4-BE49-F238E27FC236}">
                <a16:creationId xmlns:a16="http://schemas.microsoft.com/office/drawing/2014/main" id="{C50522BF-E233-A02A-67B9-A2DB67585AE1}"/>
              </a:ext>
            </a:extLst>
          </p:cNvPr>
          <p:cNvSpPr/>
          <p:nvPr/>
        </p:nvSpPr>
        <p:spPr>
          <a:xfrm>
            <a:off x="635316" y="5715897"/>
            <a:ext cx="11338560" cy="292608"/>
          </a:xfrm>
          <a:prstGeom prst="rect">
            <a:avLst/>
          </a:prstGeom>
          <a:solidFill>
            <a:srgbClr val="16303A"/>
          </a:solidFill>
          <a:ln w="12700">
            <a:solidFill>
              <a:srgbClr val="16303A"/>
            </a:solidFill>
            <a:prstDash val="solid"/>
          </a:ln>
        </p:spPr>
        <p:txBody>
          <a:bodyPr/>
          <a:lstStyle/>
          <a:p>
            <a:pPr defTabSz="1219170">
              <a:defRPr/>
            </a:pPr>
            <a:endParaRPr lang="ru-RU" sz="24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8" name="Text 57">
            <a:extLst>
              <a:ext uri="{FF2B5EF4-FFF2-40B4-BE49-F238E27FC236}">
                <a16:creationId xmlns:a16="http://schemas.microsoft.com/office/drawing/2014/main" id="{697A7CE3-B9E4-46A8-B097-38884AF93E9F}"/>
              </a:ext>
            </a:extLst>
          </p:cNvPr>
          <p:cNvSpPr/>
          <p:nvPr/>
        </p:nvSpPr>
        <p:spPr>
          <a:xfrm>
            <a:off x="818196" y="5715897"/>
            <a:ext cx="10972800" cy="292608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200" b="1" noProof="1">
                <a:solidFill>
                  <a:srgbClr val="E8940A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Письменные ответы — вы работали над одним заданием: используйте эти знания</a:t>
            </a:r>
            <a:endParaRPr lang="ru-RU" sz="12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9" name="Shape 58">
            <a:extLst>
              <a:ext uri="{FF2B5EF4-FFF2-40B4-BE49-F238E27FC236}">
                <a16:creationId xmlns:a16="http://schemas.microsoft.com/office/drawing/2014/main" id="{93E83924-CB44-05C8-697C-64DF36453B9B}"/>
              </a:ext>
            </a:extLst>
          </p:cNvPr>
          <p:cNvSpPr/>
          <p:nvPr/>
        </p:nvSpPr>
        <p:spPr>
          <a:xfrm>
            <a:off x="635316" y="6008505"/>
            <a:ext cx="11338560" cy="268224"/>
          </a:xfrm>
          <a:prstGeom prst="rect">
            <a:avLst/>
          </a:prstGeom>
          <a:solidFill>
            <a:srgbClr val="FDF3DC"/>
          </a:solidFill>
          <a:ln w="3810">
            <a:solidFill>
              <a:srgbClr val="E8940A"/>
            </a:solidFill>
            <a:prstDash val="solid"/>
          </a:ln>
        </p:spPr>
        <p:txBody>
          <a:bodyPr/>
          <a:lstStyle/>
          <a:p>
            <a:pPr defTabSz="1219170">
              <a:defRPr/>
            </a:pPr>
            <a:endParaRPr lang="ru-RU" sz="24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0" name="Text 59">
            <a:extLst>
              <a:ext uri="{FF2B5EF4-FFF2-40B4-BE49-F238E27FC236}">
                <a16:creationId xmlns:a16="http://schemas.microsoft.com/office/drawing/2014/main" id="{62599690-5827-57CB-DFE7-2551D5CC7A11}"/>
              </a:ext>
            </a:extLst>
          </p:cNvPr>
          <p:cNvSpPr/>
          <p:nvPr/>
        </p:nvSpPr>
        <p:spPr>
          <a:xfrm>
            <a:off x="818196" y="6008505"/>
            <a:ext cx="10972800" cy="268224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200" noProof="1">
                <a:solidFill>
                  <a:srgbClr val="16303A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Самое сильное решение по дизайну — и почему оно сильно именно для данной группы педагогов</a:t>
            </a:r>
            <a:endParaRPr lang="ru-RU" sz="12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1" name="Shape 60">
            <a:extLst>
              <a:ext uri="{FF2B5EF4-FFF2-40B4-BE49-F238E27FC236}">
                <a16:creationId xmlns:a16="http://schemas.microsoft.com/office/drawing/2014/main" id="{4E8915A7-1D96-455A-C2C0-E708C43E21AF}"/>
              </a:ext>
            </a:extLst>
          </p:cNvPr>
          <p:cNvSpPr/>
          <p:nvPr/>
        </p:nvSpPr>
        <p:spPr>
          <a:xfrm>
            <a:off x="635316" y="6301113"/>
            <a:ext cx="11338560" cy="268224"/>
          </a:xfrm>
          <a:prstGeom prst="rect">
            <a:avLst/>
          </a:prstGeom>
          <a:solidFill>
            <a:srgbClr val="FFFFFF"/>
          </a:solidFill>
          <a:ln w="3810">
            <a:solidFill>
              <a:srgbClr val="E8940A"/>
            </a:solidFill>
            <a:prstDash val="solid"/>
          </a:ln>
        </p:spPr>
        <p:txBody>
          <a:bodyPr/>
          <a:lstStyle/>
          <a:p>
            <a:pPr defTabSz="1219170">
              <a:defRPr/>
            </a:pPr>
            <a:endParaRPr lang="ru-RU" sz="24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2" name="Text 61">
            <a:extLst>
              <a:ext uri="{FF2B5EF4-FFF2-40B4-BE49-F238E27FC236}">
                <a16:creationId xmlns:a16="http://schemas.microsoft.com/office/drawing/2014/main" id="{BD6338F4-2B9C-0653-C446-823652A2B3C4}"/>
              </a:ext>
            </a:extLst>
          </p:cNvPr>
          <p:cNvSpPr/>
          <p:nvPr/>
        </p:nvSpPr>
        <p:spPr>
          <a:xfrm>
            <a:off x="818196" y="6301113"/>
            <a:ext cx="10972800" cy="268224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200" noProof="1">
                <a:solidFill>
                  <a:srgbClr val="16303A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Одно решение, где вы сделали другой выбор для того же задания — и каково было ваше обоснование</a:t>
            </a:r>
            <a:endParaRPr lang="ru-RU" sz="12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3" name="Shape 62">
            <a:extLst>
              <a:ext uri="{FF2B5EF4-FFF2-40B4-BE49-F238E27FC236}">
                <a16:creationId xmlns:a16="http://schemas.microsoft.com/office/drawing/2014/main" id="{BE4AB63E-BB5B-9C1F-32DF-276E8BB91901}"/>
              </a:ext>
            </a:extLst>
          </p:cNvPr>
          <p:cNvSpPr/>
          <p:nvPr/>
        </p:nvSpPr>
        <p:spPr>
          <a:xfrm>
            <a:off x="635316" y="6593721"/>
            <a:ext cx="11338560" cy="268224"/>
          </a:xfrm>
          <a:prstGeom prst="rect">
            <a:avLst/>
          </a:prstGeom>
          <a:solidFill>
            <a:srgbClr val="FDF3DC"/>
          </a:solidFill>
          <a:ln w="3810">
            <a:solidFill>
              <a:srgbClr val="E8940A"/>
            </a:solidFill>
            <a:prstDash val="solid"/>
          </a:ln>
        </p:spPr>
        <p:txBody>
          <a:bodyPr/>
          <a:lstStyle/>
          <a:p>
            <a:pPr defTabSz="1219170">
              <a:defRPr/>
            </a:pPr>
            <a:endParaRPr lang="ru-RU" sz="24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4" name="Text 63">
            <a:extLst>
              <a:ext uri="{FF2B5EF4-FFF2-40B4-BE49-F238E27FC236}">
                <a16:creationId xmlns:a16="http://schemas.microsoft.com/office/drawing/2014/main" id="{97E638F6-DDB0-6B34-99CB-8956E6E5815C}"/>
              </a:ext>
            </a:extLst>
          </p:cNvPr>
          <p:cNvSpPr/>
          <p:nvPr/>
        </p:nvSpPr>
        <p:spPr>
          <a:xfrm>
            <a:off x="818196" y="6593721"/>
            <a:ext cx="10972800" cy="268224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200" noProof="1">
                <a:solidFill>
                  <a:srgbClr val="16303A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Один вопрос, на который этот дизайн ещё не ответил о группе педагогов в задании</a:t>
            </a:r>
            <a:endParaRPr lang="ru-RU" sz="12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3667564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hape 2">
            <a:extLst>
              <a:ext uri="{FF2B5EF4-FFF2-40B4-BE49-F238E27FC236}">
                <a16:creationId xmlns:a16="http://schemas.microsoft.com/office/drawing/2014/main" id="{6459C3EA-D11B-F805-FB8A-BE45DF33EFD7}"/>
              </a:ext>
            </a:extLst>
          </p:cNvPr>
          <p:cNvSpPr/>
          <p:nvPr/>
        </p:nvSpPr>
        <p:spPr>
          <a:xfrm>
            <a:off x="620569" y="954408"/>
            <a:ext cx="11216640" cy="1645920"/>
          </a:xfrm>
          <a:prstGeom prst="rect">
            <a:avLst/>
          </a:prstGeom>
          <a:solidFill>
            <a:schemeClr val="accent2">
              <a:lumMod val="75000"/>
            </a:schemeClr>
          </a:solidFill>
          <a:ln w="12700">
            <a:solidFill>
              <a:srgbClr val="16303A"/>
            </a:solidFill>
            <a:prstDash val="solid"/>
          </a:ln>
        </p:spPr>
        <p:txBody>
          <a:bodyPr/>
          <a:lstStyle/>
          <a:p>
            <a:pPr defTabSz="1219170">
              <a:defRPr/>
            </a:pPr>
            <a:endParaRPr lang="ru-RU" sz="2667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Text 3">
            <a:extLst>
              <a:ext uri="{FF2B5EF4-FFF2-40B4-BE49-F238E27FC236}">
                <a16:creationId xmlns:a16="http://schemas.microsoft.com/office/drawing/2014/main" id="{1CA889E2-8F23-5673-E5EB-A84EAD93C1DA}"/>
              </a:ext>
            </a:extLst>
          </p:cNvPr>
          <p:cNvSpPr/>
          <p:nvPr/>
        </p:nvSpPr>
        <p:spPr>
          <a:xfrm>
            <a:off x="864409" y="954408"/>
            <a:ext cx="10850880" cy="164592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867" i="1" noProof="1">
                <a:solidFill>
                  <a:srgbClr val="FFFFFF"/>
                </a:solidFill>
                <a:latin typeface="Arial" panose="020B0604020202020204" pitchFamily="34" charset="0"/>
                <a:ea typeface="Georgia" pitchFamily="34" charset="-122"/>
                <a:cs typeface="Arial" panose="020B0604020202020204" pitchFamily="34" charset="0"/>
              </a:rPr>
              <a:t>Стол напротив вас работал над тем же заданием. Они сделали другой выбор. Мы выясним почему. Это различие — не проблема, а суть. Одно и то же задание, к которому обратились две разные команды, производит два законно разных дизайна. Ваша задача — понять логику друг друга и использовать её для укрепления собственной.</a:t>
            </a:r>
            <a:endParaRPr lang="ru-RU" sz="1867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Text 4">
            <a:extLst>
              <a:ext uri="{FF2B5EF4-FFF2-40B4-BE49-F238E27FC236}">
                <a16:creationId xmlns:a16="http://schemas.microsoft.com/office/drawing/2014/main" id="{CA9E1FBE-DC20-D436-8542-A58D85C1D264}"/>
              </a:ext>
            </a:extLst>
          </p:cNvPr>
          <p:cNvSpPr/>
          <p:nvPr/>
        </p:nvSpPr>
        <p:spPr>
          <a:xfrm>
            <a:off x="742489" y="2746632"/>
            <a:ext cx="10972800" cy="42672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2133" b="1" noProof="1">
                <a:solidFill>
                  <a:srgbClr val="16303A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Карточка обратной связи — три вещи:</a:t>
            </a:r>
            <a:endParaRPr lang="ru-RU" sz="2133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Shape 5">
            <a:extLst>
              <a:ext uri="{FF2B5EF4-FFF2-40B4-BE49-F238E27FC236}">
                <a16:creationId xmlns:a16="http://schemas.microsoft.com/office/drawing/2014/main" id="{268AE3EE-49D1-1DC9-89CA-2B64324A8E44}"/>
              </a:ext>
            </a:extLst>
          </p:cNvPr>
          <p:cNvSpPr/>
          <p:nvPr/>
        </p:nvSpPr>
        <p:spPr>
          <a:xfrm>
            <a:off x="559609" y="3270888"/>
            <a:ext cx="11338560" cy="792480"/>
          </a:xfrm>
          <a:prstGeom prst="rect">
            <a:avLst/>
          </a:prstGeom>
          <a:solidFill>
            <a:srgbClr val="FFFFFF"/>
          </a:solidFill>
          <a:ln w="6350">
            <a:solidFill>
              <a:srgbClr val="B2D8DE"/>
            </a:solidFill>
            <a:prstDash val="solid"/>
          </a:ln>
          <a:effectLst>
            <a:outerShdw blurRad="76200" dist="38100" dir="8100000" algn="bl" rotWithShape="0">
              <a:srgbClr val="000000">
                <a:alpha val="10000"/>
              </a:srgbClr>
            </a:outerShdw>
          </a:effectLst>
        </p:spPr>
        <p:txBody>
          <a:bodyPr/>
          <a:lstStyle/>
          <a:p>
            <a:pPr defTabSz="1219170">
              <a:defRPr/>
            </a:pPr>
            <a:endParaRPr lang="ru-RU" sz="2667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Text 7">
            <a:extLst>
              <a:ext uri="{FF2B5EF4-FFF2-40B4-BE49-F238E27FC236}">
                <a16:creationId xmlns:a16="http://schemas.microsoft.com/office/drawing/2014/main" id="{22D0BB7A-883F-B838-0E38-96251BAC27CB}"/>
              </a:ext>
            </a:extLst>
          </p:cNvPr>
          <p:cNvSpPr/>
          <p:nvPr/>
        </p:nvSpPr>
        <p:spPr>
          <a:xfrm>
            <a:off x="705913" y="3478152"/>
            <a:ext cx="426720" cy="42672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algn="ctr" defTabSz="1219170">
              <a:defRPr/>
            </a:pPr>
            <a:r>
              <a:rPr lang="ru-RU" sz="1867" b="1" noProof="1">
                <a:solidFill>
                  <a:schemeClr val="accent1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1</a:t>
            </a:r>
            <a:endParaRPr lang="ru-RU" sz="1867" noProof="1">
              <a:solidFill>
                <a:schemeClr val="accent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Text 8">
            <a:extLst>
              <a:ext uri="{FF2B5EF4-FFF2-40B4-BE49-F238E27FC236}">
                <a16:creationId xmlns:a16="http://schemas.microsoft.com/office/drawing/2014/main" id="{8CF0C9CA-D911-F0AA-BF6D-7E03334AA8B2}"/>
              </a:ext>
            </a:extLst>
          </p:cNvPr>
          <p:cNvSpPr/>
          <p:nvPr/>
        </p:nvSpPr>
        <p:spPr>
          <a:xfrm>
            <a:off x="1352089" y="3392808"/>
            <a:ext cx="10363200" cy="585216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867" noProof="1">
                <a:solidFill>
                  <a:srgbClr val="16303A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Какие индикаторы качества вы наблюдали в дизайне — присутствующие, частичные или отсутствующие.</a:t>
            </a:r>
            <a:endParaRPr lang="ru-RU" sz="1867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Shape 9">
            <a:extLst>
              <a:ext uri="{FF2B5EF4-FFF2-40B4-BE49-F238E27FC236}">
                <a16:creationId xmlns:a16="http://schemas.microsoft.com/office/drawing/2014/main" id="{6C987B0F-4F65-31E1-84A5-1C69A0C1DD26}"/>
              </a:ext>
            </a:extLst>
          </p:cNvPr>
          <p:cNvSpPr/>
          <p:nvPr/>
        </p:nvSpPr>
        <p:spPr>
          <a:xfrm>
            <a:off x="559609" y="4148712"/>
            <a:ext cx="11338560" cy="792480"/>
          </a:xfrm>
          <a:prstGeom prst="rect">
            <a:avLst/>
          </a:prstGeom>
          <a:solidFill>
            <a:srgbClr val="FFFFFF"/>
          </a:solidFill>
          <a:ln w="6350">
            <a:solidFill>
              <a:srgbClr val="B2D8DE"/>
            </a:solidFill>
            <a:prstDash val="solid"/>
          </a:ln>
          <a:effectLst>
            <a:outerShdw blurRad="76200" dist="38100" dir="8100000" algn="bl" rotWithShape="0">
              <a:srgbClr val="000000">
                <a:alpha val="10000"/>
              </a:srgbClr>
            </a:outerShdw>
          </a:effectLst>
        </p:spPr>
        <p:txBody>
          <a:bodyPr/>
          <a:lstStyle/>
          <a:p>
            <a:pPr defTabSz="1219170">
              <a:defRPr/>
            </a:pPr>
            <a:endParaRPr lang="ru-RU" sz="2667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Text 11">
            <a:extLst>
              <a:ext uri="{FF2B5EF4-FFF2-40B4-BE49-F238E27FC236}">
                <a16:creationId xmlns:a16="http://schemas.microsoft.com/office/drawing/2014/main" id="{C52E9D92-FFF0-0CCE-D37B-1B9AAC02D240}"/>
              </a:ext>
            </a:extLst>
          </p:cNvPr>
          <p:cNvSpPr/>
          <p:nvPr/>
        </p:nvSpPr>
        <p:spPr>
          <a:xfrm>
            <a:off x="705913" y="4355976"/>
            <a:ext cx="426720" cy="42672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algn="ctr" defTabSz="1219170">
              <a:defRPr/>
            </a:pPr>
            <a:r>
              <a:rPr lang="ru-RU" sz="1867" b="1" noProof="1">
                <a:solidFill>
                  <a:schemeClr val="accent1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2</a:t>
            </a:r>
            <a:endParaRPr lang="ru-RU" sz="1867" noProof="1">
              <a:solidFill>
                <a:schemeClr val="accent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Text 12">
            <a:extLst>
              <a:ext uri="{FF2B5EF4-FFF2-40B4-BE49-F238E27FC236}">
                <a16:creationId xmlns:a16="http://schemas.microsoft.com/office/drawing/2014/main" id="{DEA1164C-8868-77ED-86BF-DC1C5AFDFEE1}"/>
              </a:ext>
            </a:extLst>
          </p:cNvPr>
          <p:cNvSpPr/>
          <p:nvPr/>
        </p:nvSpPr>
        <p:spPr>
          <a:xfrm>
            <a:off x="1352089" y="4270632"/>
            <a:ext cx="10363200" cy="585216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867" noProof="1">
                <a:solidFill>
                  <a:srgbClr val="16303A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Самое сильное решение по дизайну и почему оно сильно для данной конкретной группы педагогов.</a:t>
            </a:r>
            <a:endParaRPr lang="ru-RU" sz="1867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Shape 13">
            <a:extLst>
              <a:ext uri="{FF2B5EF4-FFF2-40B4-BE49-F238E27FC236}">
                <a16:creationId xmlns:a16="http://schemas.microsoft.com/office/drawing/2014/main" id="{2B7F8113-ECD6-70D3-A2DF-859A4AA4105A}"/>
              </a:ext>
            </a:extLst>
          </p:cNvPr>
          <p:cNvSpPr/>
          <p:nvPr/>
        </p:nvSpPr>
        <p:spPr>
          <a:xfrm>
            <a:off x="559609" y="5026536"/>
            <a:ext cx="11338560" cy="792480"/>
          </a:xfrm>
          <a:prstGeom prst="rect">
            <a:avLst/>
          </a:prstGeom>
          <a:solidFill>
            <a:srgbClr val="D6F0F3"/>
          </a:solidFill>
          <a:ln w="15240">
            <a:solidFill>
              <a:srgbClr val="027A87"/>
            </a:solidFill>
            <a:prstDash val="solid"/>
          </a:ln>
          <a:effectLst>
            <a:outerShdw blurRad="76200" dist="38100" dir="8100000" algn="bl" rotWithShape="0">
              <a:srgbClr val="000000">
                <a:alpha val="10000"/>
              </a:srgbClr>
            </a:outerShdw>
          </a:effectLst>
        </p:spPr>
        <p:txBody>
          <a:bodyPr/>
          <a:lstStyle/>
          <a:p>
            <a:pPr defTabSz="1219170">
              <a:defRPr/>
            </a:pPr>
            <a:endParaRPr lang="ru-RU" sz="2667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Text 15">
            <a:extLst>
              <a:ext uri="{FF2B5EF4-FFF2-40B4-BE49-F238E27FC236}">
                <a16:creationId xmlns:a16="http://schemas.microsoft.com/office/drawing/2014/main" id="{154FA1E7-3E71-0C14-D7EA-ADE439F527A5}"/>
              </a:ext>
            </a:extLst>
          </p:cNvPr>
          <p:cNvSpPr/>
          <p:nvPr/>
        </p:nvSpPr>
        <p:spPr>
          <a:xfrm>
            <a:off x="705913" y="5233800"/>
            <a:ext cx="426720" cy="42672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algn="ctr" defTabSz="1219170">
              <a:defRPr/>
            </a:pPr>
            <a:r>
              <a:rPr lang="ru-RU" sz="1867" b="1" noProof="1">
                <a:solidFill>
                  <a:schemeClr val="accent1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3</a:t>
            </a:r>
            <a:endParaRPr lang="ru-RU" sz="1867" noProof="1">
              <a:solidFill>
                <a:schemeClr val="accent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Text 16">
            <a:extLst>
              <a:ext uri="{FF2B5EF4-FFF2-40B4-BE49-F238E27FC236}">
                <a16:creationId xmlns:a16="http://schemas.microsoft.com/office/drawing/2014/main" id="{31D8E97E-DABC-D48E-63A3-FCBDD9E5C546}"/>
              </a:ext>
            </a:extLst>
          </p:cNvPr>
          <p:cNvSpPr/>
          <p:nvPr/>
        </p:nvSpPr>
        <p:spPr>
          <a:xfrm>
            <a:off x="1352089" y="5148456"/>
            <a:ext cx="10363200" cy="585216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867" b="1" noProof="1">
                <a:solidFill>
                  <a:srgbClr val="16303A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Одно решение, где вы сделали другой выбор для того же задания — и ваше обоснование. Это возможно только потому, что вы оба знаете задание.</a:t>
            </a:r>
            <a:endParaRPr lang="ru-RU" sz="1867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Text 17">
            <a:extLst>
              <a:ext uri="{FF2B5EF4-FFF2-40B4-BE49-F238E27FC236}">
                <a16:creationId xmlns:a16="http://schemas.microsoft.com/office/drawing/2014/main" id="{BF904EE5-238F-34AD-3607-FCE058EB5733}"/>
              </a:ext>
            </a:extLst>
          </p:cNvPr>
          <p:cNvSpPr/>
          <p:nvPr/>
        </p:nvSpPr>
        <p:spPr>
          <a:xfrm>
            <a:off x="559609" y="6026280"/>
            <a:ext cx="11338560" cy="42672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467" b="1" noProof="1">
                <a:solidFill>
                  <a:schemeClr val="bg1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Связь с Сессией 4: сетка ИК на этой карточке — тот же инструмент, который использовался вчера для оценки реального профессионального развития педагогов из региона. Теперь применяется к дизайнам, разработанным здесь.</a:t>
            </a:r>
            <a:endParaRPr lang="ru-RU" sz="1467" noProof="1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BEB6664-4879-7CB0-E76E-363DECC1912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0569" y="44208"/>
            <a:ext cx="10971964" cy="1080120"/>
          </a:xfrm>
        </p:spPr>
        <p:txBody>
          <a:bodyPr>
            <a:normAutofit/>
          </a:bodyPr>
          <a:lstStyle/>
          <a:p>
            <a:r>
              <a:rPr lang="ru-RU" noProof="1"/>
              <a:t>Контекст показа</a:t>
            </a:r>
          </a:p>
        </p:txBody>
      </p:sp>
    </p:spTree>
    <p:extLst>
      <p:ext uri="{BB962C8B-B14F-4D97-AF65-F5344CB8AC3E}">
        <p14:creationId xmlns:p14="http://schemas.microsoft.com/office/powerpoint/2010/main" val="148504456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3851703-6F4B-C9DA-D99E-A1C1BC1C049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0">
            <a:extLst>
              <a:ext uri="{FF2B5EF4-FFF2-40B4-BE49-F238E27FC236}">
                <a16:creationId xmlns:a16="http://schemas.microsoft.com/office/drawing/2014/main" id="{363FB358-DA21-89B0-0ADC-0319EB6A8209}"/>
              </a:ext>
            </a:extLst>
          </p:cNvPr>
          <p:cNvSpPr/>
          <p:nvPr/>
        </p:nvSpPr>
        <p:spPr>
          <a:xfrm>
            <a:off x="7315200" y="-487680"/>
            <a:ext cx="5120640" cy="548640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algn="r"/>
            <a:r>
              <a:rPr lang="ru-RU" sz="42666" b="1" noProof="1">
                <a:solidFill>
                  <a:srgbClr val="0092BB">
                    <a:alpha val="40000"/>
                  </a:srgbClr>
                </a:solidFill>
                <a:latin typeface="Trebuchet MS" pitchFamily="34" charset="0"/>
                <a:ea typeface="Trebuchet MS" pitchFamily="34" charset="-122"/>
                <a:cs typeface="Trebuchet MS" pitchFamily="34" charset="-120"/>
              </a:rPr>
              <a:t>08</a:t>
            </a:r>
            <a:endParaRPr lang="ru-RU" sz="42666" noProof="1"/>
          </a:p>
        </p:txBody>
      </p:sp>
      <p:sp>
        <p:nvSpPr>
          <p:cNvPr id="3" name="Shape 1">
            <a:extLst>
              <a:ext uri="{FF2B5EF4-FFF2-40B4-BE49-F238E27FC236}">
                <a16:creationId xmlns:a16="http://schemas.microsoft.com/office/drawing/2014/main" id="{B5713841-6D2E-9BA9-667E-43934C7EA3D5}"/>
              </a:ext>
            </a:extLst>
          </p:cNvPr>
          <p:cNvSpPr/>
          <p:nvPr/>
        </p:nvSpPr>
        <p:spPr>
          <a:xfrm>
            <a:off x="654178" y="1289539"/>
            <a:ext cx="101727" cy="2827600"/>
          </a:xfrm>
          <a:prstGeom prst="rect">
            <a:avLst/>
          </a:prstGeom>
          <a:solidFill>
            <a:srgbClr val="FFDC00"/>
          </a:solidFill>
          <a:ln w="12700">
            <a:solidFill>
              <a:srgbClr val="FFDC00"/>
            </a:solidFill>
            <a:prstDash val="solid"/>
          </a:ln>
        </p:spPr>
        <p:txBody>
          <a:bodyPr/>
          <a:lstStyle/>
          <a:p>
            <a:endParaRPr lang="ru-RU" sz="2400" noProof="1"/>
          </a:p>
        </p:txBody>
      </p:sp>
      <p:sp>
        <p:nvSpPr>
          <p:cNvPr id="4" name="Text 2">
            <a:extLst>
              <a:ext uri="{FF2B5EF4-FFF2-40B4-BE49-F238E27FC236}">
                <a16:creationId xmlns:a16="http://schemas.microsoft.com/office/drawing/2014/main" id="{E54DCF2E-AF0E-AC27-8210-A55487E17B07}"/>
              </a:ext>
            </a:extLst>
          </p:cNvPr>
          <p:cNvSpPr/>
          <p:nvPr/>
        </p:nvSpPr>
        <p:spPr>
          <a:xfrm>
            <a:off x="914400" y="1975104"/>
            <a:ext cx="9144000" cy="146304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>
              <a:defRPr/>
            </a:pPr>
            <a:r>
              <a:rPr lang="ru-RU" sz="3200" b="1" noProof="1">
                <a:solidFill>
                  <a:schemeClr val="bg1"/>
                </a:solidFill>
                <a:latin typeface="Arial" panose="020B0604020202020204" pitchFamily="34" charset="0"/>
                <a:ea typeface="Trebuchet MS" pitchFamily="34" charset="-122"/>
                <a:cs typeface="Arial" panose="020B0604020202020204" pitchFamily="34" charset="0"/>
              </a:rPr>
              <a:t>Бинго для провайдера профессионального развития педагогов: </a:t>
            </a:r>
            <a:r>
              <a:rPr lang="ru-RU" sz="3200" b="1" i="1" noProof="1">
                <a:solidFill>
                  <a:schemeClr val="bg1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Вызовы, причины и ответы</a:t>
            </a:r>
            <a:endParaRPr lang="ru-RU" sz="3200" b="1" noProof="1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Shape 3">
            <a:extLst>
              <a:ext uri="{FF2B5EF4-FFF2-40B4-BE49-F238E27FC236}">
                <a16:creationId xmlns:a16="http://schemas.microsoft.com/office/drawing/2014/main" id="{D9CD174C-76AE-215D-0325-AD60A49C423E}"/>
              </a:ext>
            </a:extLst>
          </p:cNvPr>
          <p:cNvSpPr/>
          <p:nvPr/>
        </p:nvSpPr>
        <p:spPr>
          <a:xfrm>
            <a:off x="1015537" y="3605073"/>
            <a:ext cx="3413760" cy="512064"/>
          </a:xfrm>
          <a:prstGeom prst="roundRect">
            <a:avLst>
              <a:gd name="adj" fmla="val 14286"/>
            </a:avLst>
          </a:prstGeom>
          <a:solidFill>
            <a:srgbClr val="FFDC00"/>
          </a:solidFill>
          <a:ln w="12700">
            <a:solidFill>
              <a:srgbClr val="FFDC00"/>
            </a:solidFill>
            <a:prstDash val="solid"/>
          </a:ln>
        </p:spPr>
        <p:txBody>
          <a:bodyPr/>
          <a:lstStyle/>
          <a:p>
            <a:endParaRPr lang="ru-RU" sz="2400" noProof="1"/>
          </a:p>
        </p:txBody>
      </p:sp>
      <p:sp>
        <p:nvSpPr>
          <p:cNvPr id="6" name="Text 4">
            <a:extLst>
              <a:ext uri="{FF2B5EF4-FFF2-40B4-BE49-F238E27FC236}">
                <a16:creationId xmlns:a16="http://schemas.microsoft.com/office/drawing/2014/main" id="{CFFC8031-28C6-E353-B684-D0E4AD41C85A}"/>
              </a:ext>
            </a:extLst>
          </p:cNvPr>
          <p:cNvSpPr/>
          <p:nvPr/>
        </p:nvSpPr>
        <p:spPr>
          <a:xfrm>
            <a:off x="1015537" y="3605073"/>
            <a:ext cx="3255264" cy="512064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lvl="0" algn="ctr">
              <a:defRPr/>
            </a:pPr>
            <a:r>
              <a:rPr lang="ru-RU" sz="1867" b="1" noProof="1">
                <a:solidFill>
                  <a:schemeClr val="accent2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15:15 – 15:50  ·  45 минут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6FD34852-F7A4-36BA-F207-5985697127C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14400" y="1107458"/>
            <a:ext cx="10944225" cy="1080120"/>
          </a:xfrm>
        </p:spPr>
        <p:txBody>
          <a:bodyPr/>
          <a:lstStyle/>
          <a:p>
            <a:pPr algn="l"/>
            <a:r>
              <a:rPr lang="ru-RU" sz="3200" noProof="1">
                <a:solidFill>
                  <a:schemeClr val="accent4"/>
                </a:solidFill>
                <a:latin typeface="Arial" panose="020B0604020202020204" pitchFamily="34" charset="0"/>
                <a:ea typeface="Georgia" pitchFamily="34" charset="-122"/>
              </a:rPr>
              <a:t>Сессия 8</a:t>
            </a:r>
            <a:endParaRPr lang="ru-RU" b="1" noProof="1">
              <a:solidFill>
                <a:schemeClr val="accent4"/>
              </a:solidFill>
              <a:latin typeface="Arial" panose="020B0604020202020204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2E1236B1-CB36-4230-0C85-1730603AEBEA}"/>
              </a:ext>
            </a:extLst>
          </p:cNvPr>
          <p:cNvSpPr txBox="1"/>
          <p:nvPr/>
        </p:nvSpPr>
        <p:spPr>
          <a:xfrm>
            <a:off x="914400" y="4444723"/>
            <a:ext cx="9144000" cy="3796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ru-RU" sz="1867" i="1" noProof="1">
                <a:solidFill>
                  <a:schemeClr val="bg1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Смешанные (по странам) группы за столами, затем страновые группы</a:t>
            </a:r>
            <a:endParaRPr lang="ru-RU" sz="1867" noProof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9964946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168701D0-47B8-AD10-348A-76F27384478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5317" y="422444"/>
            <a:ext cx="10884879" cy="1080120"/>
          </a:xfrm>
        </p:spPr>
        <p:txBody>
          <a:bodyPr>
            <a:normAutofit/>
          </a:bodyPr>
          <a:lstStyle/>
          <a:p>
            <a:r>
              <a:rPr lang="ru-RU" noProof="1"/>
              <a:t>Цель и ожидаемые результаты</a:t>
            </a:r>
          </a:p>
        </p:txBody>
      </p:sp>
      <p:sp>
        <p:nvSpPr>
          <p:cNvPr id="4" name="Shape 2">
            <a:extLst>
              <a:ext uri="{FF2B5EF4-FFF2-40B4-BE49-F238E27FC236}">
                <a16:creationId xmlns:a16="http://schemas.microsoft.com/office/drawing/2014/main" id="{A7A2A47E-A93A-2480-90FE-1BEE3CF61FFB}"/>
              </a:ext>
            </a:extLst>
          </p:cNvPr>
          <p:cNvSpPr/>
          <p:nvPr/>
        </p:nvSpPr>
        <p:spPr>
          <a:xfrm>
            <a:off x="635316" y="1380644"/>
            <a:ext cx="11216640" cy="2011680"/>
          </a:xfrm>
          <a:prstGeom prst="rect">
            <a:avLst/>
          </a:prstGeom>
          <a:solidFill>
            <a:srgbClr val="D6F0F3"/>
          </a:solidFill>
          <a:ln w="7620">
            <a:solidFill>
              <a:srgbClr val="B2D8DE"/>
            </a:solidFill>
            <a:prstDash val="solid"/>
          </a:ln>
        </p:spPr>
        <p:txBody>
          <a:bodyPr/>
          <a:lstStyle/>
          <a:p>
            <a:pPr defTabSz="1219170">
              <a:defRPr/>
            </a:pPr>
            <a:endParaRPr lang="ru-RU" sz="2667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Text 3">
            <a:extLst>
              <a:ext uri="{FF2B5EF4-FFF2-40B4-BE49-F238E27FC236}">
                <a16:creationId xmlns:a16="http://schemas.microsoft.com/office/drawing/2014/main" id="{03CEE7D2-727A-1FDD-7EF4-35A9AC00CE9F}"/>
              </a:ext>
            </a:extLst>
          </p:cNvPr>
          <p:cNvSpPr/>
          <p:nvPr/>
        </p:nvSpPr>
        <p:spPr>
          <a:xfrm>
            <a:off x="879156" y="1502564"/>
            <a:ext cx="10972800" cy="36576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600" b="1" kern="0" spc="267" noProof="1">
                <a:solidFill>
                  <a:srgbClr val="027A87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ЦЕЛЬ</a:t>
            </a:r>
            <a:endParaRPr lang="ru-RU" sz="16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Text 5">
            <a:extLst>
              <a:ext uri="{FF2B5EF4-FFF2-40B4-BE49-F238E27FC236}">
                <a16:creationId xmlns:a16="http://schemas.microsoft.com/office/drawing/2014/main" id="{6F817265-DC2A-EB87-0544-91FD1198DD62}"/>
              </a:ext>
            </a:extLst>
          </p:cNvPr>
          <p:cNvSpPr/>
          <p:nvPr/>
        </p:nvSpPr>
        <p:spPr>
          <a:xfrm>
            <a:off x="635316" y="3697124"/>
            <a:ext cx="11460480" cy="36576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600" b="1" kern="0" spc="267" noProof="1">
                <a:solidFill>
                  <a:srgbClr val="027A87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К КОНЦУ ЭТОЙ СЕССИИ ВЫ СМОЖЕТЕ:</a:t>
            </a:r>
            <a:endParaRPr lang="ru-RU" sz="16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Shape 6">
            <a:extLst>
              <a:ext uri="{FF2B5EF4-FFF2-40B4-BE49-F238E27FC236}">
                <a16:creationId xmlns:a16="http://schemas.microsoft.com/office/drawing/2014/main" id="{5E8519A8-74C3-BFF4-93F3-C460F9153580}"/>
              </a:ext>
            </a:extLst>
          </p:cNvPr>
          <p:cNvSpPr/>
          <p:nvPr/>
        </p:nvSpPr>
        <p:spPr>
          <a:xfrm>
            <a:off x="757236" y="4282340"/>
            <a:ext cx="487680" cy="487680"/>
          </a:xfrm>
          <a:prstGeom prst="ellipse">
            <a:avLst/>
          </a:prstGeom>
          <a:solidFill>
            <a:srgbClr val="E8940A"/>
          </a:solidFill>
          <a:ln w="12700">
            <a:solidFill>
              <a:srgbClr val="E8940A"/>
            </a:solidFill>
            <a:prstDash val="solid"/>
          </a:ln>
        </p:spPr>
        <p:txBody>
          <a:bodyPr/>
          <a:lstStyle/>
          <a:p>
            <a:pPr defTabSz="1219170">
              <a:defRPr/>
            </a:pPr>
            <a:endParaRPr lang="ru-RU" sz="2667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Text 7">
            <a:extLst>
              <a:ext uri="{FF2B5EF4-FFF2-40B4-BE49-F238E27FC236}">
                <a16:creationId xmlns:a16="http://schemas.microsoft.com/office/drawing/2014/main" id="{5458B274-EF29-9F31-443C-06CB33084726}"/>
              </a:ext>
            </a:extLst>
          </p:cNvPr>
          <p:cNvSpPr/>
          <p:nvPr/>
        </p:nvSpPr>
        <p:spPr>
          <a:xfrm>
            <a:off x="757236" y="4282340"/>
            <a:ext cx="487680" cy="48768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algn="ctr" defTabSz="1219170">
              <a:defRPr/>
            </a:pPr>
            <a:r>
              <a:rPr lang="ru-RU" sz="2133" b="1" noProof="1">
                <a:solidFill>
                  <a:srgbClr val="FFFFFF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1</a:t>
            </a:r>
            <a:endParaRPr lang="ru-RU" sz="2133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Text 8">
            <a:extLst>
              <a:ext uri="{FF2B5EF4-FFF2-40B4-BE49-F238E27FC236}">
                <a16:creationId xmlns:a16="http://schemas.microsoft.com/office/drawing/2014/main" id="{281AD1F6-022F-6371-FAED-2D2BE8B8B5CF}"/>
              </a:ext>
            </a:extLst>
          </p:cNvPr>
          <p:cNvSpPr/>
          <p:nvPr/>
        </p:nvSpPr>
        <p:spPr>
          <a:xfrm>
            <a:off x="1427796" y="4184804"/>
            <a:ext cx="10424160" cy="67056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867" noProof="1"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Диагностировать недостаток индикатора качества, лежащий в основе типичного вызова реализации профессионального развития педагогов, — и определять ответ в виде разработки на основе SCAFFOLD</a:t>
            </a:r>
            <a:endParaRPr lang="ru-RU" sz="1867" noProof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Shape 9">
            <a:extLst>
              <a:ext uri="{FF2B5EF4-FFF2-40B4-BE49-F238E27FC236}">
                <a16:creationId xmlns:a16="http://schemas.microsoft.com/office/drawing/2014/main" id="{56F8651E-B1E5-03F0-EA1B-8066B97A3A09}"/>
              </a:ext>
            </a:extLst>
          </p:cNvPr>
          <p:cNvSpPr/>
          <p:nvPr/>
        </p:nvSpPr>
        <p:spPr>
          <a:xfrm>
            <a:off x="757236" y="5101443"/>
            <a:ext cx="487680" cy="487680"/>
          </a:xfrm>
          <a:prstGeom prst="ellipse">
            <a:avLst/>
          </a:prstGeom>
          <a:solidFill>
            <a:srgbClr val="E8940A"/>
          </a:solidFill>
          <a:ln w="12700">
            <a:solidFill>
              <a:srgbClr val="E8940A"/>
            </a:solidFill>
            <a:prstDash val="solid"/>
          </a:ln>
        </p:spPr>
        <p:txBody>
          <a:bodyPr/>
          <a:lstStyle/>
          <a:p>
            <a:pPr defTabSz="1219170">
              <a:defRPr/>
            </a:pPr>
            <a:endParaRPr lang="ru-RU" sz="2667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Text 10">
            <a:extLst>
              <a:ext uri="{FF2B5EF4-FFF2-40B4-BE49-F238E27FC236}">
                <a16:creationId xmlns:a16="http://schemas.microsoft.com/office/drawing/2014/main" id="{18E8BDF0-BCBC-505F-E73D-8CD65DCBD03F}"/>
              </a:ext>
            </a:extLst>
          </p:cNvPr>
          <p:cNvSpPr/>
          <p:nvPr/>
        </p:nvSpPr>
        <p:spPr>
          <a:xfrm>
            <a:off x="757236" y="5113885"/>
            <a:ext cx="487680" cy="48768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algn="ctr" defTabSz="1219170">
              <a:defRPr/>
            </a:pPr>
            <a:r>
              <a:rPr lang="ru-RU" sz="2133" b="1" noProof="1">
                <a:solidFill>
                  <a:srgbClr val="FFFFFF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2</a:t>
            </a:r>
            <a:endParaRPr lang="ru-RU" sz="2133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Text 11">
            <a:extLst>
              <a:ext uri="{FF2B5EF4-FFF2-40B4-BE49-F238E27FC236}">
                <a16:creationId xmlns:a16="http://schemas.microsoft.com/office/drawing/2014/main" id="{5ACB02BB-72FE-873E-9104-4D1F5A81DEE1}"/>
              </a:ext>
            </a:extLst>
          </p:cNvPr>
          <p:cNvSpPr/>
          <p:nvPr/>
        </p:nvSpPr>
        <p:spPr>
          <a:xfrm>
            <a:off x="1427796" y="5016349"/>
            <a:ext cx="10424160" cy="67056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867" noProof="1"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Распознавать, где один и тот же вызов выглядит по-разному на разных уровнях образования и в разных ролях — и называть это различие, а не замалчивать его</a:t>
            </a:r>
            <a:endParaRPr lang="ru-RU" sz="1867" noProof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Shape 12">
            <a:extLst>
              <a:ext uri="{FF2B5EF4-FFF2-40B4-BE49-F238E27FC236}">
                <a16:creationId xmlns:a16="http://schemas.microsoft.com/office/drawing/2014/main" id="{97A8C3D1-AD7D-F354-CB6F-9BCDA522182E}"/>
              </a:ext>
            </a:extLst>
          </p:cNvPr>
          <p:cNvSpPr/>
          <p:nvPr/>
        </p:nvSpPr>
        <p:spPr>
          <a:xfrm>
            <a:off x="757236" y="5821021"/>
            <a:ext cx="487680" cy="487680"/>
          </a:xfrm>
          <a:prstGeom prst="ellipse">
            <a:avLst/>
          </a:prstGeom>
          <a:solidFill>
            <a:srgbClr val="E8940A"/>
          </a:solidFill>
          <a:ln w="12700">
            <a:solidFill>
              <a:srgbClr val="E8940A"/>
            </a:solidFill>
            <a:prstDash val="solid"/>
          </a:ln>
        </p:spPr>
        <p:txBody>
          <a:bodyPr/>
          <a:lstStyle/>
          <a:p>
            <a:pPr defTabSz="1219170">
              <a:defRPr/>
            </a:pPr>
            <a:endParaRPr lang="ru-RU" sz="2667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Text 13">
            <a:extLst>
              <a:ext uri="{FF2B5EF4-FFF2-40B4-BE49-F238E27FC236}">
                <a16:creationId xmlns:a16="http://schemas.microsoft.com/office/drawing/2014/main" id="{9345D503-F050-780C-F3A4-485ABEECC852}"/>
              </a:ext>
            </a:extLst>
          </p:cNvPr>
          <p:cNvSpPr/>
          <p:nvPr/>
        </p:nvSpPr>
        <p:spPr>
          <a:xfrm>
            <a:off x="757236" y="5808579"/>
            <a:ext cx="487680" cy="48768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algn="ctr" defTabSz="1219170">
              <a:defRPr/>
            </a:pPr>
            <a:r>
              <a:rPr lang="ru-RU" sz="2133" b="1" noProof="1">
                <a:solidFill>
                  <a:srgbClr val="FFFFFF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3</a:t>
            </a:r>
            <a:endParaRPr lang="ru-RU" sz="2133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Text 14">
            <a:extLst>
              <a:ext uri="{FF2B5EF4-FFF2-40B4-BE49-F238E27FC236}">
                <a16:creationId xmlns:a16="http://schemas.microsoft.com/office/drawing/2014/main" id="{BD3952CC-A7EA-3B49-994A-826CB359406B}"/>
              </a:ext>
            </a:extLst>
          </p:cNvPr>
          <p:cNvSpPr/>
          <p:nvPr/>
        </p:nvSpPr>
        <p:spPr>
          <a:xfrm>
            <a:off x="1427796" y="5723485"/>
            <a:ext cx="10424160" cy="67056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867" noProof="1"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Определять вызовы, наиболее срочные для вашего национального и секторального контекста</a:t>
            </a:r>
            <a:endParaRPr lang="ru-RU" sz="1867" noProof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1F6E5BBD-A9EC-687F-0769-C15B858E0A5B}"/>
              </a:ext>
            </a:extLst>
          </p:cNvPr>
          <p:cNvSpPr>
            <a:spLocks noChangeArrowheads="1"/>
          </p:cNvSpPr>
          <p:nvPr/>
        </p:nvSpPr>
        <p:spPr bwMode="auto">
          <a:xfrm>
            <a:off x="879156" y="1854036"/>
            <a:ext cx="10677528" cy="14773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1800" b="0" i="0" u="none" strike="noStrike" cap="none" normalizeH="0" baseline="0" noProof="1">
                <a:ln>
                  <a:noFill/>
                </a:ln>
                <a:solidFill>
                  <a:srgbClr val="000000"/>
                </a:solidFill>
                <a:effectLst/>
                <a:latin typeface="-webkit-standard"/>
              </a:rPr>
              <a:t>Самое ценное знание в зале специалистов по профессиональному развитию педагогов — это их накопленный опыт того, что идёт не так и как они на это реагировали. Эта сессия структурирует это знание — связывая каждый вызов со сбоем в одном из индикаторов качества и ответом в виде замысла на основе SCAFFOLD. Затем вы проверите свой собственный замысел, разработанный утром, на соответствие тем же вызовам.</a:t>
            </a:r>
            <a:endParaRPr kumimoji="0" lang="ru-RU" sz="1800" b="0" i="0" u="none" strike="noStrike" cap="none" normalizeH="0" baseline="0" noProof="1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9523402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40310A6-AA7B-094D-CDB3-EE33E01C168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5317" y="422444"/>
            <a:ext cx="9926936" cy="1080120"/>
          </a:xfrm>
        </p:spPr>
        <p:txBody>
          <a:bodyPr>
            <a:normAutofit/>
          </a:bodyPr>
          <a:lstStyle/>
          <a:p>
            <a:r>
              <a:rPr lang="ru-RU" noProof="1"/>
              <a:t>SCAFFOLD в действии прямо сейчас</a:t>
            </a:r>
          </a:p>
        </p:txBody>
      </p:sp>
      <p:sp>
        <p:nvSpPr>
          <p:cNvPr id="21" name="Text 2">
            <a:extLst>
              <a:ext uri="{FF2B5EF4-FFF2-40B4-BE49-F238E27FC236}">
                <a16:creationId xmlns:a16="http://schemas.microsoft.com/office/drawing/2014/main" id="{C41807A5-D93F-F4FD-4574-1D6D14AD0747}"/>
              </a:ext>
            </a:extLst>
          </p:cNvPr>
          <p:cNvSpPr/>
          <p:nvPr/>
        </p:nvSpPr>
        <p:spPr>
          <a:xfrm>
            <a:off x="635317" y="1360576"/>
            <a:ext cx="11460480" cy="60960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867" b="1" noProof="1">
                <a:solidFill>
                  <a:srgbClr val="16303A"/>
                </a:solidFill>
                <a:latin typeface="Arial" panose="020B0604020202020204" pitchFamily="34" charset="0"/>
                <a:ea typeface="Trebuchet MS" pitchFamily="34" charset="-122"/>
                <a:cs typeface="Arial" panose="020B0604020202020204" pitchFamily="34" charset="0"/>
              </a:rPr>
              <a:t>Эта сессия сама по себе является активностью на основе SCAFFOLD</a:t>
            </a:r>
            <a:endParaRPr lang="ru-RU" sz="1867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2" name="Text 3">
            <a:extLst>
              <a:ext uri="{FF2B5EF4-FFF2-40B4-BE49-F238E27FC236}">
                <a16:creationId xmlns:a16="http://schemas.microsoft.com/office/drawing/2014/main" id="{A20A9646-21D5-17CF-5F9E-BCD6006D9811}"/>
              </a:ext>
            </a:extLst>
          </p:cNvPr>
          <p:cNvSpPr/>
          <p:nvPr/>
        </p:nvSpPr>
        <p:spPr>
          <a:xfrm>
            <a:off x="635317" y="2042100"/>
            <a:ext cx="11460480" cy="42672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867" noProof="1"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Обратите внимание на то, что мы делаем, — и как это моделирует методы, с которыми вы только что работали при разработке.</a:t>
            </a:r>
            <a:endParaRPr lang="ru-RU" sz="1867" noProof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3" name="Shape 4">
            <a:extLst>
              <a:ext uri="{FF2B5EF4-FFF2-40B4-BE49-F238E27FC236}">
                <a16:creationId xmlns:a16="http://schemas.microsoft.com/office/drawing/2014/main" id="{C71BDE3C-5BAA-DB55-7FCF-69C049970729}"/>
              </a:ext>
            </a:extLst>
          </p:cNvPr>
          <p:cNvSpPr/>
          <p:nvPr/>
        </p:nvSpPr>
        <p:spPr>
          <a:xfrm>
            <a:off x="635317" y="2716996"/>
            <a:ext cx="11460480" cy="1158240"/>
          </a:xfrm>
          <a:prstGeom prst="rect">
            <a:avLst/>
          </a:prstGeom>
          <a:solidFill>
            <a:srgbClr val="F7FAFB"/>
          </a:solidFill>
          <a:ln w="6350">
            <a:solidFill>
              <a:srgbClr val="B2D8DE"/>
            </a:solidFill>
            <a:prstDash val="solid"/>
          </a:ln>
        </p:spPr>
        <p:txBody>
          <a:bodyPr/>
          <a:lstStyle/>
          <a:p>
            <a:pPr defTabSz="1219170">
              <a:defRPr/>
            </a:pPr>
            <a:endParaRPr lang="ru-RU" sz="2667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4" name="Shape 5">
            <a:extLst>
              <a:ext uri="{FF2B5EF4-FFF2-40B4-BE49-F238E27FC236}">
                <a16:creationId xmlns:a16="http://schemas.microsoft.com/office/drawing/2014/main" id="{F5DA4FD2-3A1D-36AA-FB3D-D2BBE9200599}"/>
              </a:ext>
            </a:extLst>
          </p:cNvPr>
          <p:cNvSpPr/>
          <p:nvPr/>
        </p:nvSpPr>
        <p:spPr>
          <a:xfrm>
            <a:off x="635317" y="2716996"/>
            <a:ext cx="97536" cy="1158240"/>
          </a:xfrm>
          <a:prstGeom prst="rect">
            <a:avLst/>
          </a:prstGeom>
          <a:solidFill>
            <a:srgbClr val="E8940A"/>
          </a:solidFill>
          <a:ln w="12700">
            <a:solidFill>
              <a:srgbClr val="E8940A"/>
            </a:solidFill>
            <a:prstDash val="solid"/>
          </a:ln>
        </p:spPr>
        <p:txBody>
          <a:bodyPr/>
          <a:lstStyle/>
          <a:p>
            <a:pPr defTabSz="1219170">
              <a:defRPr/>
            </a:pPr>
            <a:endParaRPr lang="ru-RU" sz="2667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5" name="Text 6">
            <a:extLst>
              <a:ext uri="{FF2B5EF4-FFF2-40B4-BE49-F238E27FC236}">
                <a16:creationId xmlns:a16="http://schemas.microsoft.com/office/drawing/2014/main" id="{E1E35503-FFE1-D959-F17F-660110452072}"/>
              </a:ext>
            </a:extLst>
          </p:cNvPr>
          <p:cNvSpPr/>
          <p:nvPr/>
        </p:nvSpPr>
        <p:spPr>
          <a:xfrm>
            <a:off x="940117" y="2838916"/>
            <a:ext cx="2194560" cy="341376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333" b="1" kern="0" spc="200" noProof="1">
                <a:solidFill>
                  <a:srgbClr val="E8940A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ПРИНЦИП 3.1</a:t>
            </a:r>
            <a:endParaRPr lang="ru-RU" sz="1333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6" name="Text 7">
            <a:extLst>
              <a:ext uri="{FF2B5EF4-FFF2-40B4-BE49-F238E27FC236}">
                <a16:creationId xmlns:a16="http://schemas.microsoft.com/office/drawing/2014/main" id="{2C04BDF9-CC58-B8BE-6803-00BB43E48B4B}"/>
              </a:ext>
            </a:extLst>
          </p:cNvPr>
          <p:cNvSpPr/>
          <p:nvPr/>
        </p:nvSpPr>
        <p:spPr>
          <a:xfrm>
            <a:off x="940117" y="3215640"/>
            <a:ext cx="3901440" cy="42672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867" b="1" noProof="1">
                <a:solidFill>
                  <a:srgbClr val="16303A"/>
                </a:solidFill>
                <a:latin typeface="Arial" panose="020B0604020202020204" pitchFamily="34" charset="0"/>
                <a:ea typeface="Trebuchet MS" pitchFamily="34" charset="-122"/>
                <a:cs typeface="Arial" panose="020B0604020202020204" pitchFamily="34" charset="0"/>
              </a:rPr>
              <a:t>Обучение на реальных примерах</a:t>
            </a:r>
            <a:endParaRPr lang="ru-RU" sz="1867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7" name="Text 8">
            <a:extLst>
              <a:ext uri="{FF2B5EF4-FFF2-40B4-BE49-F238E27FC236}">
                <a16:creationId xmlns:a16="http://schemas.microsoft.com/office/drawing/2014/main" id="{324DFC2F-EED7-41C3-ED66-19B1A85548C8}"/>
              </a:ext>
            </a:extLst>
          </p:cNvPr>
          <p:cNvSpPr/>
          <p:nvPr/>
        </p:nvSpPr>
        <p:spPr>
          <a:xfrm>
            <a:off x="4963477" y="2838916"/>
            <a:ext cx="7010400" cy="950976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600" noProof="1">
                <a:solidFill>
                  <a:srgbClr val="3D6673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Каждый вызов на карточке взят из профессионального развития педагогов в его реальной реализации — не теоретический сбой, а то, что вы, вероятно, пережили на практике.</a:t>
            </a:r>
            <a:endParaRPr lang="ru-RU" sz="16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8" name="Shape 9">
            <a:extLst>
              <a:ext uri="{FF2B5EF4-FFF2-40B4-BE49-F238E27FC236}">
                <a16:creationId xmlns:a16="http://schemas.microsoft.com/office/drawing/2014/main" id="{3475AE7D-1042-E3E3-B36B-8A23CF78A099}"/>
              </a:ext>
            </a:extLst>
          </p:cNvPr>
          <p:cNvSpPr/>
          <p:nvPr/>
        </p:nvSpPr>
        <p:spPr>
          <a:xfrm>
            <a:off x="635317" y="3997156"/>
            <a:ext cx="11460480" cy="1158240"/>
          </a:xfrm>
          <a:prstGeom prst="rect">
            <a:avLst/>
          </a:prstGeom>
          <a:solidFill>
            <a:srgbClr val="F7FAFB"/>
          </a:solidFill>
          <a:ln w="6350">
            <a:solidFill>
              <a:srgbClr val="B2D8DE"/>
            </a:solidFill>
            <a:prstDash val="solid"/>
          </a:ln>
        </p:spPr>
        <p:txBody>
          <a:bodyPr/>
          <a:lstStyle/>
          <a:p>
            <a:pPr defTabSz="1219170">
              <a:defRPr/>
            </a:pPr>
            <a:endParaRPr lang="ru-RU" sz="2667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9" name="Shape 10">
            <a:extLst>
              <a:ext uri="{FF2B5EF4-FFF2-40B4-BE49-F238E27FC236}">
                <a16:creationId xmlns:a16="http://schemas.microsoft.com/office/drawing/2014/main" id="{ACDD62A5-EB53-C31B-16C7-2D1FCC101FCB}"/>
              </a:ext>
            </a:extLst>
          </p:cNvPr>
          <p:cNvSpPr/>
          <p:nvPr/>
        </p:nvSpPr>
        <p:spPr>
          <a:xfrm>
            <a:off x="635317" y="3997156"/>
            <a:ext cx="97536" cy="1158240"/>
          </a:xfrm>
          <a:prstGeom prst="rect">
            <a:avLst/>
          </a:prstGeom>
          <a:solidFill>
            <a:srgbClr val="E8940A"/>
          </a:solidFill>
          <a:ln w="12700">
            <a:solidFill>
              <a:srgbClr val="E8940A"/>
            </a:solidFill>
            <a:prstDash val="solid"/>
          </a:ln>
        </p:spPr>
        <p:txBody>
          <a:bodyPr/>
          <a:lstStyle/>
          <a:p>
            <a:pPr defTabSz="1219170">
              <a:defRPr/>
            </a:pPr>
            <a:endParaRPr lang="ru-RU" sz="2667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0" name="Text 11">
            <a:extLst>
              <a:ext uri="{FF2B5EF4-FFF2-40B4-BE49-F238E27FC236}">
                <a16:creationId xmlns:a16="http://schemas.microsoft.com/office/drawing/2014/main" id="{9B7FB3DD-A664-CE9D-8EBF-1DAF23E19616}"/>
              </a:ext>
            </a:extLst>
          </p:cNvPr>
          <p:cNvSpPr/>
          <p:nvPr/>
        </p:nvSpPr>
        <p:spPr>
          <a:xfrm>
            <a:off x="940117" y="4119076"/>
            <a:ext cx="2194560" cy="341376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333" b="1" kern="0" spc="200" noProof="1">
                <a:solidFill>
                  <a:srgbClr val="E8940A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ПРИНЦИП 3.4</a:t>
            </a:r>
            <a:endParaRPr lang="ru-RU" sz="1333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1" name="Text 12">
            <a:extLst>
              <a:ext uri="{FF2B5EF4-FFF2-40B4-BE49-F238E27FC236}">
                <a16:creationId xmlns:a16="http://schemas.microsoft.com/office/drawing/2014/main" id="{363A51AD-07E4-1290-23D3-5F6ABE92F802}"/>
              </a:ext>
            </a:extLst>
          </p:cNvPr>
          <p:cNvSpPr/>
          <p:nvPr/>
        </p:nvSpPr>
        <p:spPr>
          <a:xfrm>
            <a:off x="940117" y="4497028"/>
            <a:ext cx="3901440" cy="42672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867" b="1" noProof="1">
                <a:solidFill>
                  <a:srgbClr val="16303A"/>
                </a:solidFill>
                <a:latin typeface="Arial" panose="020B0604020202020204" pitchFamily="34" charset="0"/>
                <a:ea typeface="Trebuchet MS" pitchFamily="34" charset="-122"/>
                <a:cs typeface="Arial" panose="020B0604020202020204" pitchFamily="34" charset="0"/>
              </a:rPr>
              <a:t>Фасилитация, а не преподавание</a:t>
            </a:r>
            <a:endParaRPr lang="ru-RU" sz="1867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2" name="Text 13">
            <a:extLst>
              <a:ext uri="{FF2B5EF4-FFF2-40B4-BE49-F238E27FC236}">
                <a16:creationId xmlns:a16="http://schemas.microsoft.com/office/drawing/2014/main" id="{38516AD5-ADA4-5B08-C295-86095DDA4FA0}"/>
              </a:ext>
            </a:extLst>
          </p:cNvPr>
          <p:cNvSpPr/>
          <p:nvPr/>
        </p:nvSpPr>
        <p:spPr>
          <a:xfrm>
            <a:off x="4963477" y="4119076"/>
            <a:ext cx="7010400" cy="950976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600" noProof="1">
                <a:solidFill>
                  <a:srgbClr val="3D6673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Экспертиза — ваша. Фасилитатор структурирует то, как она проявляется — формат бинго — это структура, ваш опыт — содержание.</a:t>
            </a:r>
            <a:endParaRPr lang="ru-RU" sz="16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3" name="Shape 14">
            <a:extLst>
              <a:ext uri="{FF2B5EF4-FFF2-40B4-BE49-F238E27FC236}">
                <a16:creationId xmlns:a16="http://schemas.microsoft.com/office/drawing/2014/main" id="{F9B51BB1-689C-D941-343C-EA0E144AB3E1}"/>
              </a:ext>
            </a:extLst>
          </p:cNvPr>
          <p:cNvSpPr/>
          <p:nvPr/>
        </p:nvSpPr>
        <p:spPr>
          <a:xfrm>
            <a:off x="635317" y="5277316"/>
            <a:ext cx="11460480" cy="1158240"/>
          </a:xfrm>
          <a:prstGeom prst="rect">
            <a:avLst/>
          </a:prstGeom>
          <a:solidFill>
            <a:srgbClr val="F7FAFB"/>
          </a:solidFill>
          <a:ln w="6350">
            <a:solidFill>
              <a:srgbClr val="B2D8DE"/>
            </a:solidFill>
            <a:prstDash val="solid"/>
          </a:ln>
        </p:spPr>
        <p:txBody>
          <a:bodyPr/>
          <a:lstStyle/>
          <a:p>
            <a:pPr defTabSz="1219170">
              <a:defRPr/>
            </a:pPr>
            <a:endParaRPr lang="ru-RU" sz="2667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4" name="Shape 15">
            <a:extLst>
              <a:ext uri="{FF2B5EF4-FFF2-40B4-BE49-F238E27FC236}">
                <a16:creationId xmlns:a16="http://schemas.microsoft.com/office/drawing/2014/main" id="{284FBDAA-773D-8791-F657-4ECBDC2BDFC9}"/>
              </a:ext>
            </a:extLst>
          </p:cNvPr>
          <p:cNvSpPr/>
          <p:nvPr/>
        </p:nvSpPr>
        <p:spPr>
          <a:xfrm>
            <a:off x="635317" y="5277316"/>
            <a:ext cx="97536" cy="1158240"/>
          </a:xfrm>
          <a:prstGeom prst="rect">
            <a:avLst/>
          </a:prstGeom>
          <a:solidFill>
            <a:srgbClr val="E8940A"/>
          </a:solidFill>
          <a:ln w="12700">
            <a:solidFill>
              <a:srgbClr val="E8940A"/>
            </a:solidFill>
            <a:prstDash val="solid"/>
          </a:ln>
        </p:spPr>
        <p:txBody>
          <a:bodyPr/>
          <a:lstStyle/>
          <a:p>
            <a:pPr defTabSz="1219170">
              <a:defRPr/>
            </a:pPr>
            <a:endParaRPr lang="ru-RU" sz="2667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5" name="Text 16">
            <a:extLst>
              <a:ext uri="{FF2B5EF4-FFF2-40B4-BE49-F238E27FC236}">
                <a16:creationId xmlns:a16="http://schemas.microsoft.com/office/drawing/2014/main" id="{C30FFB1F-6244-E5A2-C30C-9B434BE4B967}"/>
              </a:ext>
            </a:extLst>
          </p:cNvPr>
          <p:cNvSpPr/>
          <p:nvPr/>
        </p:nvSpPr>
        <p:spPr>
          <a:xfrm>
            <a:off x="940117" y="5399236"/>
            <a:ext cx="2194560" cy="341376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333" b="1" kern="0" spc="200" noProof="1">
                <a:solidFill>
                  <a:srgbClr val="E8940A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МЕТОД 4.4</a:t>
            </a:r>
            <a:endParaRPr lang="ru-RU" sz="1333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6" name="Text 17">
            <a:extLst>
              <a:ext uri="{FF2B5EF4-FFF2-40B4-BE49-F238E27FC236}">
                <a16:creationId xmlns:a16="http://schemas.microsoft.com/office/drawing/2014/main" id="{A17F3747-F0A2-9D0A-BC4C-2A30826A74A8}"/>
              </a:ext>
            </a:extLst>
          </p:cNvPr>
          <p:cNvSpPr/>
          <p:nvPr/>
        </p:nvSpPr>
        <p:spPr>
          <a:xfrm>
            <a:off x="940117" y="5667460"/>
            <a:ext cx="3901440" cy="42672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867" b="1" noProof="1">
                <a:solidFill>
                  <a:srgbClr val="16303A"/>
                </a:solidFill>
                <a:latin typeface="Arial" panose="020B0604020202020204" pitchFamily="34" charset="0"/>
                <a:ea typeface="Trebuchet MS" pitchFamily="34" charset="-122"/>
                <a:cs typeface="Arial" panose="020B0604020202020204" pitchFamily="34" charset="0"/>
              </a:rPr>
              <a:t>Кооперативное обучение</a:t>
            </a:r>
            <a:endParaRPr lang="ru-RU" sz="1867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7" name="Text 18">
            <a:extLst>
              <a:ext uri="{FF2B5EF4-FFF2-40B4-BE49-F238E27FC236}">
                <a16:creationId xmlns:a16="http://schemas.microsoft.com/office/drawing/2014/main" id="{184911C6-3206-AAEB-89CF-C18F53CA6BFD}"/>
              </a:ext>
            </a:extLst>
          </p:cNvPr>
          <p:cNvSpPr/>
          <p:nvPr/>
        </p:nvSpPr>
        <p:spPr>
          <a:xfrm>
            <a:off x="4963477" y="5399236"/>
            <a:ext cx="7010400" cy="950976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600" noProof="1">
                <a:solidFill>
                  <a:srgbClr val="3D6673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Разные роли и контексты за одним столом дают более острый анализ, чем мог бы дать любой отдельный человек. Ожидаются разные ответы для разных реальностей.</a:t>
            </a:r>
            <a:endParaRPr lang="ru-RU" sz="16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0803547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E1E8030-64E0-7AD9-102F-5C49FD951F0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hape 1">
            <a:extLst>
              <a:ext uri="{FF2B5EF4-FFF2-40B4-BE49-F238E27FC236}">
                <a16:creationId xmlns:a16="http://schemas.microsoft.com/office/drawing/2014/main" id="{980B1830-57E6-5553-DDA0-D012915EFB66}"/>
              </a:ext>
            </a:extLst>
          </p:cNvPr>
          <p:cNvSpPr/>
          <p:nvPr/>
        </p:nvSpPr>
        <p:spPr>
          <a:xfrm>
            <a:off x="612458" y="2093383"/>
            <a:ext cx="196196" cy="2747132"/>
          </a:xfrm>
          <a:prstGeom prst="rect">
            <a:avLst/>
          </a:prstGeom>
          <a:solidFill>
            <a:srgbClr val="FFDC00"/>
          </a:solidFill>
          <a:ln w="12700">
            <a:solidFill>
              <a:srgbClr val="FFDC00"/>
            </a:solidFill>
            <a:prstDash val="solid"/>
          </a:ln>
        </p:spPr>
        <p:txBody>
          <a:bodyPr/>
          <a:lstStyle/>
          <a:p>
            <a:endParaRPr lang="ru-RU" sz="2400" noProof="1"/>
          </a:p>
        </p:txBody>
      </p:sp>
      <p:sp>
        <p:nvSpPr>
          <p:cNvPr id="4" name="Text 2">
            <a:extLst>
              <a:ext uri="{FF2B5EF4-FFF2-40B4-BE49-F238E27FC236}">
                <a16:creationId xmlns:a16="http://schemas.microsoft.com/office/drawing/2014/main" id="{D8FC5389-BCA6-D96B-212A-91C4C18A26F5}"/>
              </a:ext>
            </a:extLst>
          </p:cNvPr>
          <p:cNvSpPr/>
          <p:nvPr/>
        </p:nvSpPr>
        <p:spPr>
          <a:xfrm>
            <a:off x="914400" y="1975104"/>
            <a:ext cx="9144000" cy="146304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lvl="0">
              <a:defRPr/>
            </a:pPr>
            <a:endParaRPr lang="ru-RU" sz="3200" noProof="1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1663AA1F-0F69-75FD-9B3F-03591431E44A}"/>
              </a:ext>
            </a:extLst>
          </p:cNvPr>
          <p:cNvSpPr txBox="1"/>
          <p:nvPr/>
        </p:nvSpPr>
        <p:spPr>
          <a:xfrm>
            <a:off x="914400" y="1975104"/>
            <a:ext cx="9144000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ru-RU" sz="2400" i="1" noProof="1">
                <a:solidFill>
                  <a:srgbClr val="D6F0F3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«Этим утром вы разработали сессию профессионального развития педагогов для конкретной группы педагогов. Вы приняли хорошие решения. Теперь мы проверим эти решения на реальности реализации — не в теории, а используя накопленный опыт всех присутствующих в этой аудитории.»</a:t>
            </a:r>
            <a:endParaRPr lang="ru-RU" sz="2400" noProof="1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DBB8C7AA-EF1F-FABB-1DDE-D99FBDD6BD7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2458" y="545719"/>
            <a:ext cx="10944225" cy="1080120"/>
          </a:xfrm>
        </p:spPr>
        <p:txBody>
          <a:bodyPr/>
          <a:lstStyle/>
          <a:p>
            <a:r>
              <a:rPr lang="ru-RU" sz="2667" noProof="1">
                <a:solidFill>
                  <a:srgbClr val="FFFFFF"/>
                </a:solidFill>
                <a:latin typeface="Trebuchet MS" pitchFamily="34" charset="0"/>
                <a:ea typeface="Trebuchet MS" pitchFamily="34" charset="-122"/>
                <a:cs typeface="Trebuchet MS" pitchFamily="34" charset="-120"/>
              </a:rPr>
              <a:t>От дизайна к реализации</a:t>
            </a:r>
            <a:endParaRPr lang="ru-RU" noProof="1"/>
          </a:p>
        </p:txBody>
      </p:sp>
      <p:sp>
        <p:nvSpPr>
          <p:cNvPr id="11" name="Text 6">
            <a:extLst>
              <a:ext uri="{FF2B5EF4-FFF2-40B4-BE49-F238E27FC236}">
                <a16:creationId xmlns:a16="http://schemas.microsoft.com/office/drawing/2014/main" id="{65FC83FA-F4D1-E3BD-F4B7-1FD86D9AE627}"/>
              </a:ext>
            </a:extLst>
          </p:cNvPr>
          <p:cNvSpPr/>
          <p:nvPr/>
        </p:nvSpPr>
        <p:spPr>
          <a:xfrm>
            <a:off x="914401" y="4263361"/>
            <a:ext cx="8864081" cy="48768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2400" b="1" noProof="1">
                <a:solidFill>
                  <a:schemeClr val="bg1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Необходимые нам знания уже здесь. Моя задача — структурировать то, как мы их используем.</a:t>
            </a:r>
            <a:endParaRPr lang="ru-RU" sz="2400" noProof="1">
              <a:solidFill>
                <a:schemeClr val="bg1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29320520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24058709-B6E2-336A-FE39-976B122FE98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2667" noProof="1">
                <a:latin typeface="Arial" panose="020B0604020202020204" pitchFamily="34" charset="0"/>
                <a:ea typeface="Trebuchet MS" pitchFamily="34" charset="-122"/>
              </a:rPr>
              <a:t>Заполните ячейку 9</a:t>
            </a:r>
            <a:endParaRPr lang="ru-RU" noProof="1">
              <a:latin typeface="Arial" panose="020B0604020202020204" pitchFamily="34" charset="0"/>
            </a:endParaRPr>
          </a:p>
        </p:txBody>
      </p:sp>
      <p:sp>
        <p:nvSpPr>
          <p:cNvPr id="4" name="Text 5">
            <a:extLst>
              <a:ext uri="{FF2B5EF4-FFF2-40B4-BE49-F238E27FC236}">
                <a16:creationId xmlns:a16="http://schemas.microsoft.com/office/drawing/2014/main" id="{C0511DB3-4262-838F-8642-754F87D8FBC3}"/>
              </a:ext>
            </a:extLst>
          </p:cNvPr>
          <p:cNvSpPr/>
          <p:nvPr/>
        </p:nvSpPr>
        <p:spPr>
          <a:xfrm>
            <a:off x="635318" y="1338632"/>
            <a:ext cx="10921365" cy="73152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733" noProof="1">
                <a:solidFill>
                  <a:schemeClr val="bg1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До начала бинго у вашего стола есть две минуты, чтобы написать собственный вызов в ячейке 9 — пустой ячейке на вашей карточке.</a:t>
            </a:r>
            <a:endParaRPr lang="ru-RU" sz="1733" noProof="1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Shape 6">
            <a:extLst>
              <a:ext uri="{FF2B5EF4-FFF2-40B4-BE49-F238E27FC236}">
                <a16:creationId xmlns:a16="http://schemas.microsoft.com/office/drawing/2014/main" id="{4C86A7B3-C72A-47A3-6C72-DDD1BE206F8E}"/>
              </a:ext>
            </a:extLst>
          </p:cNvPr>
          <p:cNvSpPr/>
          <p:nvPr/>
        </p:nvSpPr>
        <p:spPr>
          <a:xfrm>
            <a:off x="635317" y="2253032"/>
            <a:ext cx="5120640" cy="3352800"/>
          </a:xfrm>
          <a:prstGeom prst="rect">
            <a:avLst/>
          </a:prstGeom>
          <a:solidFill>
            <a:srgbClr val="D6F0F3"/>
          </a:solidFill>
          <a:ln w="7620">
            <a:solidFill>
              <a:srgbClr val="B2D8DE"/>
            </a:solidFill>
            <a:prstDash val="solid"/>
          </a:ln>
        </p:spPr>
        <p:txBody>
          <a:bodyPr/>
          <a:lstStyle/>
          <a:p>
            <a:pPr defTabSz="1219170">
              <a:defRPr/>
            </a:pPr>
            <a:endParaRPr lang="ru-RU" sz="16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Text 7">
            <a:extLst>
              <a:ext uri="{FF2B5EF4-FFF2-40B4-BE49-F238E27FC236}">
                <a16:creationId xmlns:a16="http://schemas.microsoft.com/office/drawing/2014/main" id="{22DB16C2-15A4-1797-58A7-0EB8A9C44FC0}"/>
              </a:ext>
            </a:extLst>
          </p:cNvPr>
          <p:cNvSpPr/>
          <p:nvPr/>
        </p:nvSpPr>
        <p:spPr>
          <a:xfrm>
            <a:off x="879157" y="2374952"/>
            <a:ext cx="5120640" cy="36576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600" b="1" kern="0" spc="267" noProof="1">
                <a:solidFill>
                  <a:srgbClr val="027A87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ЧТО ПИСАТЬ</a:t>
            </a:r>
            <a:endParaRPr lang="ru-RU" sz="16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Shape 8">
            <a:extLst>
              <a:ext uri="{FF2B5EF4-FFF2-40B4-BE49-F238E27FC236}">
                <a16:creationId xmlns:a16="http://schemas.microsoft.com/office/drawing/2014/main" id="{CE64FBC1-C4FF-337A-C985-0D3810B18455}"/>
              </a:ext>
            </a:extLst>
          </p:cNvPr>
          <p:cNvSpPr/>
          <p:nvPr/>
        </p:nvSpPr>
        <p:spPr>
          <a:xfrm>
            <a:off x="940117" y="2874824"/>
            <a:ext cx="243840" cy="243840"/>
          </a:xfrm>
          <a:prstGeom prst="ellipse">
            <a:avLst/>
          </a:prstGeom>
          <a:solidFill>
            <a:srgbClr val="027A87"/>
          </a:solidFill>
          <a:ln w="12700">
            <a:solidFill>
              <a:srgbClr val="027A87"/>
            </a:solidFill>
            <a:prstDash val="solid"/>
          </a:ln>
        </p:spPr>
        <p:txBody>
          <a:bodyPr/>
          <a:lstStyle/>
          <a:p>
            <a:pPr defTabSz="1219170">
              <a:defRPr/>
            </a:pPr>
            <a:endParaRPr lang="ru-RU" sz="16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Text 9">
            <a:extLst>
              <a:ext uri="{FF2B5EF4-FFF2-40B4-BE49-F238E27FC236}">
                <a16:creationId xmlns:a16="http://schemas.microsoft.com/office/drawing/2014/main" id="{2866F5A3-4D22-8DA0-16D3-CF429408CFA4}"/>
              </a:ext>
            </a:extLst>
          </p:cNvPr>
          <p:cNvSpPr/>
          <p:nvPr/>
        </p:nvSpPr>
        <p:spPr>
          <a:xfrm>
            <a:off x="1366838" y="2801672"/>
            <a:ext cx="3982713" cy="792480"/>
          </a:xfrm>
          <a:prstGeom prst="rect">
            <a:avLst/>
          </a:prstGeom>
          <a:noFill/>
          <a:ln/>
        </p:spPr>
        <p:txBody>
          <a:bodyPr wrap="square" rtlCol="0" anchor="t"/>
          <a:lstStyle/>
          <a:p>
            <a:pPr defTabSz="1219170">
              <a:defRPr/>
            </a:pPr>
            <a:r>
              <a:rPr lang="ru-RU" sz="1600" noProof="1">
                <a:solidFill>
                  <a:srgbClr val="16303A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Вызов, специфичный для вашего уровня образования, роли или национального контекста</a:t>
            </a:r>
            <a:endParaRPr lang="ru-RU" sz="16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Shape 10">
            <a:extLst>
              <a:ext uri="{FF2B5EF4-FFF2-40B4-BE49-F238E27FC236}">
                <a16:creationId xmlns:a16="http://schemas.microsoft.com/office/drawing/2014/main" id="{B781D9F3-9326-DC8A-D298-75F2FF5BCAE8}"/>
              </a:ext>
            </a:extLst>
          </p:cNvPr>
          <p:cNvSpPr/>
          <p:nvPr/>
        </p:nvSpPr>
        <p:spPr>
          <a:xfrm>
            <a:off x="940117" y="3667304"/>
            <a:ext cx="243840" cy="243840"/>
          </a:xfrm>
          <a:prstGeom prst="ellipse">
            <a:avLst/>
          </a:prstGeom>
          <a:solidFill>
            <a:srgbClr val="027A87"/>
          </a:solidFill>
          <a:ln w="12700">
            <a:solidFill>
              <a:srgbClr val="027A87"/>
            </a:solidFill>
            <a:prstDash val="solid"/>
          </a:ln>
        </p:spPr>
        <p:txBody>
          <a:bodyPr/>
          <a:lstStyle/>
          <a:p>
            <a:pPr defTabSz="1219170">
              <a:defRPr/>
            </a:pPr>
            <a:endParaRPr lang="ru-RU" sz="16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Text 11">
            <a:extLst>
              <a:ext uri="{FF2B5EF4-FFF2-40B4-BE49-F238E27FC236}">
                <a16:creationId xmlns:a16="http://schemas.microsoft.com/office/drawing/2014/main" id="{236AB5DA-0639-3D7E-53B3-7DA608C8D270}"/>
              </a:ext>
            </a:extLst>
          </p:cNvPr>
          <p:cNvSpPr/>
          <p:nvPr/>
        </p:nvSpPr>
        <p:spPr>
          <a:xfrm>
            <a:off x="1366837" y="3594152"/>
            <a:ext cx="4693920" cy="792480"/>
          </a:xfrm>
          <a:prstGeom prst="rect">
            <a:avLst/>
          </a:prstGeom>
          <a:noFill/>
          <a:ln/>
        </p:spPr>
        <p:txBody>
          <a:bodyPr wrap="square" rtlCol="0" anchor="t"/>
          <a:lstStyle/>
          <a:p>
            <a:pPr defTabSz="1219170">
              <a:defRPr/>
            </a:pPr>
            <a:r>
              <a:rPr lang="ru-RU" sz="1600" noProof="1">
                <a:solidFill>
                  <a:srgbClr val="16303A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Нечто, не описанное на карточке</a:t>
            </a:r>
            <a:endParaRPr lang="ru-RU" sz="16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Shape 12">
            <a:extLst>
              <a:ext uri="{FF2B5EF4-FFF2-40B4-BE49-F238E27FC236}">
                <a16:creationId xmlns:a16="http://schemas.microsoft.com/office/drawing/2014/main" id="{EBBDC26D-25A2-7FFF-7E8A-E86A477C6502}"/>
              </a:ext>
            </a:extLst>
          </p:cNvPr>
          <p:cNvSpPr/>
          <p:nvPr/>
        </p:nvSpPr>
        <p:spPr>
          <a:xfrm>
            <a:off x="940117" y="4094024"/>
            <a:ext cx="243840" cy="243840"/>
          </a:xfrm>
          <a:prstGeom prst="ellipse">
            <a:avLst/>
          </a:prstGeom>
          <a:solidFill>
            <a:srgbClr val="027A87"/>
          </a:solidFill>
          <a:ln w="12700">
            <a:solidFill>
              <a:srgbClr val="027A87"/>
            </a:solidFill>
            <a:prstDash val="solid"/>
          </a:ln>
        </p:spPr>
        <p:txBody>
          <a:bodyPr/>
          <a:lstStyle/>
          <a:p>
            <a:pPr defTabSz="1219170">
              <a:defRPr/>
            </a:pPr>
            <a:endParaRPr lang="ru-RU" sz="16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Text 13">
            <a:extLst>
              <a:ext uri="{FF2B5EF4-FFF2-40B4-BE49-F238E27FC236}">
                <a16:creationId xmlns:a16="http://schemas.microsoft.com/office/drawing/2014/main" id="{415EAAD8-BB25-76ED-4408-A7A8F0B63EEE}"/>
              </a:ext>
            </a:extLst>
          </p:cNvPr>
          <p:cNvSpPr/>
          <p:nvPr/>
        </p:nvSpPr>
        <p:spPr>
          <a:xfrm>
            <a:off x="1366838" y="4020872"/>
            <a:ext cx="4144444" cy="792480"/>
          </a:xfrm>
          <a:prstGeom prst="rect">
            <a:avLst/>
          </a:prstGeom>
          <a:noFill/>
          <a:ln/>
        </p:spPr>
        <p:txBody>
          <a:bodyPr wrap="square" rtlCol="0" anchor="t"/>
          <a:lstStyle/>
          <a:p>
            <a:pPr defTabSz="1219170">
              <a:defRPr/>
            </a:pPr>
            <a:r>
              <a:rPr lang="ru-RU" sz="1600" noProof="1">
                <a:solidFill>
                  <a:srgbClr val="16303A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Нечто действительно реальное — не вариация того, что уже есть</a:t>
            </a:r>
            <a:endParaRPr lang="ru-RU" sz="16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Shape 14">
            <a:extLst>
              <a:ext uri="{FF2B5EF4-FFF2-40B4-BE49-F238E27FC236}">
                <a16:creationId xmlns:a16="http://schemas.microsoft.com/office/drawing/2014/main" id="{139EB043-4B1F-8B56-D256-335E89FAE1C9}"/>
              </a:ext>
            </a:extLst>
          </p:cNvPr>
          <p:cNvSpPr/>
          <p:nvPr/>
        </p:nvSpPr>
        <p:spPr>
          <a:xfrm>
            <a:off x="6548438" y="2253032"/>
            <a:ext cx="5008245" cy="3352800"/>
          </a:xfrm>
          <a:prstGeom prst="rect">
            <a:avLst/>
          </a:prstGeom>
          <a:solidFill>
            <a:srgbClr val="FDF3DC"/>
          </a:solidFill>
          <a:ln w="7620">
            <a:solidFill>
              <a:srgbClr val="B2D8DE"/>
            </a:solidFill>
            <a:prstDash val="solid"/>
          </a:ln>
        </p:spPr>
        <p:txBody>
          <a:bodyPr/>
          <a:lstStyle/>
          <a:p>
            <a:pPr defTabSz="1219170">
              <a:defRPr/>
            </a:pPr>
            <a:endParaRPr lang="ru-RU" sz="16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Text 15">
            <a:extLst>
              <a:ext uri="{FF2B5EF4-FFF2-40B4-BE49-F238E27FC236}">
                <a16:creationId xmlns:a16="http://schemas.microsoft.com/office/drawing/2014/main" id="{B805F5C8-295E-5D46-6020-FCD00EC5F3C6}"/>
              </a:ext>
            </a:extLst>
          </p:cNvPr>
          <p:cNvSpPr/>
          <p:nvPr/>
        </p:nvSpPr>
        <p:spPr>
          <a:xfrm>
            <a:off x="6792277" y="2374952"/>
            <a:ext cx="5120640" cy="36576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600" b="1" kern="0" spc="267" noProof="1">
                <a:solidFill>
                  <a:srgbClr val="E8940A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ПОЧЕМУ ЭТО ВАЖНО</a:t>
            </a:r>
            <a:endParaRPr lang="ru-RU" sz="16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Text 16">
            <a:extLst>
              <a:ext uri="{FF2B5EF4-FFF2-40B4-BE49-F238E27FC236}">
                <a16:creationId xmlns:a16="http://schemas.microsoft.com/office/drawing/2014/main" id="{420EDE44-4D2E-C412-1C06-32E4BBB05A77}"/>
              </a:ext>
            </a:extLst>
          </p:cNvPr>
          <p:cNvSpPr/>
          <p:nvPr/>
        </p:nvSpPr>
        <p:spPr>
          <a:xfrm>
            <a:off x="6792278" y="2801672"/>
            <a:ext cx="4591069" cy="42672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600" b="1" noProof="1">
                <a:solidFill>
                  <a:srgbClr val="16303A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Пустая ячейка — наиболее важная ячейка на карточке.</a:t>
            </a:r>
            <a:endParaRPr lang="ru-RU" sz="16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Text 17">
            <a:extLst>
              <a:ext uri="{FF2B5EF4-FFF2-40B4-BE49-F238E27FC236}">
                <a16:creationId xmlns:a16="http://schemas.microsoft.com/office/drawing/2014/main" id="{C70DB891-8A3C-BA38-61BF-5C15CEE1ED6E}"/>
              </a:ext>
            </a:extLst>
          </p:cNvPr>
          <p:cNvSpPr/>
          <p:nvPr/>
        </p:nvSpPr>
        <p:spPr>
          <a:xfrm>
            <a:off x="6792278" y="3289352"/>
            <a:ext cx="4591069" cy="2194560"/>
          </a:xfrm>
          <a:prstGeom prst="rect">
            <a:avLst/>
          </a:prstGeom>
          <a:noFill/>
          <a:ln/>
        </p:spPr>
        <p:txBody>
          <a:bodyPr wrap="square" rtlCol="0" anchor="t"/>
          <a:lstStyle/>
          <a:p>
            <a:pPr defTabSz="1219170">
              <a:defRPr/>
            </a:pPr>
            <a:r>
              <a:rPr lang="ru-RU" sz="1600" noProof="1">
                <a:solidFill>
                  <a:srgbClr val="16303A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Она даёт каждому столу вызов, лично актуальный до начала соревновательного элемента, — и когда вы проверяете свой дизайн по нему на Шаге 4, проверка основана на том, что вы сами выявили.</a:t>
            </a:r>
            <a:endParaRPr lang="ru-RU" sz="16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0216895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0DD73A0-B9AC-0BE3-70A3-F28CD80010D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968B7EB-092D-4747-371A-5D2275AF64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5317" y="75809"/>
            <a:ext cx="7815651" cy="1080120"/>
          </a:xfrm>
        </p:spPr>
        <p:txBody>
          <a:bodyPr/>
          <a:lstStyle/>
          <a:p>
            <a:r>
              <a:rPr lang="ru-RU" noProof="1"/>
              <a:t>Результаты микрообучения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50EC0E86-0593-ADF4-0185-828B59B06A3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1386"/>
          <a:stretch>
            <a:fillRect/>
          </a:stretch>
        </p:blipFill>
        <p:spPr>
          <a:xfrm>
            <a:off x="635317" y="1991638"/>
            <a:ext cx="10831062" cy="4559475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64D93DE2-1787-40E3-6AD2-D8E25F71478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35317" y="967567"/>
            <a:ext cx="10831062" cy="10240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7214433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4D081FF-0A27-201C-74EF-7E4040529E3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5317" y="422444"/>
            <a:ext cx="11245663" cy="1080120"/>
          </a:xfrm>
        </p:spPr>
        <p:txBody>
          <a:bodyPr>
            <a:normAutofit/>
          </a:bodyPr>
          <a:lstStyle/>
          <a:p>
            <a:r>
              <a:rPr lang="ru-RU" noProof="1"/>
              <a:t>Восемь вызовов на карточке. Одна пустая ячейка для заполнения.</a:t>
            </a:r>
          </a:p>
        </p:txBody>
      </p:sp>
      <p:sp>
        <p:nvSpPr>
          <p:cNvPr id="3" name="Shape 3">
            <a:extLst>
              <a:ext uri="{FF2B5EF4-FFF2-40B4-BE49-F238E27FC236}">
                <a16:creationId xmlns:a16="http://schemas.microsoft.com/office/drawing/2014/main" id="{8208DDC2-D34F-2540-D2CF-AEDF547B2902}"/>
              </a:ext>
            </a:extLst>
          </p:cNvPr>
          <p:cNvSpPr/>
          <p:nvPr/>
        </p:nvSpPr>
        <p:spPr>
          <a:xfrm>
            <a:off x="635315" y="1583140"/>
            <a:ext cx="3826956" cy="1402080"/>
          </a:xfrm>
          <a:prstGeom prst="rect">
            <a:avLst/>
          </a:prstGeom>
          <a:solidFill>
            <a:srgbClr val="F7FAFB"/>
          </a:solidFill>
          <a:ln w="6350">
            <a:solidFill>
              <a:srgbClr val="B2D8DE"/>
            </a:solidFill>
            <a:prstDash val="solid"/>
          </a:ln>
        </p:spPr>
        <p:txBody>
          <a:bodyPr/>
          <a:lstStyle/>
          <a:p>
            <a:pPr defTabSz="1219170">
              <a:defRPr/>
            </a:pPr>
            <a:endParaRPr lang="ru-RU" sz="2667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Text 4">
            <a:extLst>
              <a:ext uri="{FF2B5EF4-FFF2-40B4-BE49-F238E27FC236}">
                <a16:creationId xmlns:a16="http://schemas.microsoft.com/office/drawing/2014/main" id="{975269BB-9184-AA40-EFF7-7C152FB2DA64}"/>
              </a:ext>
            </a:extLst>
          </p:cNvPr>
          <p:cNvSpPr/>
          <p:nvPr/>
        </p:nvSpPr>
        <p:spPr>
          <a:xfrm>
            <a:off x="732851" y="1644100"/>
            <a:ext cx="432076" cy="30480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333" b="1" noProof="1">
                <a:solidFill>
                  <a:srgbClr val="027A87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1</a:t>
            </a:r>
            <a:endParaRPr lang="ru-RU" sz="1333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Text 5">
            <a:extLst>
              <a:ext uri="{FF2B5EF4-FFF2-40B4-BE49-F238E27FC236}">
                <a16:creationId xmlns:a16="http://schemas.microsoft.com/office/drawing/2014/main" id="{F5617F25-6035-1344-CD91-FD7DAF3AA871}"/>
              </a:ext>
            </a:extLst>
          </p:cNvPr>
          <p:cNvSpPr/>
          <p:nvPr/>
        </p:nvSpPr>
        <p:spPr>
          <a:xfrm>
            <a:off x="1045028" y="1636676"/>
            <a:ext cx="3292264" cy="792480"/>
          </a:xfrm>
          <a:prstGeom prst="rect">
            <a:avLst/>
          </a:prstGeom>
          <a:noFill/>
          <a:ln/>
        </p:spPr>
        <p:txBody>
          <a:bodyPr wrap="square" rtlCol="0" anchor="t"/>
          <a:lstStyle/>
          <a:p>
            <a:pPr defTabSz="1219170">
              <a:defRPr/>
            </a:pPr>
            <a:r>
              <a:rPr lang="ru-RU" sz="1333" noProof="1">
                <a:solidFill>
                  <a:srgbClr val="16303A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Сессия была сокращена с полного дня до двух часов в последний момент</a:t>
            </a:r>
            <a:endParaRPr lang="ru-RU" sz="1333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Text 6">
            <a:extLst>
              <a:ext uri="{FF2B5EF4-FFF2-40B4-BE49-F238E27FC236}">
                <a16:creationId xmlns:a16="http://schemas.microsoft.com/office/drawing/2014/main" id="{D7144E3E-23EE-AF82-1835-5672304E42E9}"/>
              </a:ext>
            </a:extLst>
          </p:cNvPr>
          <p:cNvSpPr/>
          <p:nvPr/>
        </p:nvSpPr>
        <p:spPr>
          <a:xfrm>
            <a:off x="1045028" y="2679092"/>
            <a:ext cx="3580056" cy="268224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200" b="1" noProof="1">
                <a:solidFill>
                  <a:srgbClr val="3D6673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ИК: ИК 7 / ИК 2  ·  Уровень: Оба</a:t>
            </a:r>
            <a:endParaRPr lang="ru-RU" sz="1200" b="1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Shape 7">
            <a:extLst>
              <a:ext uri="{FF2B5EF4-FFF2-40B4-BE49-F238E27FC236}">
                <a16:creationId xmlns:a16="http://schemas.microsoft.com/office/drawing/2014/main" id="{75B5E9DA-B32D-8409-9BB1-01C209342A02}"/>
              </a:ext>
            </a:extLst>
          </p:cNvPr>
          <p:cNvSpPr/>
          <p:nvPr/>
        </p:nvSpPr>
        <p:spPr>
          <a:xfrm>
            <a:off x="4500179" y="1583140"/>
            <a:ext cx="3826956" cy="1402080"/>
          </a:xfrm>
          <a:prstGeom prst="rect">
            <a:avLst/>
          </a:prstGeom>
          <a:solidFill>
            <a:srgbClr val="F7FAFB"/>
          </a:solidFill>
          <a:ln w="6350">
            <a:solidFill>
              <a:srgbClr val="B2D8DE"/>
            </a:solidFill>
            <a:prstDash val="solid"/>
          </a:ln>
        </p:spPr>
        <p:txBody>
          <a:bodyPr/>
          <a:lstStyle/>
          <a:p>
            <a:pPr defTabSz="1219170">
              <a:defRPr/>
            </a:pPr>
            <a:endParaRPr lang="ru-RU" sz="2667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Text 8">
            <a:extLst>
              <a:ext uri="{FF2B5EF4-FFF2-40B4-BE49-F238E27FC236}">
                <a16:creationId xmlns:a16="http://schemas.microsoft.com/office/drawing/2014/main" id="{49DDFA21-FD1E-C4AC-A5E7-DBED7BDA1D77}"/>
              </a:ext>
            </a:extLst>
          </p:cNvPr>
          <p:cNvSpPr/>
          <p:nvPr/>
        </p:nvSpPr>
        <p:spPr>
          <a:xfrm>
            <a:off x="4597715" y="1644100"/>
            <a:ext cx="432076" cy="30480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333" b="1" noProof="1">
                <a:solidFill>
                  <a:srgbClr val="027A87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2</a:t>
            </a:r>
            <a:endParaRPr lang="ru-RU" sz="1333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Text 9">
            <a:extLst>
              <a:ext uri="{FF2B5EF4-FFF2-40B4-BE49-F238E27FC236}">
                <a16:creationId xmlns:a16="http://schemas.microsoft.com/office/drawing/2014/main" id="{CFB0F7D3-445F-8951-030E-FA7CEE3E6997}"/>
              </a:ext>
            </a:extLst>
          </p:cNvPr>
          <p:cNvSpPr/>
          <p:nvPr/>
        </p:nvSpPr>
        <p:spPr>
          <a:xfrm>
            <a:off x="5029791" y="1652481"/>
            <a:ext cx="3172365" cy="792480"/>
          </a:xfrm>
          <a:prstGeom prst="rect">
            <a:avLst/>
          </a:prstGeom>
          <a:noFill/>
          <a:ln/>
        </p:spPr>
        <p:txBody>
          <a:bodyPr wrap="square" rtlCol="0" anchor="t"/>
          <a:lstStyle/>
          <a:p>
            <a:pPr defTabSz="1219170">
              <a:defRPr/>
            </a:pPr>
            <a:r>
              <a:rPr lang="ru-RU" sz="1333" noProof="1">
                <a:solidFill>
                  <a:srgbClr val="16303A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Участников направил руководитель, и они ясно дали понять, что не хотят здесь быть</a:t>
            </a:r>
            <a:endParaRPr lang="ru-RU" sz="1333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Text 10">
            <a:extLst>
              <a:ext uri="{FF2B5EF4-FFF2-40B4-BE49-F238E27FC236}">
                <a16:creationId xmlns:a16="http://schemas.microsoft.com/office/drawing/2014/main" id="{845C46C8-9AC8-EB6D-6314-15430220EA1B}"/>
              </a:ext>
            </a:extLst>
          </p:cNvPr>
          <p:cNvSpPr/>
          <p:nvPr/>
        </p:nvSpPr>
        <p:spPr>
          <a:xfrm>
            <a:off x="5029789" y="2681667"/>
            <a:ext cx="3172367" cy="268224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200" b="1" noProof="1">
                <a:solidFill>
                  <a:srgbClr val="3D6673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ИК: ИК 4 / ИК 5  ·  Уровень: Учебное заведение</a:t>
            </a:r>
            <a:endParaRPr lang="ru-RU" sz="1200" b="1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Shape 11">
            <a:extLst>
              <a:ext uri="{FF2B5EF4-FFF2-40B4-BE49-F238E27FC236}">
                <a16:creationId xmlns:a16="http://schemas.microsoft.com/office/drawing/2014/main" id="{A4901FD9-CAE3-7C56-4791-FEE5B8B36E6F}"/>
              </a:ext>
            </a:extLst>
          </p:cNvPr>
          <p:cNvSpPr/>
          <p:nvPr/>
        </p:nvSpPr>
        <p:spPr>
          <a:xfrm>
            <a:off x="8365043" y="1583140"/>
            <a:ext cx="3826956" cy="1402080"/>
          </a:xfrm>
          <a:prstGeom prst="rect">
            <a:avLst/>
          </a:prstGeom>
          <a:solidFill>
            <a:srgbClr val="F7FAFB"/>
          </a:solidFill>
          <a:ln w="6350">
            <a:solidFill>
              <a:srgbClr val="B2D8DE"/>
            </a:solidFill>
            <a:prstDash val="solid"/>
          </a:ln>
        </p:spPr>
        <p:txBody>
          <a:bodyPr/>
          <a:lstStyle/>
          <a:p>
            <a:pPr defTabSz="1219170">
              <a:defRPr/>
            </a:pPr>
            <a:endParaRPr lang="ru-RU" sz="2667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Text 12">
            <a:extLst>
              <a:ext uri="{FF2B5EF4-FFF2-40B4-BE49-F238E27FC236}">
                <a16:creationId xmlns:a16="http://schemas.microsoft.com/office/drawing/2014/main" id="{98E03E28-9E26-C71A-E90C-ECAC422ADF9B}"/>
              </a:ext>
            </a:extLst>
          </p:cNvPr>
          <p:cNvSpPr/>
          <p:nvPr/>
        </p:nvSpPr>
        <p:spPr>
          <a:xfrm>
            <a:off x="8462579" y="1644100"/>
            <a:ext cx="432076" cy="30480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333" b="1" noProof="1">
                <a:solidFill>
                  <a:srgbClr val="027A87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3</a:t>
            </a:r>
            <a:endParaRPr lang="ru-RU" sz="1333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Text 13">
            <a:extLst>
              <a:ext uri="{FF2B5EF4-FFF2-40B4-BE49-F238E27FC236}">
                <a16:creationId xmlns:a16="http://schemas.microsoft.com/office/drawing/2014/main" id="{1BFA67A3-98A5-6351-4C13-E909B5E66729}"/>
              </a:ext>
            </a:extLst>
          </p:cNvPr>
          <p:cNvSpPr/>
          <p:nvPr/>
        </p:nvSpPr>
        <p:spPr>
          <a:xfrm>
            <a:off x="8856747" y="1636676"/>
            <a:ext cx="3172365" cy="792480"/>
          </a:xfrm>
          <a:prstGeom prst="rect">
            <a:avLst/>
          </a:prstGeom>
          <a:noFill/>
          <a:ln/>
        </p:spPr>
        <p:txBody>
          <a:bodyPr wrap="square" rtlCol="0" anchor="t"/>
          <a:lstStyle/>
          <a:p>
            <a:pPr defTabSz="1219170">
              <a:defRPr/>
            </a:pPr>
            <a:r>
              <a:rPr lang="ru-RU" sz="1333" noProof="1">
                <a:solidFill>
                  <a:srgbClr val="16303A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Нет времени или структуры для последующей работы после окончания профессионального развития педагогов</a:t>
            </a:r>
            <a:endParaRPr lang="ru-RU" sz="1333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Text 14">
            <a:extLst>
              <a:ext uri="{FF2B5EF4-FFF2-40B4-BE49-F238E27FC236}">
                <a16:creationId xmlns:a16="http://schemas.microsoft.com/office/drawing/2014/main" id="{A775FA12-8836-05F8-9894-A71D5677E419}"/>
              </a:ext>
            </a:extLst>
          </p:cNvPr>
          <p:cNvSpPr/>
          <p:nvPr/>
        </p:nvSpPr>
        <p:spPr>
          <a:xfrm>
            <a:off x="8894653" y="2681667"/>
            <a:ext cx="3172367" cy="316992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200" b="1" noProof="1">
                <a:solidFill>
                  <a:srgbClr val="3D6673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ИК: ИК 2 / ИК 3  ·  Уровень: Оба</a:t>
            </a:r>
            <a:endParaRPr lang="ru-RU" sz="1200" b="1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Shape 15">
            <a:extLst>
              <a:ext uri="{FF2B5EF4-FFF2-40B4-BE49-F238E27FC236}">
                <a16:creationId xmlns:a16="http://schemas.microsoft.com/office/drawing/2014/main" id="{12EC8EE0-0341-30FF-7849-2A873AF584DF}"/>
              </a:ext>
            </a:extLst>
          </p:cNvPr>
          <p:cNvSpPr/>
          <p:nvPr/>
        </p:nvSpPr>
        <p:spPr>
          <a:xfrm>
            <a:off x="635315" y="3070564"/>
            <a:ext cx="3826956" cy="1402080"/>
          </a:xfrm>
          <a:prstGeom prst="rect">
            <a:avLst/>
          </a:prstGeom>
          <a:solidFill>
            <a:srgbClr val="F7FAFB"/>
          </a:solidFill>
          <a:ln w="6350">
            <a:solidFill>
              <a:srgbClr val="B2D8DE"/>
            </a:solidFill>
            <a:prstDash val="solid"/>
          </a:ln>
        </p:spPr>
        <p:txBody>
          <a:bodyPr/>
          <a:lstStyle/>
          <a:p>
            <a:pPr defTabSz="1219170">
              <a:defRPr/>
            </a:pPr>
            <a:endParaRPr lang="ru-RU" sz="2667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Text 16">
            <a:extLst>
              <a:ext uri="{FF2B5EF4-FFF2-40B4-BE49-F238E27FC236}">
                <a16:creationId xmlns:a16="http://schemas.microsoft.com/office/drawing/2014/main" id="{67DE74C8-3DE5-4889-6331-E78EC5FD47DB}"/>
              </a:ext>
            </a:extLst>
          </p:cNvPr>
          <p:cNvSpPr/>
          <p:nvPr/>
        </p:nvSpPr>
        <p:spPr>
          <a:xfrm>
            <a:off x="732851" y="3131524"/>
            <a:ext cx="432076" cy="30480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333" b="1" noProof="1">
                <a:solidFill>
                  <a:srgbClr val="027A87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4</a:t>
            </a:r>
            <a:endParaRPr lang="ru-RU" sz="1333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Text 17">
            <a:extLst>
              <a:ext uri="{FF2B5EF4-FFF2-40B4-BE49-F238E27FC236}">
                <a16:creationId xmlns:a16="http://schemas.microsoft.com/office/drawing/2014/main" id="{DB767D92-C868-7D53-6830-F9632B7C7CF0}"/>
              </a:ext>
            </a:extLst>
          </p:cNvPr>
          <p:cNvSpPr/>
          <p:nvPr/>
        </p:nvSpPr>
        <p:spPr>
          <a:xfrm>
            <a:off x="1164927" y="3099716"/>
            <a:ext cx="3172365" cy="792480"/>
          </a:xfrm>
          <a:prstGeom prst="rect">
            <a:avLst/>
          </a:prstGeom>
          <a:noFill/>
          <a:ln/>
        </p:spPr>
        <p:txBody>
          <a:bodyPr wrap="square" rtlCol="0" anchor="t"/>
          <a:lstStyle/>
          <a:p>
            <a:pPr defTabSz="1219170">
              <a:defRPr/>
            </a:pPr>
            <a:r>
              <a:rPr lang="ru-RU" sz="1333" noProof="1">
                <a:solidFill>
                  <a:srgbClr val="16303A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Содержание профессионального развития педагогов интересно, но не имеет очевидной связи с повседневной преподавательской или тренерской работой участников</a:t>
            </a:r>
            <a:endParaRPr lang="ru-RU" sz="1333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Text 18">
            <a:extLst>
              <a:ext uri="{FF2B5EF4-FFF2-40B4-BE49-F238E27FC236}">
                <a16:creationId xmlns:a16="http://schemas.microsoft.com/office/drawing/2014/main" id="{740BC7FF-A230-2A56-DECF-5F79BB2BD667}"/>
              </a:ext>
            </a:extLst>
          </p:cNvPr>
          <p:cNvSpPr/>
          <p:nvPr/>
        </p:nvSpPr>
        <p:spPr>
          <a:xfrm>
            <a:off x="1164927" y="4193973"/>
            <a:ext cx="3172365" cy="316992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200" b="1" noProof="1">
                <a:solidFill>
                  <a:srgbClr val="3D6673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ИК: ИК 1 / ИК 6  ·  Уровень: Оба</a:t>
            </a:r>
            <a:endParaRPr lang="ru-RU" sz="1200" b="1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Shape 19">
            <a:extLst>
              <a:ext uri="{FF2B5EF4-FFF2-40B4-BE49-F238E27FC236}">
                <a16:creationId xmlns:a16="http://schemas.microsoft.com/office/drawing/2014/main" id="{35A7363D-9C67-1BA3-8C08-0AEA02739E78}"/>
              </a:ext>
            </a:extLst>
          </p:cNvPr>
          <p:cNvSpPr/>
          <p:nvPr/>
        </p:nvSpPr>
        <p:spPr>
          <a:xfrm>
            <a:off x="4500179" y="3070564"/>
            <a:ext cx="3826956" cy="1402080"/>
          </a:xfrm>
          <a:prstGeom prst="rect">
            <a:avLst/>
          </a:prstGeom>
          <a:solidFill>
            <a:srgbClr val="F7FAFB"/>
          </a:solidFill>
          <a:ln w="6350">
            <a:solidFill>
              <a:srgbClr val="B2D8DE"/>
            </a:solidFill>
            <a:prstDash val="solid"/>
          </a:ln>
        </p:spPr>
        <p:txBody>
          <a:bodyPr/>
          <a:lstStyle/>
          <a:p>
            <a:pPr defTabSz="1219170">
              <a:defRPr/>
            </a:pPr>
            <a:endParaRPr lang="ru-RU" sz="2667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" name="Text 20">
            <a:extLst>
              <a:ext uri="{FF2B5EF4-FFF2-40B4-BE49-F238E27FC236}">
                <a16:creationId xmlns:a16="http://schemas.microsoft.com/office/drawing/2014/main" id="{F6B61D6E-7DCE-3A4E-E38A-4310FB0FDEA3}"/>
              </a:ext>
            </a:extLst>
          </p:cNvPr>
          <p:cNvSpPr/>
          <p:nvPr/>
        </p:nvSpPr>
        <p:spPr>
          <a:xfrm>
            <a:off x="4597715" y="3131524"/>
            <a:ext cx="432076" cy="30480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333" b="1" noProof="1">
                <a:solidFill>
                  <a:srgbClr val="027A87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5</a:t>
            </a:r>
            <a:endParaRPr lang="ru-RU" sz="1333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" name="Text 21">
            <a:extLst>
              <a:ext uri="{FF2B5EF4-FFF2-40B4-BE49-F238E27FC236}">
                <a16:creationId xmlns:a16="http://schemas.microsoft.com/office/drawing/2014/main" id="{E5CAD81A-6C12-4D30-6739-8A356EF5938C}"/>
              </a:ext>
            </a:extLst>
          </p:cNvPr>
          <p:cNvSpPr/>
          <p:nvPr/>
        </p:nvSpPr>
        <p:spPr>
          <a:xfrm>
            <a:off x="4991883" y="3099716"/>
            <a:ext cx="3172368" cy="792480"/>
          </a:xfrm>
          <a:prstGeom prst="rect">
            <a:avLst/>
          </a:prstGeom>
          <a:noFill/>
          <a:ln/>
        </p:spPr>
        <p:txBody>
          <a:bodyPr wrap="square" rtlCol="0" anchor="t"/>
          <a:lstStyle/>
          <a:p>
            <a:pPr defTabSz="1219170">
              <a:defRPr/>
            </a:pPr>
            <a:r>
              <a:rPr lang="ru-RU" sz="1333" noProof="1">
                <a:solidFill>
                  <a:srgbClr val="16303A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Двое участников доминируют в каждом обсуждении; остальные молчат</a:t>
            </a:r>
            <a:endParaRPr lang="ru-RU" sz="1333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2" name="Text 22">
            <a:extLst>
              <a:ext uri="{FF2B5EF4-FFF2-40B4-BE49-F238E27FC236}">
                <a16:creationId xmlns:a16="http://schemas.microsoft.com/office/drawing/2014/main" id="{AEA71B4F-3A51-012B-4DB8-F0CDE53D7C60}"/>
              </a:ext>
            </a:extLst>
          </p:cNvPr>
          <p:cNvSpPr/>
          <p:nvPr/>
        </p:nvSpPr>
        <p:spPr>
          <a:xfrm>
            <a:off x="5029786" y="4156649"/>
            <a:ext cx="3172369" cy="268224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200" b="1" noProof="1">
                <a:solidFill>
                  <a:srgbClr val="3D6673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ИК: ИК 4 / ИК 5  ·  Уровень: Учебное заведение</a:t>
            </a:r>
            <a:endParaRPr lang="ru-RU" sz="1200" b="1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3" name="Shape 23">
            <a:extLst>
              <a:ext uri="{FF2B5EF4-FFF2-40B4-BE49-F238E27FC236}">
                <a16:creationId xmlns:a16="http://schemas.microsoft.com/office/drawing/2014/main" id="{C5A41F63-21E9-9B22-529F-246808C4494D}"/>
              </a:ext>
            </a:extLst>
          </p:cNvPr>
          <p:cNvSpPr/>
          <p:nvPr/>
        </p:nvSpPr>
        <p:spPr>
          <a:xfrm>
            <a:off x="8365043" y="3070564"/>
            <a:ext cx="3826956" cy="1402080"/>
          </a:xfrm>
          <a:prstGeom prst="rect">
            <a:avLst/>
          </a:prstGeom>
          <a:solidFill>
            <a:srgbClr val="F7FAFB"/>
          </a:solidFill>
          <a:ln w="6350">
            <a:solidFill>
              <a:srgbClr val="B2D8DE"/>
            </a:solidFill>
            <a:prstDash val="solid"/>
          </a:ln>
        </p:spPr>
        <p:txBody>
          <a:bodyPr/>
          <a:lstStyle/>
          <a:p>
            <a:pPr defTabSz="1219170">
              <a:defRPr/>
            </a:pPr>
            <a:endParaRPr lang="ru-RU" sz="2667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4" name="Text 24">
            <a:extLst>
              <a:ext uri="{FF2B5EF4-FFF2-40B4-BE49-F238E27FC236}">
                <a16:creationId xmlns:a16="http://schemas.microsoft.com/office/drawing/2014/main" id="{912880A6-BA09-47EE-FFC3-023B37394AE9}"/>
              </a:ext>
            </a:extLst>
          </p:cNvPr>
          <p:cNvSpPr/>
          <p:nvPr/>
        </p:nvSpPr>
        <p:spPr>
          <a:xfrm>
            <a:off x="8462579" y="3131524"/>
            <a:ext cx="432076" cy="30480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333" b="1" noProof="1">
                <a:solidFill>
                  <a:srgbClr val="027A87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6</a:t>
            </a:r>
            <a:endParaRPr lang="ru-RU" sz="1333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5" name="Text 25">
            <a:extLst>
              <a:ext uri="{FF2B5EF4-FFF2-40B4-BE49-F238E27FC236}">
                <a16:creationId xmlns:a16="http://schemas.microsoft.com/office/drawing/2014/main" id="{667F411F-3030-72A1-251C-EDE7B5C5EBE3}"/>
              </a:ext>
            </a:extLst>
          </p:cNvPr>
          <p:cNvSpPr/>
          <p:nvPr/>
        </p:nvSpPr>
        <p:spPr>
          <a:xfrm>
            <a:off x="8856741" y="3139548"/>
            <a:ext cx="3210279" cy="1016104"/>
          </a:xfrm>
          <a:prstGeom prst="rect">
            <a:avLst/>
          </a:prstGeom>
          <a:noFill/>
          <a:ln/>
        </p:spPr>
        <p:txBody>
          <a:bodyPr wrap="square" rtlCol="0" anchor="t"/>
          <a:lstStyle/>
          <a:p>
            <a:pPr defTabSz="1219170">
              <a:defRPr/>
            </a:pPr>
            <a:r>
              <a:rPr lang="ru-RU" sz="1200" noProof="1">
                <a:solidFill>
                  <a:srgbClr val="16303A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Руководство одобрило профессиональное развитие педагогов, но с тех пор не вовлекалось в него, не присутствовало и не интересовалось им</a:t>
            </a:r>
            <a:endParaRPr lang="ru-RU" sz="12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6" name="Text 26">
            <a:extLst>
              <a:ext uri="{FF2B5EF4-FFF2-40B4-BE49-F238E27FC236}">
                <a16:creationId xmlns:a16="http://schemas.microsoft.com/office/drawing/2014/main" id="{C7EFBE85-1DAC-BB3B-2451-55EA7FE9C831}"/>
              </a:ext>
            </a:extLst>
          </p:cNvPr>
          <p:cNvSpPr/>
          <p:nvPr/>
        </p:nvSpPr>
        <p:spPr>
          <a:xfrm>
            <a:off x="8894652" y="4181531"/>
            <a:ext cx="3172368" cy="316992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200" b="1" noProof="1">
                <a:solidFill>
                  <a:srgbClr val="3D6673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ИК: ИК 7  ·  Уровень: Системный</a:t>
            </a:r>
            <a:endParaRPr lang="ru-RU" sz="1200" b="1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7" name="Shape 27">
            <a:extLst>
              <a:ext uri="{FF2B5EF4-FFF2-40B4-BE49-F238E27FC236}">
                <a16:creationId xmlns:a16="http://schemas.microsoft.com/office/drawing/2014/main" id="{69A63E2A-53D0-2275-5161-8273B78BBB74}"/>
              </a:ext>
            </a:extLst>
          </p:cNvPr>
          <p:cNvSpPr/>
          <p:nvPr/>
        </p:nvSpPr>
        <p:spPr>
          <a:xfrm>
            <a:off x="635315" y="4557988"/>
            <a:ext cx="3826956" cy="1402080"/>
          </a:xfrm>
          <a:prstGeom prst="rect">
            <a:avLst/>
          </a:prstGeom>
          <a:solidFill>
            <a:srgbClr val="F7FAFB"/>
          </a:solidFill>
          <a:ln w="6350">
            <a:solidFill>
              <a:srgbClr val="B2D8DE"/>
            </a:solidFill>
            <a:prstDash val="solid"/>
          </a:ln>
        </p:spPr>
        <p:txBody>
          <a:bodyPr/>
          <a:lstStyle/>
          <a:p>
            <a:pPr defTabSz="1219170">
              <a:defRPr/>
            </a:pPr>
            <a:endParaRPr lang="ru-RU" sz="2667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8" name="Text 28">
            <a:extLst>
              <a:ext uri="{FF2B5EF4-FFF2-40B4-BE49-F238E27FC236}">
                <a16:creationId xmlns:a16="http://schemas.microsoft.com/office/drawing/2014/main" id="{278DCFE3-7D96-98D5-9CBB-D9CEE8C0CFAF}"/>
              </a:ext>
            </a:extLst>
          </p:cNvPr>
          <p:cNvSpPr/>
          <p:nvPr/>
        </p:nvSpPr>
        <p:spPr>
          <a:xfrm>
            <a:off x="732851" y="4618948"/>
            <a:ext cx="432076" cy="30480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333" b="1" noProof="1">
                <a:solidFill>
                  <a:srgbClr val="027A87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7</a:t>
            </a:r>
            <a:endParaRPr lang="ru-RU" sz="1333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9" name="Text 29">
            <a:extLst>
              <a:ext uri="{FF2B5EF4-FFF2-40B4-BE49-F238E27FC236}">
                <a16:creationId xmlns:a16="http://schemas.microsoft.com/office/drawing/2014/main" id="{77FC4D1E-9AB2-33CC-F81F-B40283AB4FB2}"/>
              </a:ext>
            </a:extLst>
          </p:cNvPr>
          <p:cNvSpPr/>
          <p:nvPr/>
        </p:nvSpPr>
        <p:spPr>
          <a:xfrm>
            <a:off x="1189313" y="4596309"/>
            <a:ext cx="3147980" cy="792480"/>
          </a:xfrm>
          <a:prstGeom prst="rect">
            <a:avLst/>
          </a:prstGeom>
          <a:noFill/>
          <a:ln/>
        </p:spPr>
        <p:txBody>
          <a:bodyPr wrap="square" rtlCol="0" anchor="t"/>
          <a:lstStyle/>
          <a:p>
            <a:pPr defTabSz="1219170">
              <a:defRPr/>
            </a:pPr>
            <a:r>
              <a:rPr lang="ru-RU" sz="1333" noProof="1">
                <a:solidFill>
                  <a:srgbClr val="16303A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Профессиональное развитие педагогов реализуется три года с тем же содержанием, и никто не оценивал, работает ли оно</a:t>
            </a:r>
            <a:endParaRPr lang="ru-RU" sz="1333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0" name="Text 30">
            <a:extLst>
              <a:ext uri="{FF2B5EF4-FFF2-40B4-BE49-F238E27FC236}">
                <a16:creationId xmlns:a16="http://schemas.microsoft.com/office/drawing/2014/main" id="{DCDBDA8C-D668-1CBE-168E-74A3464DE907}"/>
              </a:ext>
            </a:extLst>
          </p:cNvPr>
          <p:cNvSpPr/>
          <p:nvPr/>
        </p:nvSpPr>
        <p:spPr>
          <a:xfrm>
            <a:off x="1189312" y="5691844"/>
            <a:ext cx="3074829" cy="268224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200" b="1" noProof="1">
                <a:solidFill>
                  <a:srgbClr val="3D6673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ИК: ИК 8 / ИК 6  ·  Уровень: Оба</a:t>
            </a:r>
            <a:endParaRPr lang="ru-RU" sz="1200" b="1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1" name="Shape 31">
            <a:extLst>
              <a:ext uri="{FF2B5EF4-FFF2-40B4-BE49-F238E27FC236}">
                <a16:creationId xmlns:a16="http://schemas.microsoft.com/office/drawing/2014/main" id="{675BC027-054C-858A-09D2-66737D580F49}"/>
              </a:ext>
            </a:extLst>
          </p:cNvPr>
          <p:cNvSpPr/>
          <p:nvPr/>
        </p:nvSpPr>
        <p:spPr>
          <a:xfrm>
            <a:off x="4500179" y="4557988"/>
            <a:ext cx="3826956" cy="1402080"/>
          </a:xfrm>
          <a:prstGeom prst="rect">
            <a:avLst/>
          </a:prstGeom>
          <a:solidFill>
            <a:srgbClr val="F7FAFB"/>
          </a:solidFill>
          <a:ln w="6350">
            <a:solidFill>
              <a:srgbClr val="B2D8DE"/>
            </a:solidFill>
            <a:prstDash val="solid"/>
          </a:ln>
        </p:spPr>
        <p:txBody>
          <a:bodyPr/>
          <a:lstStyle/>
          <a:p>
            <a:pPr defTabSz="1219170">
              <a:defRPr/>
            </a:pPr>
            <a:endParaRPr lang="ru-RU" sz="2667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2" name="Text 32">
            <a:extLst>
              <a:ext uri="{FF2B5EF4-FFF2-40B4-BE49-F238E27FC236}">
                <a16:creationId xmlns:a16="http://schemas.microsoft.com/office/drawing/2014/main" id="{3C4B46BC-4862-C850-6463-7DE66E060CD1}"/>
              </a:ext>
            </a:extLst>
          </p:cNvPr>
          <p:cNvSpPr/>
          <p:nvPr/>
        </p:nvSpPr>
        <p:spPr>
          <a:xfrm>
            <a:off x="4597715" y="4618948"/>
            <a:ext cx="432076" cy="30480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333" b="1" noProof="1">
                <a:solidFill>
                  <a:srgbClr val="027A87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8</a:t>
            </a:r>
            <a:endParaRPr lang="ru-RU" sz="1333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3" name="Text 33">
            <a:extLst>
              <a:ext uri="{FF2B5EF4-FFF2-40B4-BE49-F238E27FC236}">
                <a16:creationId xmlns:a16="http://schemas.microsoft.com/office/drawing/2014/main" id="{30DBAABE-B634-180D-D86B-8A5E0617487B}"/>
              </a:ext>
            </a:extLst>
          </p:cNvPr>
          <p:cNvSpPr/>
          <p:nvPr/>
        </p:nvSpPr>
        <p:spPr>
          <a:xfrm>
            <a:off x="5029785" y="4592993"/>
            <a:ext cx="3172371" cy="792480"/>
          </a:xfrm>
          <a:prstGeom prst="rect">
            <a:avLst/>
          </a:prstGeom>
          <a:noFill/>
          <a:ln/>
        </p:spPr>
        <p:txBody>
          <a:bodyPr wrap="square" rtlCol="0" anchor="t"/>
          <a:lstStyle/>
          <a:p>
            <a:pPr defTabSz="1219170">
              <a:defRPr/>
            </a:pPr>
            <a:r>
              <a:rPr lang="ru-RU" sz="1333" noProof="1">
                <a:solidFill>
                  <a:srgbClr val="16303A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Нет бюджета для проведения профессионального развития педагогов более одного раза</a:t>
            </a:r>
            <a:endParaRPr lang="ru-RU" sz="1333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4" name="Text 34">
            <a:extLst>
              <a:ext uri="{FF2B5EF4-FFF2-40B4-BE49-F238E27FC236}">
                <a16:creationId xmlns:a16="http://schemas.microsoft.com/office/drawing/2014/main" id="{026798F9-D4F3-9CB5-8E1F-21D282C355BB}"/>
              </a:ext>
            </a:extLst>
          </p:cNvPr>
          <p:cNvSpPr/>
          <p:nvPr/>
        </p:nvSpPr>
        <p:spPr>
          <a:xfrm>
            <a:off x="5029785" y="5681396"/>
            <a:ext cx="3172371" cy="268224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200" b="1" noProof="1">
                <a:solidFill>
                  <a:srgbClr val="3D6673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ИК: ИК 2 / ИК 7  ·  Уровень: Системный</a:t>
            </a:r>
            <a:endParaRPr lang="ru-RU" sz="1200" b="1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5" name="Shape 35">
            <a:extLst>
              <a:ext uri="{FF2B5EF4-FFF2-40B4-BE49-F238E27FC236}">
                <a16:creationId xmlns:a16="http://schemas.microsoft.com/office/drawing/2014/main" id="{E4018D00-D63A-C5EC-0F38-FC5A5A739291}"/>
              </a:ext>
            </a:extLst>
          </p:cNvPr>
          <p:cNvSpPr/>
          <p:nvPr/>
        </p:nvSpPr>
        <p:spPr>
          <a:xfrm>
            <a:off x="8365043" y="4557988"/>
            <a:ext cx="3826956" cy="1402080"/>
          </a:xfrm>
          <a:prstGeom prst="rect">
            <a:avLst/>
          </a:prstGeom>
          <a:solidFill>
            <a:srgbClr val="FDF3DC"/>
          </a:solidFill>
          <a:ln w="19050">
            <a:solidFill>
              <a:srgbClr val="E8940A"/>
            </a:solidFill>
            <a:prstDash val="dash"/>
          </a:ln>
        </p:spPr>
        <p:txBody>
          <a:bodyPr/>
          <a:lstStyle/>
          <a:p>
            <a:pPr defTabSz="1219170">
              <a:defRPr/>
            </a:pPr>
            <a:endParaRPr lang="ru-RU" sz="2667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6" name="Text 36">
            <a:extLst>
              <a:ext uri="{FF2B5EF4-FFF2-40B4-BE49-F238E27FC236}">
                <a16:creationId xmlns:a16="http://schemas.microsoft.com/office/drawing/2014/main" id="{030D72DE-8CEE-D1B9-FB0A-BC265CF77B18}"/>
              </a:ext>
            </a:extLst>
          </p:cNvPr>
          <p:cNvSpPr/>
          <p:nvPr/>
        </p:nvSpPr>
        <p:spPr>
          <a:xfrm>
            <a:off x="8462579" y="4618948"/>
            <a:ext cx="432076" cy="30480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333" b="1" noProof="1">
                <a:solidFill>
                  <a:srgbClr val="E8940A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9</a:t>
            </a:r>
            <a:endParaRPr lang="ru-RU" sz="1333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7" name="Text 37">
            <a:extLst>
              <a:ext uri="{FF2B5EF4-FFF2-40B4-BE49-F238E27FC236}">
                <a16:creationId xmlns:a16="http://schemas.microsoft.com/office/drawing/2014/main" id="{9167E818-43A7-DDD7-0D49-B674197F9DF8}"/>
              </a:ext>
            </a:extLst>
          </p:cNvPr>
          <p:cNvSpPr/>
          <p:nvPr/>
        </p:nvSpPr>
        <p:spPr>
          <a:xfrm>
            <a:off x="8932562" y="4642260"/>
            <a:ext cx="3134457" cy="792480"/>
          </a:xfrm>
          <a:prstGeom prst="rect">
            <a:avLst/>
          </a:prstGeom>
          <a:noFill/>
          <a:ln/>
        </p:spPr>
        <p:txBody>
          <a:bodyPr wrap="square" rtlCol="0" anchor="t"/>
          <a:lstStyle/>
          <a:p>
            <a:pPr defTabSz="1219170">
              <a:defRPr/>
            </a:pPr>
            <a:r>
              <a:rPr lang="ru-RU" sz="1333" b="1" i="1" noProof="1">
                <a:solidFill>
                  <a:srgbClr val="16303A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ВАШ ВЫЗОВ — запишите вызов, специфичный для вашего уровня, роли или национального контекста</a:t>
            </a:r>
            <a:endParaRPr lang="ru-RU" sz="1333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8" name="Text 38">
            <a:extLst>
              <a:ext uri="{FF2B5EF4-FFF2-40B4-BE49-F238E27FC236}">
                <a16:creationId xmlns:a16="http://schemas.microsoft.com/office/drawing/2014/main" id="{95ED323D-446B-1C55-198A-6D31161948D1}"/>
              </a:ext>
            </a:extLst>
          </p:cNvPr>
          <p:cNvSpPr/>
          <p:nvPr/>
        </p:nvSpPr>
        <p:spPr>
          <a:xfrm>
            <a:off x="9069354" y="5594308"/>
            <a:ext cx="2997665" cy="355312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200" b="1" noProof="1">
                <a:solidFill>
                  <a:srgbClr val="E8940A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ИК: ___  ·  Уровень: ___</a:t>
            </a:r>
            <a:endParaRPr lang="ru-RU" sz="12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9" name="Text 39">
            <a:extLst>
              <a:ext uri="{FF2B5EF4-FFF2-40B4-BE49-F238E27FC236}">
                <a16:creationId xmlns:a16="http://schemas.microsoft.com/office/drawing/2014/main" id="{4733143E-1B44-E9F5-86EC-B4CF021B7DB5}"/>
              </a:ext>
            </a:extLst>
          </p:cNvPr>
          <p:cNvSpPr/>
          <p:nvPr/>
        </p:nvSpPr>
        <p:spPr>
          <a:xfrm>
            <a:off x="635315" y="6255991"/>
            <a:ext cx="11604319" cy="341376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467" i="1" noProof="1">
                <a:solidFill>
                  <a:schemeClr val="bg1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Подсказки по ИК — отправная точка. Ваш стол определяет основную первопричину.  ·  Первый стол, заполнивший все девять, вызывает бинго.</a:t>
            </a:r>
            <a:endParaRPr lang="ru-RU" sz="1467" noProof="1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1920695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61D9534-D54C-489B-4AB2-B4EBBC609D7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hape 1">
            <a:extLst>
              <a:ext uri="{FF2B5EF4-FFF2-40B4-BE49-F238E27FC236}">
                <a16:creationId xmlns:a16="http://schemas.microsoft.com/office/drawing/2014/main" id="{A0880F92-AB0C-5561-ADA9-4B791BB8E3B9}"/>
              </a:ext>
            </a:extLst>
          </p:cNvPr>
          <p:cNvSpPr/>
          <p:nvPr/>
        </p:nvSpPr>
        <p:spPr>
          <a:xfrm>
            <a:off x="612458" y="2222182"/>
            <a:ext cx="196196" cy="2181868"/>
          </a:xfrm>
          <a:prstGeom prst="rect">
            <a:avLst/>
          </a:prstGeom>
          <a:solidFill>
            <a:srgbClr val="FFDC00"/>
          </a:solidFill>
          <a:ln w="12700">
            <a:solidFill>
              <a:srgbClr val="FFDC00"/>
            </a:solidFill>
            <a:prstDash val="solid"/>
          </a:ln>
        </p:spPr>
        <p:txBody>
          <a:bodyPr/>
          <a:lstStyle/>
          <a:p>
            <a:endParaRPr lang="ru-RU" sz="2400" noProof="1"/>
          </a:p>
        </p:txBody>
      </p:sp>
      <p:sp>
        <p:nvSpPr>
          <p:cNvPr id="4" name="Text 2">
            <a:extLst>
              <a:ext uri="{FF2B5EF4-FFF2-40B4-BE49-F238E27FC236}">
                <a16:creationId xmlns:a16="http://schemas.microsoft.com/office/drawing/2014/main" id="{111C5D43-1FD6-5B7C-EDD5-929F42891415}"/>
              </a:ext>
            </a:extLst>
          </p:cNvPr>
          <p:cNvSpPr/>
          <p:nvPr/>
        </p:nvSpPr>
        <p:spPr>
          <a:xfrm>
            <a:off x="914400" y="1975104"/>
            <a:ext cx="9144000" cy="146304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lvl="0">
              <a:defRPr/>
            </a:pPr>
            <a:endParaRPr lang="ru-RU" sz="3200" noProof="1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17C8AC66-054D-EB7E-3971-D325429AAA4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2458" y="637221"/>
            <a:ext cx="10944225" cy="1080120"/>
          </a:xfrm>
        </p:spPr>
        <p:txBody>
          <a:bodyPr/>
          <a:lstStyle/>
          <a:p>
            <a:pPr defTabSz="1219170">
              <a:spcBef>
                <a:spcPts val="0"/>
              </a:spcBef>
              <a:defRPr/>
            </a:pPr>
            <a:r>
              <a:rPr lang="ru-RU" sz="2667" noProof="1">
                <a:solidFill>
                  <a:srgbClr val="FFFFFF"/>
                </a:solidFill>
                <a:latin typeface="Trebuchet MS" pitchFamily="34" charset="0"/>
                <a:ea typeface="Trebuchet MS" pitchFamily="34" charset="-122"/>
                <a:cs typeface="Trebuchet MS" pitchFamily="34" charset="-120"/>
              </a:rPr>
              <a:t>Вызовы на этой карточке не исчезают только потому, что у вас есть хорошо спроектированная сессия.</a:t>
            </a:r>
            <a:endParaRPr lang="ru-RU" sz="2667" b="0" noProof="1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5" name="Text 4">
            <a:extLst>
              <a:ext uri="{FF2B5EF4-FFF2-40B4-BE49-F238E27FC236}">
                <a16:creationId xmlns:a16="http://schemas.microsoft.com/office/drawing/2014/main" id="{5FC74893-CC26-4FF4-DC29-1D3C54FE2DED}"/>
              </a:ext>
            </a:extLst>
          </p:cNvPr>
          <p:cNvSpPr/>
          <p:nvPr/>
        </p:nvSpPr>
        <p:spPr>
          <a:xfrm>
            <a:off x="1006463" y="2222181"/>
            <a:ext cx="10972800" cy="60960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2133" i="1" noProof="1">
                <a:solidFill>
                  <a:schemeClr val="bg1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Это условия, в которых будет реализован ваш дизайн.</a:t>
            </a:r>
            <a:endParaRPr lang="ru-RU" sz="2133" noProof="1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Text 7">
            <a:extLst>
              <a:ext uri="{FF2B5EF4-FFF2-40B4-BE49-F238E27FC236}">
                <a16:creationId xmlns:a16="http://schemas.microsoft.com/office/drawing/2014/main" id="{35BF84DD-F30A-EC74-20C3-3D36E636E0B6}"/>
              </a:ext>
            </a:extLst>
          </p:cNvPr>
          <p:cNvSpPr/>
          <p:nvPr/>
        </p:nvSpPr>
        <p:spPr>
          <a:xfrm>
            <a:off x="1006463" y="2895979"/>
            <a:ext cx="10485120" cy="36576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333" b="1" kern="0" spc="267" noProof="1">
                <a:solidFill>
                  <a:schemeClr val="bg1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ПЕРЕНЕСИТЕ ЭТО В СЕССИЮ 9</a:t>
            </a:r>
            <a:endParaRPr lang="ru-RU" sz="1333" noProof="1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Text 8">
            <a:extLst>
              <a:ext uri="{FF2B5EF4-FFF2-40B4-BE49-F238E27FC236}">
                <a16:creationId xmlns:a16="http://schemas.microsoft.com/office/drawing/2014/main" id="{A54041F8-BCF6-D754-06FC-921DA885D38F}"/>
              </a:ext>
            </a:extLst>
          </p:cNvPr>
          <p:cNvSpPr/>
          <p:nvPr/>
        </p:nvSpPr>
        <p:spPr>
          <a:xfrm>
            <a:off x="1006463" y="3261739"/>
            <a:ext cx="10485120" cy="1584960"/>
          </a:xfrm>
          <a:prstGeom prst="rect">
            <a:avLst/>
          </a:prstGeom>
          <a:noFill/>
          <a:ln/>
        </p:spPr>
        <p:txBody>
          <a:bodyPr wrap="square" rtlCol="0" anchor="t"/>
          <a:lstStyle/>
          <a:p>
            <a:pPr defTabSz="1219170">
              <a:defRPr/>
            </a:pPr>
            <a:r>
              <a:rPr lang="ru-RU" sz="2000" i="1" noProof="1">
                <a:solidFill>
                  <a:schemeClr val="bg1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Какой из девяти вызовов вам лично труднее всего дается  — и решает ли ваш дизайн в нынешнем виде его для группы педагогов, для которой вы разрабатываете?</a:t>
            </a:r>
            <a:endParaRPr lang="ru-RU" sz="2000" noProof="1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763796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4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hape 0"/>
          <p:cNvSpPr/>
          <p:nvPr/>
        </p:nvSpPr>
        <p:spPr>
          <a:xfrm>
            <a:off x="0" y="0"/>
            <a:ext cx="12192000" cy="1036320"/>
          </a:xfrm>
          <a:prstGeom prst="rect">
            <a:avLst/>
          </a:prstGeom>
          <a:solidFill>
            <a:srgbClr val="16303A"/>
          </a:solidFill>
          <a:ln w="12700">
            <a:solidFill>
              <a:srgbClr val="16303A"/>
            </a:solidFill>
            <a:prstDash val="solid"/>
          </a:ln>
        </p:spPr>
        <p:txBody>
          <a:bodyPr/>
          <a:lstStyle/>
          <a:p>
            <a:pPr defTabSz="1219170">
              <a:defRPr/>
            </a:pPr>
            <a:endParaRPr lang="ru-RU" sz="2400" noProof="1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3" name="Text 1"/>
          <p:cNvSpPr/>
          <p:nvPr/>
        </p:nvSpPr>
        <p:spPr>
          <a:xfrm>
            <a:off x="609600" y="0"/>
            <a:ext cx="10972800" cy="103632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867" b="1" kern="0" spc="267" noProof="1">
                <a:solidFill>
                  <a:srgbClr val="E8940A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СЕССИЯ 8  ·  СПИСОК МАТЕРИАЛОВ</a:t>
            </a:r>
            <a:endParaRPr lang="ru-RU" sz="1867" noProof="1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4" name="Shape 2"/>
          <p:cNvSpPr/>
          <p:nvPr/>
        </p:nvSpPr>
        <p:spPr>
          <a:xfrm>
            <a:off x="365760" y="1219200"/>
            <a:ext cx="11460480" cy="585216"/>
          </a:xfrm>
          <a:prstGeom prst="rect">
            <a:avLst/>
          </a:prstGeom>
          <a:solidFill>
            <a:srgbClr val="FFFFFF"/>
          </a:solidFill>
          <a:ln w="5080">
            <a:solidFill>
              <a:srgbClr val="B2D8DE"/>
            </a:solidFill>
            <a:prstDash val="solid"/>
          </a:ln>
        </p:spPr>
        <p:txBody>
          <a:bodyPr/>
          <a:lstStyle/>
          <a:p>
            <a:pPr defTabSz="1219170">
              <a:defRPr/>
            </a:pPr>
            <a:endParaRPr lang="ru-RU" sz="2400" noProof="1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5" name="Shape 3"/>
          <p:cNvSpPr/>
          <p:nvPr/>
        </p:nvSpPr>
        <p:spPr>
          <a:xfrm>
            <a:off x="487680" y="1328928"/>
            <a:ext cx="365760" cy="365760"/>
          </a:xfrm>
          <a:prstGeom prst="rect">
            <a:avLst/>
          </a:prstGeom>
          <a:solidFill>
            <a:srgbClr val="FFFFFF"/>
          </a:solidFill>
          <a:ln w="19050">
            <a:solidFill>
              <a:srgbClr val="027A87"/>
            </a:solidFill>
            <a:prstDash val="solid"/>
          </a:ln>
        </p:spPr>
        <p:txBody>
          <a:bodyPr/>
          <a:lstStyle/>
          <a:p>
            <a:pPr defTabSz="1219170">
              <a:defRPr/>
            </a:pPr>
            <a:endParaRPr lang="ru-RU" sz="2400" noProof="1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6" name="Text 4"/>
          <p:cNvSpPr/>
          <p:nvPr/>
        </p:nvSpPr>
        <p:spPr>
          <a:xfrm>
            <a:off x="1097280" y="1219200"/>
            <a:ext cx="4267200" cy="585216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467" b="1" noProof="1">
                <a:solidFill>
                  <a:srgbClr val="16303A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Карточка бинго с вызовами профессионального развития педагогов</a:t>
            </a:r>
            <a:endParaRPr lang="ru-RU" sz="1467" noProof="1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7" name="Text 5"/>
          <p:cNvSpPr/>
          <p:nvPr/>
        </p:nvSpPr>
        <p:spPr>
          <a:xfrm>
            <a:off x="5486400" y="1219200"/>
            <a:ext cx="6217920" cy="585216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400" noProof="1">
                <a:solidFill>
                  <a:srgbClr val="3D6673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А3, ламинированная при возможности  ·  по одной на стол  ·  единственный новый печатный материал</a:t>
            </a:r>
            <a:endParaRPr lang="ru-RU" sz="1400" noProof="1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8" name="Shape 6"/>
          <p:cNvSpPr/>
          <p:nvPr/>
        </p:nvSpPr>
        <p:spPr>
          <a:xfrm>
            <a:off x="365760" y="1853184"/>
            <a:ext cx="11460480" cy="585216"/>
          </a:xfrm>
          <a:prstGeom prst="rect">
            <a:avLst/>
          </a:prstGeom>
          <a:solidFill>
            <a:srgbClr val="D6F0F3"/>
          </a:solidFill>
          <a:ln w="5080">
            <a:solidFill>
              <a:srgbClr val="B2D8DE"/>
            </a:solidFill>
            <a:prstDash val="solid"/>
          </a:ln>
        </p:spPr>
        <p:txBody>
          <a:bodyPr/>
          <a:lstStyle/>
          <a:p>
            <a:pPr defTabSz="1219170">
              <a:defRPr/>
            </a:pPr>
            <a:endParaRPr lang="ru-RU" sz="2400" noProof="1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9" name="Shape 7"/>
          <p:cNvSpPr/>
          <p:nvPr/>
        </p:nvSpPr>
        <p:spPr>
          <a:xfrm>
            <a:off x="487680" y="1962912"/>
            <a:ext cx="365760" cy="365760"/>
          </a:xfrm>
          <a:prstGeom prst="rect">
            <a:avLst/>
          </a:prstGeom>
          <a:solidFill>
            <a:srgbClr val="FFFFFF"/>
          </a:solidFill>
          <a:ln w="19050">
            <a:solidFill>
              <a:srgbClr val="027A87"/>
            </a:solidFill>
            <a:prstDash val="solid"/>
          </a:ln>
        </p:spPr>
        <p:txBody>
          <a:bodyPr/>
          <a:lstStyle/>
          <a:p>
            <a:pPr defTabSz="1219170">
              <a:defRPr/>
            </a:pPr>
            <a:endParaRPr lang="ru-RU" sz="2400" noProof="1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0" name="Text 8"/>
          <p:cNvSpPr/>
          <p:nvPr/>
        </p:nvSpPr>
        <p:spPr>
          <a:xfrm>
            <a:off x="1097280" y="1853184"/>
            <a:ext cx="4267200" cy="585216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467" b="1" noProof="1">
                <a:solidFill>
                  <a:srgbClr val="16303A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Маркеры для доски или стикеры</a:t>
            </a:r>
            <a:endParaRPr lang="ru-RU" sz="1467" noProof="1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1" name="Text 9"/>
          <p:cNvSpPr/>
          <p:nvPr/>
        </p:nvSpPr>
        <p:spPr>
          <a:xfrm>
            <a:off x="5486400" y="1853184"/>
            <a:ext cx="6217920" cy="585216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400" noProof="1">
                <a:solidFill>
                  <a:srgbClr val="3D6673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Для записей в ячейках на ламинированных карточках</a:t>
            </a:r>
            <a:endParaRPr lang="ru-RU" sz="1400" noProof="1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2" name="Shape 10"/>
          <p:cNvSpPr/>
          <p:nvPr/>
        </p:nvSpPr>
        <p:spPr>
          <a:xfrm>
            <a:off x="365760" y="2487168"/>
            <a:ext cx="11460480" cy="585216"/>
          </a:xfrm>
          <a:prstGeom prst="rect">
            <a:avLst/>
          </a:prstGeom>
          <a:solidFill>
            <a:srgbClr val="FFFFFF"/>
          </a:solidFill>
          <a:ln w="5080">
            <a:solidFill>
              <a:srgbClr val="B2D8DE"/>
            </a:solidFill>
            <a:prstDash val="solid"/>
          </a:ln>
        </p:spPr>
        <p:txBody>
          <a:bodyPr/>
          <a:lstStyle/>
          <a:p>
            <a:pPr defTabSz="1219170">
              <a:defRPr/>
            </a:pPr>
            <a:endParaRPr lang="ru-RU" sz="2400" noProof="1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3" name="Shape 11"/>
          <p:cNvSpPr/>
          <p:nvPr/>
        </p:nvSpPr>
        <p:spPr>
          <a:xfrm>
            <a:off x="487680" y="2596896"/>
            <a:ext cx="365760" cy="365760"/>
          </a:xfrm>
          <a:prstGeom prst="rect">
            <a:avLst/>
          </a:prstGeom>
          <a:solidFill>
            <a:srgbClr val="FFFFFF"/>
          </a:solidFill>
          <a:ln w="19050">
            <a:solidFill>
              <a:srgbClr val="027A87"/>
            </a:solidFill>
            <a:prstDash val="solid"/>
          </a:ln>
        </p:spPr>
        <p:txBody>
          <a:bodyPr/>
          <a:lstStyle/>
          <a:p>
            <a:pPr defTabSz="1219170">
              <a:defRPr/>
            </a:pPr>
            <a:endParaRPr lang="ru-RU" sz="2400" noProof="1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4" name="Text 12"/>
          <p:cNvSpPr/>
          <p:nvPr/>
        </p:nvSpPr>
        <p:spPr>
          <a:xfrm>
            <a:off x="1097280" y="2487168"/>
            <a:ext cx="4267200" cy="585216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467" b="1" noProof="1">
                <a:solidFill>
                  <a:srgbClr val="16303A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Стикеры (двух цветов)</a:t>
            </a:r>
            <a:endParaRPr lang="ru-RU" sz="1467" noProof="1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5" name="Text 13"/>
          <p:cNvSpPr/>
          <p:nvPr/>
        </p:nvSpPr>
        <p:spPr>
          <a:xfrm>
            <a:off x="5486400" y="2487168"/>
            <a:ext cx="6217920" cy="585216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400" noProof="1">
                <a:solidFill>
                  <a:srgbClr val="3D6673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Уже на столах  ·  результат синтеза страновой группы</a:t>
            </a:r>
            <a:endParaRPr lang="ru-RU" sz="1400" noProof="1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6" name="Shape 14"/>
          <p:cNvSpPr/>
          <p:nvPr/>
        </p:nvSpPr>
        <p:spPr>
          <a:xfrm>
            <a:off x="365760" y="3121152"/>
            <a:ext cx="11460480" cy="585216"/>
          </a:xfrm>
          <a:prstGeom prst="rect">
            <a:avLst/>
          </a:prstGeom>
          <a:solidFill>
            <a:srgbClr val="D6F0F3"/>
          </a:solidFill>
          <a:ln w="5080">
            <a:solidFill>
              <a:srgbClr val="B2D8DE"/>
            </a:solidFill>
            <a:prstDash val="solid"/>
          </a:ln>
        </p:spPr>
        <p:txBody>
          <a:bodyPr/>
          <a:lstStyle/>
          <a:p>
            <a:pPr defTabSz="1219170">
              <a:defRPr/>
            </a:pPr>
            <a:endParaRPr lang="ru-RU" sz="2400" noProof="1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7" name="Shape 15"/>
          <p:cNvSpPr/>
          <p:nvPr/>
        </p:nvSpPr>
        <p:spPr>
          <a:xfrm>
            <a:off x="487680" y="3230880"/>
            <a:ext cx="365760" cy="365760"/>
          </a:xfrm>
          <a:prstGeom prst="rect">
            <a:avLst/>
          </a:prstGeom>
          <a:solidFill>
            <a:srgbClr val="FFFFFF"/>
          </a:solidFill>
          <a:ln w="19050">
            <a:solidFill>
              <a:srgbClr val="027A87"/>
            </a:solidFill>
            <a:prstDash val="solid"/>
          </a:ln>
        </p:spPr>
        <p:txBody>
          <a:bodyPr/>
          <a:lstStyle/>
          <a:p>
            <a:pPr defTabSz="1219170">
              <a:defRPr/>
            </a:pPr>
            <a:endParaRPr lang="ru-RU" sz="2400" noProof="1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8" name="Text 16"/>
          <p:cNvSpPr/>
          <p:nvPr/>
        </p:nvSpPr>
        <p:spPr>
          <a:xfrm>
            <a:off x="1097280" y="3121152"/>
            <a:ext cx="4267200" cy="585216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467" b="1" noProof="1">
                <a:solidFill>
                  <a:srgbClr val="16303A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Место на стене для страновых стикеров</a:t>
            </a:r>
            <a:endParaRPr lang="ru-RU" sz="1467" noProof="1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9" name="Text 17"/>
          <p:cNvSpPr/>
          <p:nvPr/>
        </p:nvSpPr>
        <p:spPr>
          <a:xfrm>
            <a:off x="5486400" y="3121152"/>
            <a:ext cx="6217920" cy="585216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400" noProof="1">
                <a:solidFill>
                  <a:srgbClr val="3D6673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Остаётся видимым до Дня 3</a:t>
            </a:r>
            <a:endParaRPr lang="ru-RU" sz="1400" noProof="1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20" name="Shape 18"/>
          <p:cNvSpPr/>
          <p:nvPr/>
        </p:nvSpPr>
        <p:spPr>
          <a:xfrm>
            <a:off x="365760" y="3755136"/>
            <a:ext cx="11460480" cy="585216"/>
          </a:xfrm>
          <a:prstGeom prst="rect">
            <a:avLst/>
          </a:prstGeom>
          <a:solidFill>
            <a:srgbClr val="FFFFFF"/>
          </a:solidFill>
          <a:ln w="5080">
            <a:solidFill>
              <a:srgbClr val="B2D8DE"/>
            </a:solidFill>
            <a:prstDash val="solid"/>
          </a:ln>
        </p:spPr>
        <p:txBody>
          <a:bodyPr/>
          <a:lstStyle/>
          <a:p>
            <a:pPr defTabSz="1219170">
              <a:defRPr/>
            </a:pPr>
            <a:endParaRPr lang="ru-RU" sz="2400" noProof="1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21" name="Shape 19"/>
          <p:cNvSpPr/>
          <p:nvPr/>
        </p:nvSpPr>
        <p:spPr>
          <a:xfrm>
            <a:off x="487680" y="3864864"/>
            <a:ext cx="365760" cy="365760"/>
          </a:xfrm>
          <a:prstGeom prst="rect">
            <a:avLst/>
          </a:prstGeom>
          <a:solidFill>
            <a:srgbClr val="FFFFFF"/>
          </a:solidFill>
          <a:ln w="19050">
            <a:solidFill>
              <a:srgbClr val="027A87"/>
            </a:solidFill>
            <a:prstDash val="solid"/>
          </a:ln>
        </p:spPr>
        <p:txBody>
          <a:bodyPr/>
          <a:lstStyle/>
          <a:p>
            <a:pPr defTabSz="1219170">
              <a:defRPr/>
            </a:pPr>
            <a:endParaRPr lang="ru-RU" sz="2400" noProof="1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22" name="Text 20"/>
          <p:cNvSpPr/>
          <p:nvPr/>
        </p:nvSpPr>
        <p:spPr>
          <a:xfrm>
            <a:off x="1097280" y="3755136"/>
            <a:ext cx="4267200" cy="585216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467" b="1" noProof="1">
                <a:solidFill>
                  <a:srgbClr val="16303A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Слайд: четырёхшаговый анализ</a:t>
            </a:r>
            <a:endParaRPr lang="ru-RU" sz="1467" noProof="1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23" name="Text 21"/>
          <p:cNvSpPr/>
          <p:nvPr/>
        </p:nvSpPr>
        <p:spPr>
          <a:xfrm>
            <a:off x="5486400" y="3755136"/>
            <a:ext cx="6217920" cy="585216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400" noProof="1">
                <a:solidFill>
                  <a:srgbClr val="3D6673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Показывается на протяжении всей фазы бинго</a:t>
            </a:r>
            <a:endParaRPr lang="ru-RU" sz="1400" noProof="1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24" name="Shape 22"/>
          <p:cNvSpPr/>
          <p:nvPr/>
        </p:nvSpPr>
        <p:spPr>
          <a:xfrm>
            <a:off x="365760" y="4389120"/>
            <a:ext cx="11460480" cy="585216"/>
          </a:xfrm>
          <a:prstGeom prst="rect">
            <a:avLst/>
          </a:prstGeom>
          <a:solidFill>
            <a:srgbClr val="D6F0F3"/>
          </a:solidFill>
          <a:ln w="5080">
            <a:solidFill>
              <a:srgbClr val="B2D8DE"/>
            </a:solidFill>
            <a:prstDash val="solid"/>
          </a:ln>
        </p:spPr>
        <p:txBody>
          <a:bodyPr/>
          <a:lstStyle/>
          <a:p>
            <a:pPr defTabSz="1219170">
              <a:defRPr/>
            </a:pPr>
            <a:endParaRPr lang="ru-RU" sz="2400" noProof="1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25" name="Shape 23"/>
          <p:cNvSpPr/>
          <p:nvPr/>
        </p:nvSpPr>
        <p:spPr>
          <a:xfrm>
            <a:off x="487680" y="4498848"/>
            <a:ext cx="365760" cy="365760"/>
          </a:xfrm>
          <a:prstGeom prst="rect">
            <a:avLst/>
          </a:prstGeom>
          <a:solidFill>
            <a:srgbClr val="FFFFFF"/>
          </a:solidFill>
          <a:ln w="19050">
            <a:solidFill>
              <a:srgbClr val="027A87"/>
            </a:solidFill>
            <a:prstDash val="solid"/>
          </a:ln>
        </p:spPr>
        <p:txBody>
          <a:bodyPr/>
          <a:lstStyle/>
          <a:p>
            <a:pPr defTabSz="1219170">
              <a:defRPr/>
            </a:pPr>
            <a:endParaRPr lang="ru-RU" sz="2400" noProof="1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26" name="Text 24"/>
          <p:cNvSpPr/>
          <p:nvPr/>
        </p:nvSpPr>
        <p:spPr>
          <a:xfrm>
            <a:off x="1097280" y="4389120"/>
            <a:ext cx="4267200" cy="585216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467" b="1" noProof="1">
                <a:solidFill>
                  <a:srgbClr val="16303A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Слайд: задание страновой группы</a:t>
            </a:r>
            <a:endParaRPr lang="ru-RU" sz="1467" noProof="1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27" name="Text 25"/>
          <p:cNvSpPr/>
          <p:nvPr/>
        </p:nvSpPr>
        <p:spPr>
          <a:xfrm>
            <a:off x="5486400" y="4389120"/>
            <a:ext cx="6217920" cy="585216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400" noProof="1">
                <a:solidFill>
                  <a:srgbClr val="3D6673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Включая пометку о приоритизациях подгрупп</a:t>
            </a:r>
            <a:endParaRPr lang="ru-RU" sz="1400" noProof="1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28" name="Shape 26"/>
          <p:cNvSpPr/>
          <p:nvPr/>
        </p:nvSpPr>
        <p:spPr>
          <a:xfrm>
            <a:off x="365760" y="5023104"/>
            <a:ext cx="11460480" cy="585216"/>
          </a:xfrm>
          <a:prstGeom prst="rect">
            <a:avLst/>
          </a:prstGeom>
          <a:solidFill>
            <a:srgbClr val="FFFFFF"/>
          </a:solidFill>
          <a:ln w="5080">
            <a:solidFill>
              <a:srgbClr val="B2D8DE"/>
            </a:solidFill>
            <a:prstDash val="solid"/>
          </a:ln>
        </p:spPr>
        <p:txBody>
          <a:bodyPr/>
          <a:lstStyle/>
          <a:p>
            <a:pPr defTabSz="1219170">
              <a:defRPr/>
            </a:pPr>
            <a:endParaRPr lang="ru-RU" sz="2400" noProof="1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29" name="Shape 27"/>
          <p:cNvSpPr/>
          <p:nvPr/>
        </p:nvSpPr>
        <p:spPr>
          <a:xfrm>
            <a:off x="487680" y="5132832"/>
            <a:ext cx="365760" cy="365760"/>
          </a:xfrm>
          <a:prstGeom prst="rect">
            <a:avLst/>
          </a:prstGeom>
          <a:solidFill>
            <a:srgbClr val="FFFFFF"/>
          </a:solidFill>
          <a:ln w="19050">
            <a:solidFill>
              <a:srgbClr val="027A87"/>
            </a:solidFill>
            <a:prstDash val="solid"/>
          </a:ln>
        </p:spPr>
        <p:txBody>
          <a:bodyPr/>
          <a:lstStyle/>
          <a:p>
            <a:pPr defTabSz="1219170">
              <a:defRPr/>
            </a:pPr>
            <a:endParaRPr lang="ru-RU" sz="2400" noProof="1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30" name="Text 28"/>
          <p:cNvSpPr/>
          <p:nvPr/>
        </p:nvSpPr>
        <p:spPr>
          <a:xfrm>
            <a:off x="1097280" y="5023104"/>
            <a:ext cx="4267200" cy="585216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467" b="1" noProof="1">
                <a:solidFill>
                  <a:srgbClr val="16303A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Дизайны карточек SCAFFOLD</a:t>
            </a:r>
            <a:endParaRPr lang="ru-RU" sz="1467" noProof="1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31" name="Text 29"/>
          <p:cNvSpPr/>
          <p:nvPr/>
        </p:nvSpPr>
        <p:spPr>
          <a:xfrm>
            <a:off x="5486400" y="5023104"/>
            <a:ext cx="6217920" cy="585216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400" noProof="1">
                <a:solidFill>
                  <a:srgbClr val="3D6673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С Сессий 5 и 6  ·  уже на столах  ·  используются для Шага 4</a:t>
            </a:r>
            <a:endParaRPr lang="ru-RU" sz="1400" noProof="1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32" name="Shape 30"/>
          <p:cNvSpPr/>
          <p:nvPr/>
        </p:nvSpPr>
        <p:spPr>
          <a:xfrm>
            <a:off x="365760" y="5657088"/>
            <a:ext cx="11460480" cy="585216"/>
          </a:xfrm>
          <a:prstGeom prst="rect">
            <a:avLst/>
          </a:prstGeom>
          <a:solidFill>
            <a:srgbClr val="D6F0F3"/>
          </a:solidFill>
          <a:ln w="5080">
            <a:solidFill>
              <a:srgbClr val="B2D8DE"/>
            </a:solidFill>
            <a:prstDash val="solid"/>
          </a:ln>
        </p:spPr>
        <p:txBody>
          <a:bodyPr/>
          <a:lstStyle/>
          <a:p>
            <a:pPr defTabSz="1219170">
              <a:defRPr/>
            </a:pPr>
            <a:endParaRPr lang="ru-RU" sz="2400" noProof="1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33" name="Shape 31"/>
          <p:cNvSpPr/>
          <p:nvPr/>
        </p:nvSpPr>
        <p:spPr>
          <a:xfrm>
            <a:off x="487680" y="5766816"/>
            <a:ext cx="365760" cy="365760"/>
          </a:xfrm>
          <a:prstGeom prst="rect">
            <a:avLst/>
          </a:prstGeom>
          <a:solidFill>
            <a:srgbClr val="FFFFFF"/>
          </a:solidFill>
          <a:ln w="19050">
            <a:solidFill>
              <a:srgbClr val="027A87"/>
            </a:solidFill>
            <a:prstDash val="solid"/>
          </a:ln>
        </p:spPr>
        <p:txBody>
          <a:bodyPr/>
          <a:lstStyle/>
          <a:p>
            <a:pPr defTabSz="1219170">
              <a:defRPr/>
            </a:pPr>
            <a:endParaRPr lang="ru-RU" sz="2400" noProof="1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34" name="Text 32"/>
          <p:cNvSpPr/>
          <p:nvPr/>
        </p:nvSpPr>
        <p:spPr>
          <a:xfrm>
            <a:off x="1097280" y="5657088"/>
            <a:ext cx="4267200" cy="585216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467" b="1" noProof="1">
                <a:solidFill>
                  <a:srgbClr val="16303A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Хронометраж  ·  темп бинго</a:t>
            </a:r>
            <a:endParaRPr lang="ru-RU" sz="1467" noProof="1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35" name="Text 33"/>
          <p:cNvSpPr/>
          <p:nvPr/>
        </p:nvSpPr>
        <p:spPr>
          <a:xfrm>
            <a:off x="5486400" y="5657088"/>
            <a:ext cx="6217920" cy="585216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400" noProof="1">
                <a:solidFill>
                  <a:srgbClr val="3D6673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Со-фасилитатор циркулирует, поддерживает высокую соревновательную энергию</a:t>
            </a:r>
            <a:endParaRPr lang="ru-RU" sz="1400" noProof="1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36" name="Shape 34"/>
          <p:cNvSpPr/>
          <p:nvPr/>
        </p:nvSpPr>
        <p:spPr>
          <a:xfrm>
            <a:off x="0" y="6547104"/>
            <a:ext cx="12192000" cy="304800"/>
          </a:xfrm>
          <a:prstGeom prst="rect">
            <a:avLst/>
          </a:prstGeom>
          <a:solidFill>
            <a:srgbClr val="D6F0F3"/>
          </a:solidFill>
          <a:ln w="12700">
            <a:solidFill>
              <a:srgbClr val="D6F0F3"/>
            </a:solidFill>
            <a:prstDash val="solid"/>
          </a:ln>
        </p:spPr>
        <p:txBody>
          <a:bodyPr/>
          <a:lstStyle/>
          <a:p>
            <a:pPr defTabSz="1219170">
              <a:defRPr/>
            </a:pPr>
            <a:endParaRPr lang="ru-RU" sz="2400" noProof="1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37" name="Text 35"/>
          <p:cNvSpPr/>
          <p:nvPr/>
        </p:nvSpPr>
        <p:spPr>
          <a:xfrm>
            <a:off x="365760" y="6547104"/>
            <a:ext cx="7315200" cy="30480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200" noProof="1">
                <a:solidFill>
                  <a:srgbClr val="3D6673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DARYA SCAFFOLD  ·  Алматы  ·  День 2  ·  Сессия 8</a:t>
            </a:r>
            <a:endParaRPr lang="ru-RU" sz="1200" noProof="1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38" name="Text 36"/>
          <p:cNvSpPr/>
          <p:nvPr/>
        </p:nvSpPr>
        <p:spPr>
          <a:xfrm>
            <a:off x="8168640" y="6547104"/>
            <a:ext cx="3657600" cy="30480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algn="r" defTabSz="1219170">
              <a:defRPr/>
            </a:pPr>
            <a:r>
              <a:rPr lang="ru-RU" sz="1200" noProof="1">
                <a:solidFill>
                  <a:srgbClr val="3D6673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15:15 – 16:00  ·  45 мин</a:t>
            </a:r>
            <a:endParaRPr lang="ru-RU" sz="1200" noProof="1">
              <a:solidFill>
                <a:prstClr val="black"/>
              </a:solidFill>
              <a:latin typeface="Calibri" panose="020F0502020204030204"/>
            </a:endParaRPr>
          </a:p>
        </p:txBody>
      </p:sp>
    </p:spTree>
  </p:cSld>
  <p:clrMapOvr>
    <a:masterClrMapping/>
  </p:clrMapOvr>
</p:sld>
</file>

<file path=ppt/slides/slide14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149466555"/>
      </p:ext>
    </p:extLst>
  </p:cSld>
  <p:clrMapOvr>
    <a:masterClrMapping/>
  </p:clrMapOvr>
</p:sld>
</file>

<file path=ppt/slides/slide1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22C16F0-9F7C-B671-F016-F588759C2D0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641C7E70-F7E2-94E8-569D-D2DC01138D6B}"/>
              </a:ext>
            </a:extLst>
          </p:cNvPr>
          <p:cNvSpPr/>
          <p:nvPr/>
        </p:nvSpPr>
        <p:spPr>
          <a:xfrm>
            <a:off x="552450" y="219075"/>
            <a:ext cx="1943100" cy="12287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noProof="1"/>
          </a:p>
        </p:txBody>
      </p:sp>
      <p:pic>
        <p:nvPicPr>
          <p:cNvPr id="10" name="Picture 9" descr="A blue flag with yellow stars&#10;&#10;AI-generated content may be incorrect.">
            <a:extLst>
              <a:ext uri="{FF2B5EF4-FFF2-40B4-BE49-F238E27FC236}">
                <a16:creationId xmlns:a16="http://schemas.microsoft.com/office/drawing/2014/main" id="{63B0457E-4ACD-EF6D-15B5-C3BD3EFAA26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67" r="-524" b="5181"/>
          <a:stretch>
            <a:fillRect/>
          </a:stretch>
        </p:blipFill>
        <p:spPr bwMode="auto">
          <a:xfrm>
            <a:off x="10242394" y="85444"/>
            <a:ext cx="1783073" cy="1715333"/>
          </a:xfrm>
          <a:prstGeom prst="rect">
            <a:avLst/>
          </a:prstGeom>
          <a:noFill/>
        </p:spPr>
      </p:pic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36A59CE4-7E5E-5182-BE72-29E242F02FE5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/>
        <p:txBody>
          <a:bodyPr/>
          <a:lstStyle/>
          <a:p>
            <a:endParaRPr lang="ru-RU" noProof="1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AB4EBA62-AF93-3F53-1D5D-123419C07C6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ru-RU" noProof="1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30D401B7-8D1A-AED0-D56D-791197C42A6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ru-RU" noProof="1"/>
          </a:p>
        </p:txBody>
      </p:sp>
      <p:pic>
        <p:nvPicPr>
          <p:cNvPr id="12" name="Picture 11" descr="A blue text on a black background&#10;&#10;AI-generated content may be incorrect.">
            <a:extLst>
              <a:ext uri="{FF2B5EF4-FFF2-40B4-BE49-F238E27FC236}">
                <a16:creationId xmlns:a16="http://schemas.microsoft.com/office/drawing/2014/main" id="{D9E83AFB-4732-3321-33D6-E11EF126CFF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5293" y="89083"/>
            <a:ext cx="2030830" cy="1224303"/>
          </a:xfrm>
          <a:prstGeom prst="rect">
            <a:avLst/>
          </a:prstGeom>
          <a:noFill/>
        </p:spPr>
      </p:pic>
      <p:pic>
        <p:nvPicPr>
          <p:cNvPr id="15" name="Picture 14" descr="A logo with stars and text&#10;&#10;AI-generated content may be incorrect.">
            <a:extLst>
              <a:ext uri="{FF2B5EF4-FFF2-40B4-BE49-F238E27FC236}">
                <a16:creationId xmlns:a16="http://schemas.microsoft.com/office/drawing/2014/main" id="{C0209233-3F5D-4CD9-47A9-93D20C907414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81196" y="5210046"/>
            <a:ext cx="2111127" cy="1713490"/>
          </a:xfrm>
          <a:prstGeom prst="rect">
            <a:avLst/>
          </a:prstGeom>
        </p:spPr>
      </p:pic>
      <p:sp>
        <p:nvSpPr>
          <p:cNvPr id="2" name="TextBox 2">
            <a:extLst>
              <a:ext uri="{FF2B5EF4-FFF2-40B4-BE49-F238E27FC236}">
                <a16:creationId xmlns:a16="http://schemas.microsoft.com/office/drawing/2014/main" id="{D7AA4606-8CAA-7CCB-EE35-27BC4E1B3B4A}"/>
              </a:ext>
            </a:extLst>
          </p:cNvPr>
          <p:cNvSpPr txBox="1"/>
          <p:nvPr/>
        </p:nvSpPr>
        <p:spPr>
          <a:xfrm>
            <a:off x="176045" y="2020180"/>
            <a:ext cx="7361854" cy="3920304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>
            <a:defPPr>
              <a:defRPr lang="en-GB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ru-RU" sz="3600" b="1" kern="100" noProof="1">
                <a:solidFill>
                  <a:schemeClr val="tx1">
                    <a:lumMod val="65000"/>
                    <a:lumOff val="35000"/>
                  </a:schemeClr>
                </a:solidFill>
                <a:ea typeface="+mn-lt"/>
                <a:cs typeface="+mn-lt"/>
              </a:rPr>
              <a:t>Перерыв на кофе</a:t>
            </a:r>
            <a:endParaRPr lang="ru-RU" sz="3600" b="1" noProof="1">
              <a:solidFill>
                <a:schemeClr val="tx1">
                  <a:lumMod val="65000"/>
                  <a:lumOff val="35000"/>
                </a:schemeClr>
              </a:solidFill>
              <a:cs typeface="Arial"/>
            </a:endParaRPr>
          </a:p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ru-RU" sz="3600" b="1" kern="100" noProof="1">
                <a:solidFill>
                  <a:schemeClr val="tx1">
                    <a:lumMod val="65000"/>
                    <a:lumOff val="35000"/>
                  </a:schemeClr>
                </a:solidFill>
                <a:cs typeface="Arial"/>
              </a:rPr>
              <a:t>15:50 – 16:15 </a:t>
            </a:r>
          </a:p>
          <a:p>
            <a:pPr algn="ctr">
              <a:lnSpc>
                <a:spcPct val="107000"/>
              </a:lnSpc>
              <a:spcAft>
                <a:spcPts val="800"/>
              </a:spcAft>
            </a:pPr>
            <a:endParaRPr lang="ru-RU" sz="3600" b="1" kern="100" noProof="1">
              <a:solidFill>
                <a:schemeClr val="tx1">
                  <a:lumMod val="65000"/>
                  <a:lumOff val="35000"/>
                </a:schemeClr>
              </a:solidFill>
              <a:cs typeface="Arial"/>
            </a:endParaRPr>
          </a:p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ru-RU" sz="3600" b="1" kern="100" noProof="1">
                <a:solidFill>
                  <a:schemeClr val="tx1">
                    <a:lumMod val="65000"/>
                    <a:lumOff val="35000"/>
                  </a:schemeClr>
                </a:solidFill>
                <a:cs typeface="Arial"/>
              </a:rPr>
              <a:t>Coffee break</a:t>
            </a:r>
          </a:p>
          <a:p>
            <a:pPr algn="ctr"/>
            <a:r>
              <a:rPr lang="ru-RU" sz="3600" b="1" kern="100" noProof="1">
                <a:solidFill>
                  <a:schemeClr val="tx1">
                    <a:lumMod val="65000"/>
                    <a:lumOff val="35000"/>
                  </a:schemeClr>
                </a:solidFill>
                <a:cs typeface="Arial"/>
              </a:rPr>
              <a:t>15:50 – 16:15 </a:t>
            </a:r>
          </a:p>
          <a:p>
            <a:endParaRPr lang="ru-RU" sz="3200" b="1" noProof="1">
              <a:cs typeface="Arial" panose="020B0604020202020204"/>
            </a:endParaRPr>
          </a:p>
        </p:txBody>
      </p:sp>
    </p:spTree>
    <p:extLst>
      <p:ext uri="{BB962C8B-B14F-4D97-AF65-F5344CB8AC3E}">
        <p14:creationId xmlns:p14="http://schemas.microsoft.com/office/powerpoint/2010/main" val="227944387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C2B8262-5E0C-0AB6-614B-127D04F8552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0">
            <a:extLst>
              <a:ext uri="{FF2B5EF4-FFF2-40B4-BE49-F238E27FC236}">
                <a16:creationId xmlns:a16="http://schemas.microsoft.com/office/drawing/2014/main" id="{64E52308-E74F-183F-EE1E-0B4822DAFA69}"/>
              </a:ext>
            </a:extLst>
          </p:cNvPr>
          <p:cNvSpPr/>
          <p:nvPr/>
        </p:nvSpPr>
        <p:spPr>
          <a:xfrm>
            <a:off x="7315200" y="-487680"/>
            <a:ext cx="5120640" cy="548640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algn="r"/>
            <a:r>
              <a:rPr lang="ru-RU" sz="42666" b="1" noProof="1">
                <a:solidFill>
                  <a:srgbClr val="0092BB">
                    <a:alpha val="40000"/>
                  </a:srgbClr>
                </a:solidFill>
                <a:latin typeface="Trebuchet MS" pitchFamily="34" charset="0"/>
                <a:ea typeface="Trebuchet MS" pitchFamily="34" charset="-122"/>
                <a:cs typeface="Trebuchet MS" pitchFamily="34" charset="-120"/>
              </a:rPr>
              <a:t>09</a:t>
            </a:r>
            <a:endParaRPr lang="ru-RU" sz="42666" noProof="1"/>
          </a:p>
        </p:txBody>
      </p:sp>
      <p:sp>
        <p:nvSpPr>
          <p:cNvPr id="3" name="Shape 1">
            <a:extLst>
              <a:ext uri="{FF2B5EF4-FFF2-40B4-BE49-F238E27FC236}">
                <a16:creationId xmlns:a16="http://schemas.microsoft.com/office/drawing/2014/main" id="{545D1F9E-E602-A621-2937-8A87FD523E20}"/>
              </a:ext>
            </a:extLst>
          </p:cNvPr>
          <p:cNvSpPr/>
          <p:nvPr/>
        </p:nvSpPr>
        <p:spPr>
          <a:xfrm>
            <a:off x="654178" y="1402519"/>
            <a:ext cx="101726" cy="3709181"/>
          </a:xfrm>
          <a:prstGeom prst="rect">
            <a:avLst/>
          </a:prstGeom>
          <a:solidFill>
            <a:srgbClr val="FFDC00"/>
          </a:solidFill>
          <a:ln w="12700">
            <a:solidFill>
              <a:srgbClr val="FFDC00"/>
            </a:solidFill>
            <a:prstDash val="solid"/>
          </a:ln>
        </p:spPr>
        <p:txBody>
          <a:bodyPr/>
          <a:lstStyle/>
          <a:p>
            <a:endParaRPr lang="ru-RU" sz="2400" noProof="1"/>
          </a:p>
        </p:txBody>
      </p:sp>
      <p:sp>
        <p:nvSpPr>
          <p:cNvPr id="4" name="Text 2">
            <a:extLst>
              <a:ext uri="{FF2B5EF4-FFF2-40B4-BE49-F238E27FC236}">
                <a16:creationId xmlns:a16="http://schemas.microsoft.com/office/drawing/2014/main" id="{40647495-B34E-9F34-6A91-CF959FD85342}"/>
              </a:ext>
            </a:extLst>
          </p:cNvPr>
          <p:cNvSpPr/>
          <p:nvPr/>
        </p:nvSpPr>
        <p:spPr>
          <a:xfrm>
            <a:off x="914400" y="1975104"/>
            <a:ext cx="9144000" cy="146304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>
              <a:defRPr/>
            </a:pPr>
            <a:r>
              <a:rPr lang="ru-RU" sz="3200" b="1" noProof="1">
                <a:solidFill>
                  <a:srgbClr val="FFFFFF"/>
                </a:solidFill>
                <a:latin typeface="Arial" panose="020B0604020202020204" pitchFamily="34" charset="0"/>
                <a:ea typeface="Trebuchet MS" pitchFamily="34" charset="-122"/>
                <a:cs typeface="Arial" panose="020B0604020202020204" pitchFamily="34" charset="0"/>
              </a:rPr>
              <a:t>Оценка профессионального развития педагогов: формативная оценка</a:t>
            </a:r>
          </a:p>
        </p:txBody>
      </p:sp>
      <p:sp>
        <p:nvSpPr>
          <p:cNvPr id="5" name="Shape 3">
            <a:extLst>
              <a:ext uri="{FF2B5EF4-FFF2-40B4-BE49-F238E27FC236}">
                <a16:creationId xmlns:a16="http://schemas.microsoft.com/office/drawing/2014/main" id="{6963EC17-7764-C90A-1AD0-8F8AABC22801}"/>
              </a:ext>
            </a:extLst>
          </p:cNvPr>
          <p:cNvSpPr/>
          <p:nvPr/>
        </p:nvSpPr>
        <p:spPr>
          <a:xfrm>
            <a:off x="1015537" y="3605073"/>
            <a:ext cx="3413760" cy="512064"/>
          </a:xfrm>
          <a:prstGeom prst="roundRect">
            <a:avLst>
              <a:gd name="adj" fmla="val 14286"/>
            </a:avLst>
          </a:prstGeom>
          <a:solidFill>
            <a:srgbClr val="FFDC00"/>
          </a:solidFill>
          <a:ln w="12700">
            <a:solidFill>
              <a:srgbClr val="FFDC00"/>
            </a:solidFill>
            <a:prstDash val="solid"/>
          </a:ln>
        </p:spPr>
        <p:txBody>
          <a:bodyPr/>
          <a:lstStyle/>
          <a:p>
            <a:endParaRPr lang="ru-RU" sz="2400" noProof="1"/>
          </a:p>
        </p:txBody>
      </p:sp>
      <p:sp>
        <p:nvSpPr>
          <p:cNvPr id="6" name="Text 4">
            <a:extLst>
              <a:ext uri="{FF2B5EF4-FFF2-40B4-BE49-F238E27FC236}">
                <a16:creationId xmlns:a16="http://schemas.microsoft.com/office/drawing/2014/main" id="{0C65F444-3C03-ED0B-1608-6EB2CFC720E1}"/>
              </a:ext>
            </a:extLst>
          </p:cNvPr>
          <p:cNvSpPr/>
          <p:nvPr/>
        </p:nvSpPr>
        <p:spPr>
          <a:xfrm>
            <a:off x="1015537" y="3605073"/>
            <a:ext cx="3255264" cy="512064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lvl="0" algn="ctr">
              <a:defRPr/>
            </a:pPr>
            <a:r>
              <a:rPr lang="ru-RU" sz="1867" b="1" noProof="1">
                <a:solidFill>
                  <a:schemeClr val="accent2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16:15 – 17:15  ·  60 минут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F474EBCF-21D6-A02B-905D-4AA8835717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15537" y="1322064"/>
            <a:ext cx="10944225" cy="1080120"/>
          </a:xfrm>
        </p:spPr>
        <p:txBody>
          <a:bodyPr/>
          <a:lstStyle/>
          <a:p>
            <a:pPr algn="l"/>
            <a:r>
              <a:rPr lang="ru-RU" sz="3200" noProof="1">
                <a:solidFill>
                  <a:schemeClr val="accent4"/>
                </a:solidFill>
                <a:latin typeface="Arial" panose="020B0604020202020204" pitchFamily="34" charset="0"/>
                <a:ea typeface="Georgia" pitchFamily="34" charset="-122"/>
              </a:rPr>
              <a:t>Сессия 9</a:t>
            </a:r>
            <a:endParaRPr lang="ru-RU" b="1" noProof="1">
              <a:solidFill>
                <a:schemeClr val="accent4"/>
              </a:solidFill>
              <a:latin typeface="Arial" panose="020B0604020202020204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152E0912-26C9-3935-4A4B-A0787678C398}"/>
              </a:ext>
            </a:extLst>
          </p:cNvPr>
          <p:cNvSpPr txBox="1"/>
          <p:nvPr/>
        </p:nvSpPr>
        <p:spPr>
          <a:xfrm>
            <a:off x="914400" y="4444723"/>
            <a:ext cx="9144000" cy="6669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ru-RU" sz="1867" i="1" noProof="1">
                <a:solidFill>
                  <a:schemeClr val="bg1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Смешанные (по странам) группы за столами  ·  пары для сравнения  ·  пленарное заседание для синтеза</a:t>
            </a:r>
          </a:p>
        </p:txBody>
      </p:sp>
    </p:spTree>
    <p:extLst>
      <p:ext uri="{BB962C8B-B14F-4D97-AF65-F5344CB8AC3E}">
        <p14:creationId xmlns:p14="http://schemas.microsoft.com/office/powerpoint/2010/main" val="67651905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4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DF9FE748-399C-D179-EE12-FBD658AD73D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5317" y="221940"/>
            <a:ext cx="7815651" cy="1080120"/>
          </a:xfrm>
        </p:spPr>
        <p:txBody>
          <a:bodyPr/>
          <a:lstStyle/>
          <a:p>
            <a:r>
              <a:rPr lang="ru-RU" noProof="1"/>
              <a:t>Цель и ожидаемые результаты</a:t>
            </a:r>
          </a:p>
        </p:txBody>
      </p:sp>
      <p:sp>
        <p:nvSpPr>
          <p:cNvPr id="4" name="Shape 2">
            <a:extLst>
              <a:ext uri="{FF2B5EF4-FFF2-40B4-BE49-F238E27FC236}">
                <a16:creationId xmlns:a16="http://schemas.microsoft.com/office/drawing/2014/main" id="{3AD8CB09-0F97-A4CB-25CE-D99DCCCF795F}"/>
              </a:ext>
            </a:extLst>
          </p:cNvPr>
          <p:cNvSpPr/>
          <p:nvPr/>
        </p:nvSpPr>
        <p:spPr>
          <a:xfrm>
            <a:off x="635317" y="1280160"/>
            <a:ext cx="11190923" cy="1889760"/>
          </a:xfrm>
          <a:prstGeom prst="rect">
            <a:avLst/>
          </a:prstGeom>
          <a:solidFill>
            <a:srgbClr val="D6F0F3"/>
          </a:solidFill>
          <a:ln w="7620">
            <a:solidFill>
              <a:srgbClr val="B2D8DE"/>
            </a:solidFill>
            <a:prstDash val="solid"/>
          </a:ln>
        </p:spPr>
        <p:txBody>
          <a:bodyPr/>
          <a:lstStyle/>
          <a:p>
            <a:pPr defTabSz="1219170">
              <a:defRPr/>
            </a:pPr>
            <a:endParaRPr lang="ru-RU" sz="2400" noProof="1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Text 3">
            <a:extLst>
              <a:ext uri="{FF2B5EF4-FFF2-40B4-BE49-F238E27FC236}">
                <a16:creationId xmlns:a16="http://schemas.microsoft.com/office/drawing/2014/main" id="{5E3C8EF7-BF02-BAE9-02F0-7448E619416C}"/>
              </a:ext>
            </a:extLst>
          </p:cNvPr>
          <p:cNvSpPr/>
          <p:nvPr/>
        </p:nvSpPr>
        <p:spPr>
          <a:xfrm>
            <a:off x="867686" y="1402080"/>
            <a:ext cx="10714713" cy="36576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467" b="1" kern="0" spc="267" noProof="1"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ЦЕЛЬ</a:t>
            </a:r>
            <a:endParaRPr lang="ru-RU" sz="1467" noProof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Text 4">
            <a:extLst>
              <a:ext uri="{FF2B5EF4-FFF2-40B4-BE49-F238E27FC236}">
                <a16:creationId xmlns:a16="http://schemas.microsoft.com/office/drawing/2014/main" id="{E907010F-6E9F-2FFF-8105-CE5C21D8F1CB}"/>
              </a:ext>
            </a:extLst>
          </p:cNvPr>
          <p:cNvSpPr/>
          <p:nvPr/>
        </p:nvSpPr>
        <p:spPr>
          <a:xfrm>
            <a:off x="867686" y="1767840"/>
            <a:ext cx="10714713" cy="1341120"/>
          </a:xfrm>
          <a:prstGeom prst="rect">
            <a:avLst/>
          </a:prstGeom>
          <a:noFill/>
          <a:ln/>
        </p:spPr>
        <p:txBody>
          <a:bodyPr wrap="square" rtlCol="0" anchor="t"/>
          <a:lstStyle/>
          <a:p>
            <a:pPr defTabSz="1219170">
              <a:defRPr/>
            </a:pPr>
            <a:r>
              <a:rPr lang="ru-RU" sz="1600" noProof="1"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Снабдить вас практической рамкой для оценки профессионального развития педагогов и применить её напрямую к сессии, которую вы создали этим утром. К концу этой сессии ваш дизайн будет иметь конкретный, реалистичный момент оценки Уровня 3, подходящий для группы педагогов в вашем задании — и вы сравните этот подход со столом-партнёром, работавшим над тем же заданием.</a:t>
            </a:r>
            <a:endParaRPr lang="ru-RU" sz="1600" noProof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Text 5">
            <a:extLst>
              <a:ext uri="{FF2B5EF4-FFF2-40B4-BE49-F238E27FC236}">
                <a16:creationId xmlns:a16="http://schemas.microsoft.com/office/drawing/2014/main" id="{135A1FB6-2538-31F8-6E53-FD615B6EE03E}"/>
              </a:ext>
            </a:extLst>
          </p:cNvPr>
          <p:cNvSpPr/>
          <p:nvPr/>
        </p:nvSpPr>
        <p:spPr>
          <a:xfrm>
            <a:off x="635317" y="3474720"/>
            <a:ext cx="11190923" cy="36576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467" b="1" kern="0" spc="267" noProof="1">
                <a:solidFill>
                  <a:schemeClr val="bg1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К КОНЦУ ЭТОЙ СЕССИИ ВЫ СМОЖЕТЕ:</a:t>
            </a:r>
            <a:endParaRPr lang="ru-RU" sz="1467" noProof="1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Shape 6">
            <a:extLst>
              <a:ext uri="{FF2B5EF4-FFF2-40B4-BE49-F238E27FC236}">
                <a16:creationId xmlns:a16="http://schemas.microsoft.com/office/drawing/2014/main" id="{0BF822FD-C91B-2E40-2D1F-E3BC129337F7}"/>
              </a:ext>
            </a:extLst>
          </p:cNvPr>
          <p:cNvSpPr/>
          <p:nvPr/>
        </p:nvSpPr>
        <p:spPr>
          <a:xfrm>
            <a:off x="760408" y="4145280"/>
            <a:ext cx="476209" cy="487680"/>
          </a:xfrm>
          <a:prstGeom prst="ellipse">
            <a:avLst/>
          </a:prstGeom>
          <a:solidFill>
            <a:srgbClr val="E8940A"/>
          </a:solidFill>
          <a:ln w="12700">
            <a:solidFill>
              <a:srgbClr val="E8940A"/>
            </a:solidFill>
            <a:prstDash val="solid"/>
          </a:ln>
        </p:spPr>
        <p:txBody>
          <a:bodyPr/>
          <a:lstStyle/>
          <a:p>
            <a:pPr defTabSz="1219170">
              <a:defRPr/>
            </a:pPr>
            <a:endParaRPr lang="ru-RU" sz="2400" noProof="1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Text 7">
            <a:extLst>
              <a:ext uri="{FF2B5EF4-FFF2-40B4-BE49-F238E27FC236}">
                <a16:creationId xmlns:a16="http://schemas.microsoft.com/office/drawing/2014/main" id="{2C9FC6EE-EFDD-9F08-F420-054258AA007D}"/>
              </a:ext>
            </a:extLst>
          </p:cNvPr>
          <p:cNvSpPr/>
          <p:nvPr/>
        </p:nvSpPr>
        <p:spPr>
          <a:xfrm>
            <a:off x="760408" y="4145280"/>
            <a:ext cx="476209" cy="48768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algn="ctr" defTabSz="1219170">
              <a:defRPr/>
            </a:pPr>
            <a:r>
              <a:rPr lang="ru-RU" sz="1867" b="1" noProof="1">
                <a:solidFill>
                  <a:schemeClr val="bg1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1</a:t>
            </a:r>
            <a:endParaRPr lang="ru-RU" sz="1867" noProof="1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Text 8">
            <a:extLst>
              <a:ext uri="{FF2B5EF4-FFF2-40B4-BE49-F238E27FC236}">
                <a16:creationId xmlns:a16="http://schemas.microsoft.com/office/drawing/2014/main" id="{7E095CBE-444E-7B95-A429-5B26F0DD2C95}"/>
              </a:ext>
            </a:extLst>
          </p:cNvPr>
          <p:cNvSpPr/>
          <p:nvPr/>
        </p:nvSpPr>
        <p:spPr>
          <a:xfrm>
            <a:off x="1409157" y="3962400"/>
            <a:ext cx="10417083" cy="67056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600" noProof="1">
                <a:solidFill>
                  <a:schemeClr val="bg1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Разграничивать оценку на Уровнях 1–4 и связывать каждый уровень с индикаторами качества</a:t>
            </a:r>
            <a:endParaRPr lang="ru-RU" sz="1600" noProof="1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Shape 9">
            <a:extLst>
              <a:ext uri="{FF2B5EF4-FFF2-40B4-BE49-F238E27FC236}">
                <a16:creationId xmlns:a16="http://schemas.microsoft.com/office/drawing/2014/main" id="{9EFA4803-009F-9DD8-E20A-C26FE1E3A29A}"/>
              </a:ext>
            </a:extLst>
          </p:cNvPr>
          <p:cNvSpPr/>
          <p:nvPr/>
        </p:nvSpPr>
        <p:spPr>
          <a:xfrm>
            <a:off x="760408" y="4876800"/>
            <a:ext cx="476209" cy="487680"/>
          </a:xfrm>
          <a:prstGeom prst="ellipse">
            <a:avLst/>
          </a:prstGeom>
          <a:solidFill>
            <a:srgbClr val="E8940A"/>
          </a:solidFill>
          <a:ln w="12700">
            <a:solidFill>
              <a:srgbClr val="E8940A"/>
            </a:solidFill>
            <a:prstDash val="solid"/>
          </a:ln>
        </p:spPr>
        <p:txBody>
          <a:bodyPr/>
          <a:lstStyle/>
          <a:p>
            <a:pPr defTabSz="1219170">
              <a:defRPr/>
            </a:pPr>
            <a:endParaRPr lang="ru-RU" sz="2400" noProof="1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Text 10">
            <a:extLst>
              <a:ext uri="{FF2B5EF4-FFF2-40B4-BE49-F238E27FC236}">
                <a16:creationId xmlns:a16="http://schemas.microsoft.com/office/drawing/2014/main" id="{3CBF3CD9-645F-CDCE-1261-A1A7B1AC6381}"/>
              </a:ext>
            </a:extLst>
          </p:cNvPr>
          <p:cNvSpPr/>
          <p:nvPr/>
        </p:nvSpPr>
        <p:spPr>
          <a:xfrm>
            <a:off x="760408" y="4876800"/>
            <a:ext cx="476209" cy="48768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algn="ctr" defTabSz="1219170">
              <a:defRPr/>
            </a:pPr>
            <a:r>
              <a:rPr lang="ru-RU" sz="1867" b="1" noProof="1">
                <a:solidFill>
                  <a:schemeClr val="bg1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2</a:t>
            </a:r>
            <a:endParaRPr lang="ru-RU" sz="1867" noProof="1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Text 11">
            <a:extLst>
              <a:ext uri="{FF2B5EF4-FFF2-40B4-BE49-F238E27FC236}">
                <a16:creationId xmlns:a16="http://schemas.microsoft.com/office/drawing/2014/main" id="{957A9FCA-CF0E-566E-1242-31A22AA7A834}"/>
              </a:ext>
            </a:extLst>
          </p:cNvPr>
          <p:cNvSpPr/>
          <p:nvPr/>
        </p:nvSpPr>
        <p:spPr>
          <a:xfrm>
            <a:off x="1409157" y="4693920"/>
            <a:ext cx="10417083" cy="67056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600" noProof="1">
                <a:solidFill>
                  <a:schemeClr val="bg1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Разрабатывать конкретный, реалистичный момент оценки Уровня 3 для вашей сессии профессионального развития педагогов, подходящий для группы педагогов в вашем задании</a:t>
            </a:r>
            <a:endParaRPr lang="ru-RU" sz="1600" noProof="1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Shape 12">
            <a:extLst>
              <a:ext uri="{FF2B5EF4-FFF2-40B4-BE49-F238E27FC236}">
                <a16:creationId xmlns:a16="http://schemas.microsoft.com/office/drawing/2014/main" id="{CF6E32F6-CFF2-4AFA-B6D1-471E2E1F940F}"/>
              </a:ext>
            </a:extLst>
          </p:cNvPr>
          <p:cNvSpPr/>
          <p:nvPr/>
        </p:nvSpPr>
        <p:spPr>
          <a:xfrm>
            <a:off x="760408" y="5608320"/>
            <a:ext cx="476209" cy="487680"/>
          </a:xfrm>
          <a:prstGeom prst="ellipse">
            <a:avLst/>
          </a:prstGeom>
          <a:solidFill>
            <a:srgbClr val="E8940A"/>
          </a:solidFill>
          <a:ln w="12700">
            <a:solidFill>
              <a:srgbClr val="E8940A"/>
            </a:solidFill>
            <a:prstDash val="solid"/>
          </a:ln>
        </p:spPr>
        <p:txBody>
          <a:bodyPr/>
          <a:lstStyle/>
          <a:p>
            <a:pPr defTabSz="1219170">
              <a:defRPr/>
            </a:pPr>
            <a:endParaRPr lang="ru-RU" sz="2400" noProof="1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Text 13">
            <a:extLst>
              <a:ext uri="{FF2B5EF4-FFF2-40B4-BE49-F238E27FC236}">
                <a16:creationId xmlns:a16="http://schemas.microsoft.com/office/drawing/2014/main" id="{7B6B80C2-4EBE-82B3-18C2-962145FFE5AC}"/>
              </a:ext>
            </a:extLst>
          </p:cNvPr>
          <p:cNvSpPr/>
          <p:nvPr/>
        </p:nvSpPr>
        <p:spPr>
          <a:xfrm>
            <a:off x="760408" y="5608320"/>
            <a:ext cx="476209" cy="48768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algn="ctr" defTabSz="1219170">
              <a:defRPr/>
            </a:pPr>
            <a:r>
              <a:rPr lang="ru-RU" sz="1867" b="1" noProof="1">
                <a:solidFill>
                  <a:schemeClr val="bg1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3</a:t>
            </a:r>
            <a:endParaRPr lang="ru-RU" sz="1867" noProof="1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Text 14">
            <a:extLst>
              <a:ext uri="{FF2B5EF4-FFF2-40B4-BE49-F238E27FC236}">
                <a16:creationId xmlns:a16="http://schemas.microsoft.com/office/drawing/2014/main" id="{A5B1FD8E-134B-0B5B-61F1-67052DF90941}"/>
              </a:ext>
            </a:extLst>
          </p:cNvPr>
          <p:cNvSpPr/>
          <p:nvPr/>
        </p:nvSpPr>
        <p:spPr>
          <a:xfrm>
            <a:off x="1409157" y="5425440"/>
            <a:ext cx="10417083" cy="67056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600" noProof="1">
                <a:solidFill>
                  <a:schemeClr val="bg1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Сравнивать подходы к оценке со столом-партнёром и определять, что различие выявляет об оценке профессионального развития педагогов для данной группы педагогов</a:t>
            </a:r>
            <a:endParaRPr lang="ru-RU" sz="1600" noProof="1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6652268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1023CC91-C96E-F1C5-A015-FA85DE7E989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DB84476-BC29-4407-9D57-B2E562B8968B}" type="slidenum">
              <a:rPr lang="ru-RU" noProof="1" smtClean="0"/>
              <a:pPr/>
              <a:t>147</a:t>
            </a:fld>
            <a:endParaRPr lang="ru-RU" noProof="1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F2BF7E5-41EF-5484-00F3-438C672D27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68399" y="1193409"/>
            <a:ext cx="7815651" cy="1080120"/>
          </a:xfrm>
        </p:spPr>
        <p:txBody>
          <a:bodyPr/>
          <a:lstStyle/>
          <a:p>
            <a:r>
              <a:rPr lang="ru-RU" noProof="1"/>
              <a:t>Оценивание является частью обучения, а не отдельным элементом</a:t>
            </a:r>
          </a:p>
        </p:txBody>
      </p:sp>
    </p:spTree>
    <p:extLst>
      <p:ext uri="{BB962C8B-B14F-4D97-AF65-F5344CB8AC3E}">
        <p14:creationId xmlns:p14="http://schemas.microsoft.com/office/powerpoint/2010/main" val="369856440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226A9150-C23B-545A-5A71-6BBD3435983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DB84476-BC29-4407-9D57-B2E562B8968B}" type="slidenum">
              <a:rPr lang="ru-RU" noProof="1" smtClean="0"/>
              <a:pPr/>
              <a:t>148</a:t>
            </a:fld>
            <a:endParaRPr lang="ru-RU" noProof="1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4E363977-D19F-991E-820F-848B52D7063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ru-RU" noProof="1"/>
          </a:p>
        </p:txBody>
      </p:sp>
    </p:spTree>
    <p:extLst>
      <p:ext uri="{BB962C8B-B14F-4D97-AF65-F5344CB8AC3E}">
        <p14:creationId xmlns:p14="http://schemas.microsoft.com/office/powerpoint/2010/main" val="219282492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160C1B2-79E1-CA07-FE59-A76C923A122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5317" y="422444"/>
            <a:ext cx="10536536" cy="1080120"/>
          </a:xfrm>
        </p:spPr>
        <p:txBody>
          <a:bodyPr>
            <a:normAutofit/>
          </a:bodyPr>
          <a:lstStyle/>
          <a:p>
            <a:r>
              <a:rPr lang="ru-RU" noProof="1"/>
              <a:t>Оценка — это не то, что вы добавляете после разработки.</a:t>
            </a:r>
          </a:p>
        </p:txBody>
      </p:sp>
      <p:sp>
        <p:nvSpPr>
          <p:cNvPr id="3" name="Text 3">
            <a:extLst>
              <a:ext uri="{FF2B5EF4-FFF2-40B4-BE49-F238E27FC236}">
                <a16:creationId xmlns:a16="http://schemas.microsoft.com/office/drawing/2014/main" id="{9564A81D-A808-623F-DFEB-35BF2DD60ED3}"/>
              </a:ext>
            </a:extLst>
          </p:cNvPr>
          <p:cNvSpPr/>
          <p:nvPr/>
        </p:nvSpPr>
        <p:spPr>
          <a:xfrm>
            <a:off x="635317" y="1502564"/>
            <a:ext cx="11460480" cy="48768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2133" i="1" noProof="1">
                <a:solidFill>
                  <a:schemeClr val="bg1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Это часть дизайна — и того, как вы учитесь.</a:t>
            </a:r>
            <a:endParaRPr lang="ru-RU" sz="2133" noProof="1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Shape 4">
            <a:extLst>
              <a:ext uri="{FF2B5EF4-FFF2-40B4-BE49-F238E27FC236}">
                <a16:creationId xmlns:a16="http://schemas.microsoft.com/office/drawing/2014/main" id="{FCB04D92-412A-E091-4640-A5ADEEB9FDD0}"/>
              </a:ext>
            </a:extLst>
          </p:cNvPr>
          <p:cNvSpPr/>
          <p:nvPr/>
        </p:nvSpPr>
        <p:spPr>
          <a:xfrm>
            <a:off x="635318" y="2112164"/>
            <a:ext cx="11096372" cy="1158240"/>
          </a:xfrm>
          <a:prstGeom prst="rect">
            <a:avLst/>
          </a:prstGeom>
          <a:solidFill>
            <a:srgbClr val="F7FAFB"/>
          </a:solidFill>
          <a:ln w="6350">
            <a:solidFill>
              <a:srgbClr val="B2D8DE"/>
            </a:solidFill>
            <a:prstDash val="solid"/>
          </a:ln>
        </p:spPr>
        <p:txBody>
          <a:bodyPr/>
          <a:lstStyle/>
          <a:p>
            <a:pPr defTabSz="1219170">
              <a:defRPr/>
            </a:pPr>
            <a:endParaRPr lang="ru-RU" sz="2667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Shape 5">
            <a:extLst>
              <a:ext uri="{FF2B5EF4-FFF2-40B4-BE49-F238E27FC236}">
                <a16:creationId xmlns:a16="http://schemas.microsoft.com/office/drawing/2014/main" id="{6F87C06C-3615-C91C-C976-7FDB2FD5603A}"/>
              </a:ext>
            </a:extLst>
          </p:cNvPr>
          <p:cNvSpPr/>
          <p:nvPr/>
        </p:nvSpPr>
        <p:spPr>
          <a:xfrm>
            <a:off x="635317" y="2112164"/>
            <a:ext cx="97536" cy="1158240"/>
          </a:xfrm>
          <a:prstGeom prst="rect">
            <a:avLst/>
          </a:prstGeom>
          <a:solidFill>
            <a:srgbClr val="E8940A"/>
          </a:solidFill>
          <a:ln w="12700">
            <a:solidFill>
              <a:srgbClr val="E8940A"/>
            </a:solidFill>
            <a:prstDash val="solid"/>
          </a:ln>
        </p:spPr>
        <p:txBody>
          <a:bodyPr/>
          <a:lstStyle/>
          <a:p>
            <a:pPr defTabSz="1219170">
              <a:defRPr/>
            </a:pPr>
            <a:endParaRPr lang="ru-RU" sz="2667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Text 6">
            <a:extLst>
              <a:ext uri="{FF2B5EF4-FFF2-40B4-BE49-F238E27FC236}">
                <a16:creationId xmlns:a16="http://schemas.microsoft.com/office/drawing/2014/main" id="{89992E88-B308-4BA1-FEF2-BDABF33F2114}"/>
              </a:ext>
            </a:extLst>
          </p:cNvPr>
          <p:cNvSpPr/>
          <p:nvPr/>
        </p:nvSpPr>
        <p:spPr>
          <a:xfrm>
            <a:off x="940117" y="2234084"/>
            <a:ext cx="2194560" cy="341376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333" b="1" kern="0" spc="200" noProof="1">
                <a:solidFill>
                  <a:srgbClr val="E8940A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ПРИНЦИП 3.7</a:t>
            </a:r>
            <a:endParaRPr lang="ru-RU" sz="1333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Text 7">
            <a:extLst>
              <a:ext uri="{FF2B5EF4-FFF2-40B4-BE49-F238E27FC236}">
                <a16:creationId xmlns:a16="http://schemas.microsoft.com/office/drawing/2014/main" id="{9D690C64-54BE-A419-D1B6-CF993A2916F2}"/>
              </a:ext>
            </a:extLst>
          </p:cNvPr>
          <p:cNvSpPr/>
          <p:nvPr/>
        </p:nvSpPr>
        <p:spPr>
          <a:xfrm>
            <a:off x="940117" y="2502308"/>
            <a:ext cx="3901440" cy="67056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867" b="1" noProof="1">
                <a:solidFill>
                  <a:srgbClr val="16303A"/>
                </a:solidFill>
                <a:latin typeface="Arial" panose="020B0604020202020204" pitchFamily="34" charset="0"/>
                <a:ea typeface="Trebuchet MS" pitchFamily="34" charset="-122"/>
                <a:cs typeface="Arial" panose="020B0604020202020204" pitchFamily="34" charset="0"/>
              </a:rPr>
              <a:t>Множество методов, сделанных видимыми</a:t>
            </a:r>
            <a:endParaRPr lang="ru-RU" sz="1867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Text 8">
            <a:extLst>
              <a:ext uri="{FF2B5EF4-FFF2-40B4-BE49-F238E27FC236}">
                <a16:creationId xmlns:a16="http://schemas.microsoft.com/office/drawing/2014/main" id="{F61A6E4D-6D68-7A99-EC41-163BF1918D1A}"/>
              </a:ext>
            </a:extLst>
          </p:cNvPr>
          <p:cNvSpPr/>
          <p:nvPr/>
        </p:nvSpPr>
        <p:spPr>
          <a:xfrm>
            <a:off x="4963477" y="2234084"/>
            <a:ext cx="7010400" cy="950976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600" noProof="1">
                <a:solidFill>
                  <a:srgbClr val="3D6673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Пять парных выводов, полученных в этой сессии, останутся на флипчарте до Дня 3. Ваш выбор оценки оценивается сравнением с коллегами, а не личным суждением.</a:t>
            </a:r>
            <a:endParaRPr lang="ru-RU" sz="16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Shape 9">
            <a:extLst>
              <a:ext uri="{FF2B5EF4-FFF2-40B4-BE49-F238E27FC236}">
                <a16:creationId xmlns:a16="http://schemas.microsoft.com/office/drawing/2014/main" id="{B6A991C5-CCDE-55AA-F796-CE258E10EFC2}"/>
              </a:ext>
            </a:extLst>
          </p:cNvPr>
          <p:cNvSpPr/>
          <p:nvPr/>
        </p:nvSpPr>
        <p:spPr>
          <a:xfrm>
            <a:off x="635318" y="3392324"/>
            <a:ext cx="11096372" cy="1158240"/>
          </a:xfrm>
          <a:prstGeom prst="rect">
            <a:avLst/>
          </a:prstGeom>
          <a:solidFill>
            <a:srgbClr val="F7FAFB"/>
          </a:solidFill>
          <a:ln w="6350">
            <a:solidFill>
              <a:srgbClr val="B2D8DE"/>
            </a:solidFill>
            <a:prstDash val="solid"/>
          </a:ln>
        </p:spPr>
        <p:txBody>
          <a:bodyPr/>
          <a:lstStyle/>
          <a:p>
            <a:pPr defTabSz="1219170">
              <a:defRPr/>
            </a:pPr>
            <a:endParaRPr lang="ru-RU" sz="2667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Shape 10">
            <a:extLst>
              <a:ext uri="{FF2B5EF4-FFF2-40B4-BE49-F238E27FC236}">
                <a16:creationId xmlns:a16="http://schemas.microsoft.com/office/drawing/2014/main" id="{BA740CF0-3612-A8F1-3450-CB2BAC4F69A5}"/>
              </a:ext>
            </a:extLst>
          </p:cNvPr>
          <p:cNvSpPr/>
          <p:nvPr/>
        </p:nvSpPr>
        <p:spPr>
          <a:xfrm>
            <a:off x="635317" y="3392324"/>
            <a:ext cx="97536" cy="1158240"/>
          </a:xfrm>
          <a:prstGeom prst="rect">
            <a:avLst/>
          </a:prstGeom>
          <a:solidFill>
            <a:srgbClr val="E8940A"/>
          </a:solidFill>
          <a:ln w="12700">
            <a:solidFill>
              <a:srgbClr val="E8940A"/>
            </a:solidFill>
            <a:prstDash val="solid"/>
          </a:ln>
        </p:spPr>
        <p:txBody>
          <a:bodyPr/>
          <a:lstStyle/>
          <a:p>
            <a:pPr defTabSz="1219170">
              <a:defRPr/>
            </a:pPr>
            <a:endParaRPr lang="ru-RU" sz="2667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Text 11">
            <a:extLst>
              <a:ext uri="{FF2B5EF4-FFF2-40B4-BE49-F238E27FC236}">
                <a16:creationId xmlns:a16="http://schemas.microsoft.com/office/drawing/2014/main" id="{3100A067-6F02-9616-EE23-A101011677CF}"/>
              </a:ext>
            </a:extLst>
          </p:cNvPr>
          <p:cNvSpPr/>
          <p:nvPr/>
        </p:nvSpPr>
        <p:spPr>
          <a:xfrm>
            <a:off x="940117" y="3514244"/>
            <a:ext cx="2194560" cy="341376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333" b="1" kern="0" spc="200" noProof="1">
                <a:solidFill>
                  <a:srgbClr val="E8940A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ПРИНЦИП 3.2</a:t>
            </a:r>
            <a:endParaRPr lang="ru-RU" sz="1333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Text 12">
            <a:extLst>
              <a:ext uri="{FF2B5EF4-FFF2-40B4-BE49-F238E27FC236}">
                <a16:creationId xmlns:a16="http://schemas.microsoft.com/office/drawing/2014/main" id="{512DF5D9-EAA2-197E-1980-27FF117633AF}"/>
              </a:ext>
            </a:extLst>
          </p:cNvPr>
          <p:cNvSpPr/>
          <p:nvPr/>
        </p:nvSpPr>
        <p:spPr>
          <a:xfrm>
            <a:off x="940117" y="3782468"/>
            <a:ext cx="3901440" cy="67056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867" b="1" noProof="1">
                <a:solidFill>
                  <a:srgbClr val="16303A"/>
                </a:solidFill>
                <a:latin typeface="Arial" panose="020B0604020202020204" pitchFamily="34" charset="0"/>
                <a:ea typeface="Trebuchet MS" pitchFamily="34" charset="-122"/>
                <a:cs typeface="Arial" panose="020B0604020202020204" pitchFamily="34" charset="0"/>
              </a:rPr>
              <a:t>Рефлексия как активное обучение</a:t>
            </a:r>
            <a:endParaRPr lang="ru-RU" sz="1867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Text 13">
            <a:extLst>
              <a:ext uri="{FF2B5EF4-FFF2-40B4-BE49-F238E27FC236}">
                <a16:creationId xmlns:a16="http://schemas.microsoft.com/office/drawing/2014/main" id="{5A7611B4-FCAC-9B37-2338-D4CFD7C8D49E}"/>
              </a:ext>
            </a:extLst>
          </p:cNvPr>
          <p:cNvSpPr/>
          <p:nvPr/>
        </p:nvSpPr>
        <p:spPr>
          <a:xfrm>
            <a:off x="4963478" y="3514244"/>
            <a:ext cx="6681127" cy="950976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600" noProof="1">
                <a:solidFill>
                  <a:srgbClr val="3D6673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Последнее предложение, которое вы напишете в конце этой сессии — в чём вы наиболее и наименее уверены — это рефлексия, предназначенная для продвижения мышления вперёд, а не для его завершения.</a:t>
            </a:r>
            <a:endParaRPr lang="ru-RU" sz="16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Shape 14">
            <a:extLst>
              <a:ext uri="{FF2B5EF4-FFF2-40B4-BE49-F238E27FC236}">
                <a16:creationId xmlns:a16="http://schemas.microsoft.com/office/drawing/2014/main" id="{CD4A98E4-8228-D24C-DACC-46A8D781CC17}"/>
              </a:ext>
            </a:extLst>
          </p:cNvPr>
          <p:cNvSpPr/>
          <p:nvPr/>
        </p:nvSpPr>
        <p:spPr>
          <a:xfrm>
            <a:off x="635318" y="4672484"/>
            <a:ext cx="11096372" cy="1158240"/>
          </a:xfrm>
          <a:prstGeom prst="rect">
            <a:avLst/>
          </a:prstGeom>
          <a:solidFill>
            <a:srgbClr val="F7FAFB"/>
          </a:solidFill>
          <a:ln w="6350">
            <a:solidFill>
              <a:srgbClr val="B2D8DE"/>
            </a:solidFill>
            <a:prstDash val="solid"/>
          </a:ln>
        </p:spPr>
        <p:txBody>
          <a:bodyPr/>
          <a:lstStyle/>
          <a:p>
            <a:pPr defTabSz="1219170">
              <a:defRPr/>
            </a:pPr>
            <a:endParaRPr lang="ru-RU" sz="2667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Shape 15">
            <a:extLst>
              <a:ext uri="{FF2B5EF4-FFF2-40B4-BE49-F238E27FC236}">
                <a16:creationId xmlns:a16="http://schemas.microsoft.com/office/drawing/2014/main" id="{40F115E7-5AED-E04D-374E-716EBC82868B}"/>
              </a:ext>
            </a:extLst>
          </p:cNvPr>
          <p:cNvSpPr/>
          <p:nvPr/>
        </p:nvSpPr>
        <p:spPr>
          <a:xfrm>
            <a:off x="635317" y="4672484"/>
            <a:ext cx="97536" cy="1158240"/>
          </a:xfrm>
          <a:prstGeom prst="rect">
            <a:avLst/>
          </a:prstGeom>
          <a:solidFill>
            <a:srgbClr val="E8940A"/>
          </a:solidFill>
          <a:ln w="12700">
            <a:solidFill>
              <a:srgbClr val="E8940A"/>
            </a:solidFill>
            <a:prstDash val="solid"/>
          </a:ln>
        </p:spPr>
        <p:txBody>
          <a:bodyPr/>
          <a:lstStyle/>
          <a:p>
            <a:pPr defTabSz="1219170">
              <a:defRPr/>
            </a:pPr>
            <a:endParaRPr lang="ru-RU" sz="2667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Text 16">
            <a:extLst>
              <a:ext uri="{FF2B5EF4-FFF2-40B4-BE49-F238E27FC236}">
                <a16:creationId xmlns:a16="http://schemas.microsoft.com/office/drawing/2014/main" id="{A6A542A6-7B78-732F-ABD6-B5A78A12D010}"/>
              </a:ext>
            </a:extLst>
          </p:cNvPr>
          <p:cNvSpPr/>
          <p:nvPr/>
        </p:nvSpPr>
        <p:spPr>
          <a:xfrm>
            <a:off x="940117" y="4794404"/>
            <a:ext cx="2194560" cy="341376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333" b="1" kern="0" spc="200" noProof="1">
                <a:solidFill>
                  <a:srgbClr val="E8940A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Карточка планирования5</a:t>
            </a:r>
            <a:endParaRPr lang="ru-RU" sz="1333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Text 17">
            <a:extLst>
              <a:ext uri="{FF2B5EF4-FFF2-40B4-BE49-F238E27FC236}">
                <a16:creationId xmlns:a16="http://schemas.microsoft.com/office/drawing/2014/main" id="{0D911F12-B753-92E8-69D4-1D7CB73F35E9}"/>
              </a:ext>
            </a:extLst>
          </p:cNvPr>
          <p:cNvSpPr/>
          <p:nvPr/>
        </p:nvSpPr>
        <p:spPr>
          <a:xfrm>
            <a:off x="940117" y="5162159"/>
            <a:ext cx="3901440" cy="67056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867" b="1" noProof="1">
                <a:solidFill>
                  <a:srgbClr val="16303A"/>
                </a:solidFill>
                <a:latin typeface="Arial" panose="020B0604020202020204" pitchFamily="34" charset="0"/>
                <a:ea typeface="Trebuchet MS" pitchFamily="34" charset="-122"/>
                <a:cs typeface="Arial" panose="020B0604020202020204" pitchFamily="34" charset="0"/>
              </a:rPr>
              <a:t>Укрепление вашего выбора оценивания</a:t>
            </a:r>
            <a:endParaRPr lang="ru-RU" sz="1867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Text 18">
            <a:extLst>
              <a:ext uri="{FF2B5EF4-FFF2-40B4-BE49-F238E27FC236}">
                <a16:creationId xmlns:a16="http://schemas.microsoft.com/office/drawing/2014/main" id="{3C7D795F-A761-7001-39FA-8D1F94CDBD5B}"/>
              </a:ext>
            </a:extLst>
          </p:cNvPr>
          <p:cNvSpPr/>
          <p:nvPr/>
        </p:nvSpPr>
        <p:spPr>
          <a:xfrm>
            <a:off x="4963478" y="4794404"/>
            <a:ext cx="6681127" cy="950976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600" noProof="1">
                <a:solidFill>
                  <a:srgbClr val="3D6673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Вы пересматриваете и укрепляете метод оценивания, выбранный в Сессии 6, в свете четырёхуровневой рамки. Карточка не меняется. Её доказательные амбиции — меняются.</a:t>
            </a:r>
            <a:endParaRPr lang="ru-RU" sz="16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5992328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9323F2B-53DA-B5A7-D52C-E23D495456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5317" y="355409"/>
            <a:ext cx="10929800" cy="1080120"/>
          </a:xfrm>
        </p:spPr>
        <p:txBody>
          <a:bodyPr/>
          <a:lstStyle/>
          <a:p>
            <a:r>
              <a:rPr lang="ru-RU" noProof="1"/>
              <a:t>Что вы нам уже рассказали (ИК – Индикаторы качества) </a:t>
            </a:r>
          </a:p>
        </p:txBody>
      </p:sp>
      <p:sp>
        <p:nvSpPr>
          <p:cNvPr id="24" name="Shape 3">
            <a:extLst>
              <a:ext uri="{FF2B5EF4-FFF2-40B4-BE49-F238E27FC236}">
                <a16:creationId xmlns:a16="http://schemas.microsoft.com/office/drawing/2014/main" id="{0FA7DD3D-8C88-89A0-31E1-47EDD4E4F5DD}"/>
              </a:ext>
            </a:extLst>
          </p:cNvPr>
          <p:cNvSpPr/>
          <p:nvPr/>
        </p:nvSpPr>
        <p:spPr>
          <a:xfrm>
            <a:off x="635317" y="1932917"/>
            <a:ext cx="3535680" cy="3413760"/>
          </a:xfrm>
          <a:prstGeom prst="rect">
            <a:avLst/>
          </a:prstGeom>
          <a:solidFill>
            <a:srgbClr val="FFFFFF"/>
          </a:solidFill>
          <a:ln w="10160">
            <a:solidFill>
              <a:srgbClr val="B2D8DE"/>
            </a:solidFill>
            <a:prstDash val="solid"/>
          </a:ln>
          <a:effectLst>
            <a:outerShdw blurRad="76200" dist="38100" dir="8100000" algn="bl" rotWithShape="0">
              <a:srgbClr val="000000">
                <a:alpha val="10000"/>
              </a:srgbClr>
            </a:outerShdw>
          </a:effectLst>
        </p:spPr>
        <p:txBody>
          <a:bodyPr/>
          <a:lstStyle/>
          <a:p>
            <a:endParaRPr lang="ru-RU" sz="2400" noProof="1"/>
          </a:p>
        </p:txBody>
      </p:sp>
      <p:sp>
        <p:nvSpPr>
          <p:cNvPr id="27" name="Text 6">
            <a:extLst>
              <a:ext uri="{FF2B5EF4-FFF2-40B4-BE49-F238E27FC236}">
                <a16:creationId xmlns:a16="http://schemas.microsoft.com/office/drawing/2014/main" id="{73AE7A8A-2347-84E0-75A7-D12E1BA43CDF}"/>
              </a:ext>
            </a:extLst>
          </p:cNvPr>
          <p:cNvSpPr/>
          <p:nvPr/>
        </p:nvSpPr>
        <p:spPr>
          <a:xfrm>
            <a:off x="757237" y="2810741"/>
            <a:ext cx="3291840" cy="54864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r>
              <a:rPr lang="ru-RU" sz="1600" b="1" noProof="1"/>
              <a:t>Три элемента, которые вы хотели бы видеть больше</a:t>
            </a:r>
            <a:endParaRPr lang="ru-RU" sz="1733" b="1" noProof="1">
              <a:solidFill>
                <a:schemeClr val="accent5"/>
              </a:solidFill>
            </a:endParaRPr>
          </a:p>
        </p:txBody>
      </p:sp>
      <p:sp>
        <p:nvSpPr>
          <p:cNvPr id="28" name="Text 7">
            <a:extLst>
              <a:ext uri="{FF2B5EF4-FFF2-40B4-BE49-F238E27FC236}">
                <a16:creationId xmlns:a16="http://schemas.microsoft.com/office/drawing/2014/main" id="{7D0C4341-39AA-A5FB-E4E8-4E1C43537387}"/>
              </a:ext>
            </a:extLst>
          </p:cNvPr>
          <p:cNvSpPr/>
          <p:nvPr/>
        </p:nvSpPr>
        <p:spPr>
          <a:xfrm>
            <a:off x="757237" y="3395957"/>
            <a:ext cx="3291840" cy="164592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endParaRPr lang="ru-RU" sz="1533" noProof="1">
              <a:latin typeface="Arial" panose="020B0604020202020204" pitchFamily="34" charset="0"/>
              <a:ea typeface="Calibri" pitchFamily="34" charset="-122"/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533" b="1" noProof="1"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ИК 2 — Вам необходимо время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533" b="1" noProof="1"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ИК 5 — Вы учитесь вместе с коллегами</a:t>
            </a:r>
            <a:endParaRPr lang="ru-RU" sz="1533" noProof="1">
              <a:latin typeface="Arial" panose="020B0604020202020204" pitchFamily="34" charset="0"/>
              <a:ea typeface="Calibri" pitchFamily="34" charset="-122"/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533" b="1" noProof="1"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ИК 8 — Основано на том, что работает</a:t>
            </a:r>
            <a:endParaRPr lang="ru-RU" sz="1533" noProof="1">
              <a:latin typeface="Arial" panose="020B0604020202020204" pitchFamily="34" charset="0"/>
              <a:ea typeface="Calibri" pitchFamily="34" charset="-122"/>
              <a:cs typeface="Arial" panose="020B0604020202020204" pitchFamily="34" charset="0"/>
            </a:endParaRPr>
          </a:p>
        </p:txBody>
      </p:sp>
      <p:sp>
        <p:nvSpPr>
          <p:cNvPr id="29" name="Shape 8">
            <a:extLst>
              <a:ext uri="{FF2B5EF4-FFF2-40B4-BE49-F238E27FC236}">
                <a16:creationId xmlns:a16="http://schemas.microsoft.com/office/drawing/2014/main" id="{0717218A-2449-F19C-6210-91862FBF51A4}"/>
              </a:ext>
            </a:extLst>
          </p:cNvPr>
          <p:cNvSpPr/>
          <p:nvPr/>
        </p:nvSpPr>
        <p:spPr>
          <a:xfrm>
            <a:off x="4439221" y="1932917"/>
            <a:ext cx="3535680" cy="3413760"/>
          </a:xfrm>
          <a:prstGeom prst="rect">
            <a:avLst/>
          </a:prstGeom>
          <a:solidFill>
            <a:srgbClr val="FFFFFF"/>
          </a:solidFill>
          <a:ln w="10160">
            <a:solidFill>
              <a:srgbClr val="B2D8DE"/>
            </a:solidFill>
            <a:prstDash val="solid"/>
          </a:ln>
          <a:effectLst>
            <a:outerShdw blurRad="76200" dist="38100" dir="8100000" algn="bl" rotWithShape="0">
              <a:srgbClr val="000000">
                <a:alpha val="10000"/>
              </a:srgbClr>
            </a:outerShdw>
          </a:effectLst>
        </p:spPr>
        <p:txBody>
          <a:bodyPr/>
          <a:lstStyle/>
          <a:p>
            <a:endParaRPr lang="ru-RU" sz="2400" noProof="1"/>
          </a:p>
        </p:txBody>
      </p:sp>
      <p:sp>
        <p:nvSpPr>
          <p:cNvPr id="30" name="Shape 9">
            <a:extLst>
              <a:ext uri="{FF2B5EF4-FFF2-40B4-BE49-F238E27FC236}">
                <a16:creationId xmlns:a16="http://schemas.microsoft.com/office/drawing/2014/main" id="{8B4316D8-87A2-F664-52F6-0CC7961B12DA}"/>
              </a:ext>
            </a:extLst>
          </p:cNvPr>
          <p:cNvSpPr/>
          <p:nvPr/>
        </p:nvSpPr>
        <p:spPr>
          <a:xfrm>
            <a:off x="4561141" y="2018261"/>
            <a:ext cx="670560" cy="670560"/>
          </a:xfrm>
          <a:prstGeom prst="ellipse">
            <a:avLst/>
          </a:prstGeom>
          <a:solidFill>
            <a:schemeClr val="accent2"/>
          </a:solidFill>
          <a:ln w="12700">
            <a:solidFill>
              <a:srgbClr val="027A87"/>
            </a:solidFill>
            <a:prstDash val="solid"/>
          </a:ln>
        </p:spPr>
        <p:txBody>
          <a:bodyPr/>
          <a:lstStyle/>
          <a:p>
            <a:endParaRPr lang="ru-RU" sz="2400" noProof="1"/>
          </a:p>
        </p:txBody>
      </p:sp>
      <p:sp>
        <p:nvSpPr>
          <p:cNvPr id="31" name="Text 10">
            <a:extLst>
              <a:ext uri="{FF2B5EF4-FFF2-40B4-BE49-F238E27FC236}">
                <a16:creationId xmlns:a16="http://schemas.microsoft.com/office/drawing/2014/main" id="{16E9036F-DCC5-4768-A87F-E8CCC098B2A4}"/>
              </a:ext>
            </a:extLst>
          </p:cNvPr>
          <p:cNvSpPr/>
          <p:nvPr/>
        </p:nvSpPr>
        <p:spPr>
          <a:xfrm>
            <a:off x="4561141" y="2018261"/>
            <a:ext cx="670560" cy="67056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algn="ctr"/>
            <a:r>
              <a:rPr lang="ru-RU" sz="1867" b="1" noProof="1">
                <a:solidFill>
                  <a:srgbClr val="FFFFFF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02</a:t>
            </a:r>
            <a:endParaRPr lang="ru-RU" sz="1867" noProof="1"/>
          </a:p>
        </p:txBody>
      </p:sp>
      <p:sp>
        <p:nvSpPr>
          <p:cNvPr id="32" name="Text 11">
            <a:extLst>
              <a:ext uri="{FF2B5EF4-FFF2-40B4-BE49-F238E27FC236}">
                <a16:creationId xmlns:a16="http://schemas.microsoft.com/office/drawing/2014/main" id="{BC3A401C-D35B-73CA-FCB9-6672B6DFDAB2}"/>
              </a:ext>
            </a:extLst>
          </p:cNvPr>
          <p:cNvSpPr/>
          <p:nvPr/>
        </p:nvSpPr>
        <p:spPr>
          <a:xfrm>
            <a:off x="4561141" y="3061162"/>
            <a:ext cx="3291840" cy="54864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r>
              <a:rPr lang="ru-RU" sz="1600" b="1" noProof="1"/>
              <a:t>Чего чаще всего не хватало на лучшем мероприятии по повышению квалификации, которое вы посещали</a:t>
            </a:r>
            <a:endParaRPr lang="ru-RU" sz="1733" b="1" noProof="1">
              <a:solidFill>
                <a:schemeClr val="accent5"/>
              </a:solidFill>
              <a:latin typeface="Calibri" pitchFamily="34" charset="0"/>
              <a:ea typeface="Calibri" pitchFamily="34" charset="-122"/>
              <a:cs typeface="Calibri" pitchFamily="34" charset="-120"/>
            </a:endParaRPr>
          </a:p>
        </p:txBody>
      </p:sp>
      <p:sp>
        <p:nvSpPr>
          <p:cNvPr id="33" name="Text 12">
            <a:extLst>
              <a:ext uri="{FF2B5EF4-FFF2-40B4-BE49-F238E27FC236}">
                <a16:creationId xmlns:a16="http://schemas.microsoft.com/office/drawing/2014/main" id="{EF9442B7-28A2-9B19-0AC7-1965C8BA19D2}"/>
              </a:ext>
            </a:extLst>
          </p:cNvPr>
          <p:cNvSpPr/>
          <p:nvPr/>
        </p:nvSpPr>
        <p:spPr>
          <a:xfrm>
            <a:off x="4561141" y="3817066"/>
            <a:ext cx="3291840" cy="1475232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marL="285750" lvl="0" indent="-28575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ru-RU" sz="1500" b="1" noProof="1">
                <a:latin typeface="Arial" panose="020B0604020202020204" pitchFamily="34" charset="0"/>
              </a:rPr>
              <a:t>ИК 5 — Вы учитесь вместе с коллегами</a:t>
            </a:r>
            <a:endParaRPr lang="ru-RU" sz="1500" noProof="1">
              <a:latin typeface="Arial" panose="020B0604020202020204" pitchFamily="34" charset="0"/>
            </a:endParaRPr>
          </a:p>
          <a:p>
            <a:pPr marL="285750" lvl="0" indent="-28575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ru-RU" sz="1500" b="1" noProof="1">
                <a:latin typeface="Arial" panose="020B0604020202020204" pitchFamily="34" charset="0"/>
              </a:rPr>
              <a:t>ИК 6 — Это касается ваших студентов</a:t>
            </a:r>
            <a:endParaRPr lang="ru-RU" sz="1500" noProof="1">
              <a:latin typeface="Arial" panose="020B0604020202020204" pitchFamily="34" charset="0"/>
            </a:endParaRPr>
          </a:p>
          <a:p>
            <a:pPr marL="285750" lvl="0" indent="-28575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ru-RU" sz="1500" b="1" noProof="1">
                <a:latin typeface="Arial" panose="020B0604020202020204" pitchFamily="34" charset="0"/>
              </a:rPr>
              <a:t>ИК 2 — Вам необходимо время</a:t>
            </a:r>
            <a:endParaRPr lang="ru-RU" sz="1500" noProof="1">
              <a:latin typeface="Arial" panose="020B0604020202020204" pitchFamily="34" charset="0"/>
            </a:endParaRPr>
          </a:p>
        </p:txBody>
      </p:sp>
      <p:sp>
        <p:nvSpPr>
          <p:cNvPr id="34" name="Shape 13">
            <a:extLst>
              <a:ext uri="{FF2B5EF4-FFF2-40B4-BE49-F238E27FC236}">
                <a16:creationId xmlns:a16="http://schemas.microsoft.com/office/drawing/2014/main" id="{4134E11E-DB8E-2CB4-7AD4-EB5917EC4C27}"/>
              </a:ext>
            </a:extLst>
          </p:cNvPr>
          <p:cNvSpPr/>
          <p:nvPr/>
        </p:nvSpPr>
        <p:spPr>
          <a:xfrm>
            <a:off x="8243125" y="1932917"/>
            <a:ext cx="3535680" cy="3413760"/>
          </a:xfrm>
          <a:prstGeom prst="rect">
            <a:avLst/>
          </a:prstGeom>
          <a:solidFill>
            <a:srgbClr val="FFFFFF"/>
          </a:solidFill>
          <a:ln w="10160">
            <a:solidFill>
              <a:srgbClr val="B2D8DE"/>
            </a:solidFill>
            <a:prstDash val="solid"/>
          </a:ln>
          <a:effectLst>
            <a:outerShdw blurRad="76200" dist="38100" dir="8100000" algn="bl" rotWithShape="0">
              <a:srgbClr val="000000">
                <a:alpha val="10000"/>
              </a:srgbClr>
            </a:outerShdw>
          </a:effectLst>
        </p:spPr>
        <p:txBody>
          <a:bodyPr/>
          <a:lstStyle/>
          <a:p>
            <a:endParaRPr lang="ru-RU" sz="2400" noProof="1"/>
          </a:p>
        </p:txBody>
      </p:sp>
      <p:sp>
        <p:nvSpPr>
          <p:cNvPr id="35" name="Shape 14">
            <a:extLst>
              <a:ext uri="{FF2B5EF4-FFF2-40B4-BE49-F238E27FC236}">
                <a16:creationId xmlns:a16="http://schemas.microsoft.com/office/drawing/2014/main" id="{9BD3ED04-B6D6-1DBC-756B-1359730664B4}"/>
              </a:ext>
            </a:extLst>
          </p:cNvPr>
          <p:cNvSpPr/>
          <p:nvPr/>
        </p:nvSpPr>
        <p:spPr>
          <a:xfrm>
            <a:off x="8365045" y="2018261"/>
            <a:ext cx="670560" cy="670560"/>
          </a:xfrm>
          <a:prstGeom prst="ellipse">
            <a:avLst/>
          </a:prstGeom>
          <a:solidFill>
            <a:schemeClr val="accent2"/>
          </a:solidFill>
          <a:ln w="12700">
            <a:solidFill>
              <a:srgbClr val="027A87"/>
            </a:solidFill>
            <a:prstDash val="solid"/>
          </a:ln>
        </p:spPr>
        <p:txBody>
          <a:bodyPr/>
          <a:lstStyle/>
          <a:p>
            <a:endParaRPr lang="ru-RU" sz="2400" noProof="1"/>
          </a:p>
        </p:txBody>
      </p:sp>
      <p:sp>
        <p:nvSpPr>
          <p:cNvPr id="36" name="Text 15">
            <a:extLst>
              <a:ext uri="{FF2B5EF4-FFF2-40B4-BE49-F238E27FC236}">
                <a16:creationId xmlns:a16="http://schemas.microsoft.com/office/drawing/2014/main" id="{6BF63778-5844-77BF-8501-473DE72A2FCD}"/>
              </a:ext>
            </a:extLst>
          </p:cNvPr>
          <p:cNvSpPr/>
          <p:nvPr/>
        </p:nvSpPr>
        <p:spPr>
          <a:xfrm>
            <a:off x="8365045" y="2018261"/>
            <a:ext cx="670560" cy="67056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algn="ctr"/>
            <a:r>
              <a:rPr lang="ru-RU" sz="1867" b="1" noProof="1">
                <a:solidFill>
                  <a:srgbClr val="FFFFFF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03</a:t>
            </a:r>
            <a:endParaRPr lang="ru-RU" sz="1867" noProof="1"/>
          </a:p>
        </p:txBody>
      </p:sp>
      <p:sp>
        <p:nvSpPr>
          <p:cNvPr id="37" name="Text 16">
            <a:extLst>
              <a:ext uri="{FF2B5EF4-FFF2-40B4-BE49-F238E27FC236}">
                <a16:creationId xmlns:a16="http://schemas.microsoft.com/office/drawing/2014/main" id="{E805EB69-3FB5-827F-4817-6B1F80F5CFCA}"/>
              </a:ext>
            </a:extLst>
          </p:cNvPr>
          <p:cNvSpPr/>
          <p:nvPr/>
        </p:nvSpPr>
        <p:spPr>
          <a:xfrm>
            <a:off x="8365045" y="2810741"/>
            <a:ext cx="3291840" cy="54864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r>
              <a:rPr lang="ru-RU" sz="1733" b="1" noProof="1">
                <a:solidFill>
                  <a:srgbClr val="027A87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Голоса с мест</a:t>
            </a:r>
            <a:endParaRPr lang="ru-RU" sz="1733" noProof="1"/>
          </a:p>
        </p:txBody>
      </p:sp>
      <p:sp>
        <p:nvSpPr>
          <p:cNvPr id="38" name="Text 17">
            <a:extLst>
              <a:ext uri="{FF2B5EF4-FFF2-40B4-BE49-F238E27FC236}">
                <a16:creationId xmlns:a16="http://schemas.microsoft.com/office/drawing/2014/main" id="{D73E97EE-D931-4706-D022-109D00805604}"/>
              </a:ext>
            </a:extLst>
          </p:cNvPr>
          <p:cNvSpPr/>
          <p:nvPr/>
        </p:nvSpPr>
        <p:spPr>
          <a:xfrm>
            <a:off x="8365045" y="3395957"/>
            <a:ext cx="3291840" cy="164592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r>
              <a:rPr lang="ru-RU" sz="1400" noProof="1">
                <a:latin typeface="Calibri" pitchFamily="34" charset="0"/>
                <a:ea typeface="Calibri" pitchFamily="34" charset="-122"/>
                <a:cs typeface="Calibri" pitchFamily="34" charset="-120"/>
              </a:rPr>
              <a:t>«Вам необходимо время: В условиях высокой административной нагрузки и дефицита кадров внедрение долгосрочных программ «с отрывом и возвратом» — вызов. Педагогам часто не хватает пауз между обучением и практикой для качественной рефлексии и глубокого освоения инструментов»</a:t>
            </a:r>
            <a:endParaRPr lang="ru-RU" sz="1400" noProof="1"/>
          </a:p>
        </p:txBody>
      </p:sp>
      <p:sp>
        <p:nvSpPr>
          <p:cNvPr id="39" name="Shape 18">
            <a:extLst>
              <a:ext uri="{FF2B5EF4-FFF2-40B4-BE49-F238E27FC236}">
                <a16:creationId xmlns:a16="http://schemas.microsoft.com/office/drawing/2014/main" id="{ABDBC806-C30F-8B74-4C37-F3F594E69BFD}"/>
              </a:ext>
            </a:extLst>
          </p:cNvPr>
          <p:cNvSpPr/>
          <p:nvPr/>
        </p:nvSpPr>
        <p:spPr>
          <a:xfrm>
            <a:off x="636650" y="5634317"/>
            <a:ext cx="11143488" cy="792480"/>
          </a:xfrm>
          <a:prstGeom prst="rect">
            <a:avLst/>
          </a:prstGeom>
          <a:solidFill>
            <a:schemeClr val="bg1"/>
          </a:solidFill>
          <a:ln w="12700">
            <a:solidFill>
              <a:srgbClr val="16303A"/>
            </a:solidFill>
            <a:prstDash val="solid"/>
          </a:ln>
        </p:spPr>
        <p:txBody>
          <a:bodyPr/>
          <a:lstStyle/>
          <a:p>
            <a:endParaRPr lang="ru-RU" sz="2400" noProof="1"/>
          </a:p>
        </p:txBody>
      </p:sp>
      <p:sp>
        <p:nvSpPr>
          <p:cNvPr id="40" name="Text 19">
            <a:extLst>
              <a:ext uri="{FF2B5EF4-FFF2-40B4-BE49-F238E27FC236}">
                <a16:creationId xmlns:a16="http://schemas.microsoft.com/office/drawing/2014/main" id="{60CE6320-EA41-B057-366B-0D6CA09590E8}"/>
              </a:ext>
            </a:extLst>
          </p:cNvPr>
          <p:cNvSpPr/>
          <p:nvPr/>
        </p:nvSpPr>
        <p:spPr>
          <a:xfrm>
            <a:off x="880490" y="5634317"/>
            <a:ext cx="10972800" cy="79248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r>
              <a:rPr lang="ru-RU" sz="1467" i="1" noProof="1">
                <a:latin typeface="Calibri" pitchFamily="34" charset="0"/>
                <a:ea typeface="Calibri" pitchFamily="34" charset="-122"/>
                <a:cs typeface="Calibri" pitchFamily="34" charset="-120"/>
              </a:rPr>
              <a:t>Это вы сформулировали до того, как приехали сегодня. В следующие 75 минут мы будем разбираться, почему существуют эти закономерности — и что говорят данные о возможности их изменить.</a:t>
            </a:r>
            <a:endParaRPr lang="ru-RU" sz="1467" noProof="1"/>
          </a:p>
        </p:txBody>
      </p:sp>
      <p:sp>
        <p:nvSpPr>
          <p:cNvPr id="41" name="Shape 20">
            <a:extLst>
              <a:ext uri="{FF2B5EF4-FFF2-40B4-BE49-F238E27FC236}">
                <a16:creationId xmlns:a16="http://schemas.microsoft.com/office/drawing/2014/main" id="{B7E96A94-43DD-66C3-3A10-6585A72957F8}"/>
              </a:ext>
            </a:extLst>
          </p:cNvPr>
          <p:cNvSpPr/>
          <p:nvPr/>
        </p:nvSpPr>
        <p:spPr>
          <a:xfrm>
            <a:off x="9352597" y="1932917"/>
            <a:ext cx="2426208" cy="463296"/>
          </a:xfrm>
          <a:prstGeom prst="rect">
            <a:avLst/>
          </a:prstGeom>
          <a:solidFill>
            <a:schemeClr val="accent2"/>
          </a:solidFill>
          <a:ln w="12700">
            <a:solidFill>
              <a:srgbClr val="E8940A"/>
            </a:solidFill>
            <a:prstDash val="solid"/>
          </a:ln>
        </p:spPr>
        <p:txBody>
          <a:bodyPr/>
          <a:lstStyle/>
          <a:p>
            <a:endParaRPr lang="ru-RU" sz="2400" noProof="1"/>
          </a:p>
        </p:txBody>
      </p:sp>
      <p:sp>
        <p:nvSpPr>
          <p:cNvPr id="42" name="Text 21">
            <a:extLst>
              <a:ext uri="{FF2B5EF4-FFF2-40B4-BE49-F238E27FC236}">
                <a16:creationId xmlns:a16="http://schemas.microsoft.com/office/drawing/2014/main" id="{33EBDD02-F5A7-14F5-A9E1-B488C2B03358}"/>
              </a:ext>
            </a:extLst>
          </p:cNvPr>
          <p:cNvSpPr/>
          <p:nvPr/>
        </p:nvSpPr>
        <p:spPr>
          <a:xfrm>
            <a:off x="9352597" y="1932917"/>
            <a:ext cx="2426208" cy="463296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algn="ctr"/>
            <a:r>
              <a:rPr lang="ru-RU" sz="1200" b="1" noProof="1">
                <a:solidFill>
                  <a:srgbClr val="FFFFFF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SCAFFOLD: Обучение на реальных примерах</a:t>
            </a:r>
            <a:endParaRPr lang="ru-RU" sz="1200" noProof="1"/>
          </a:p>
        </p:txBody>
      </p:sp>
      <p:sp>
        <p:nvSpPr>
          <p:cNvPr id="45" name="Shape 9">
            <a:extLst>
              <a:ext uri="{FF2B5EF4-FFF2-40B4-BE49-F238E27FC236}">
                <a16:creationId xmlns:a16="http://schemas.microsoft.com/office/drawing/2014/main" id="{5DEE4441-77A1-43ED-2939-1E36E087C671}"/>
              </a:ext>
            </a:extLst>
          </p:cNvPr>
          <p:cNvSpPr/>
          <p:nvPr/>
        </p:nvSpPr>
        <p:spPr>
          <a:xfrm>
            <a:off x="757237" y="2036549"/>
            <a:ext cx="670560" cy="670560"/>
          </a:xfrm>
          <a:prstGeom prst="ellipse">
            <a:avLst/>
          </a:prstGeom>
          <a:solidFill>
            <a:schemeClr val="accent2"/>
          </a:solidFill>
          <a:ln w="12700">
            <a:solidFill>
              <a:srgbClr val="027A87"/>
            </a:solidFill>
            <a:prstDash val="solid"/>
          </a:ln>
        </p:spPr>
        <p:txBody>
          <a:bodyPr/>
          <a:lstStyle/>
          <a:p>
            <a:endParaRPr lang="ru-RU" sz="2400" noProof="1"/>
          </a:p>
        </p:txBody>
      </p:sp>
      <p:sp>
        <p:nvSpPr>
          <p:cNvPr id="46" name="Text 10">
            <a:extLst>
              <a:ext uri="{FF2B5EF4-FFF2-40B4-BE49-F238E27FC236}">
                <a16:creationId xmlns:a16="http://schemas.microsoft.com/office/drawing/2014/main" id="{845470DA-A92B-E435-7056-709BD14A8A39}"/>
              </a:ext>
            </a:extLst>
          </p:cNvPr>
          <p:cNvSpPr/>
          <p:nvPr/>
        </p:nvSpPr>
        <p:spPr>
          <a:xfrm>
            <a:off x="757237" y="2036549"/>
            <a:ext cx="670560" cy="67056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algn="ctr"/>
            <a:r>
              <a:rPr lang="ru-RU" sz="1867" b="1" noProof="1">
                <a:solidFill>
                  <a:srgbClr val="FFFFFF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01</a:t>
            </a:r>
            <a:endParaRPr lang="ru-RU" sz="1867" noProof="1"/>
          </a:p>
        </p:txBody>
      </p:sp>
    </p:spTree>
    <p:extLst>
      <p:ext uri="{BB962C8B-B14F-4D97-AF65-F5344CB8AC3E}">
        <p14:creationId xmlns:p14="http://schemas.microsoft.com/office/powerpoint/2010/main" val="43160544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419A95C-B81E-A782-5044-49E2C097D8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5317" y="422444"/>
            <a:ext cx="11208340" cy="1080120"/>
          </a:xfrm>
        </p:spPr>
        <p:txBody>
          <a:bodyPr>
            <a:normAutofit/>
          </a:bodyPr>
          <a:lstStyle/>
          <a:p>
            <a:r>
              <a:rPr lang="ru-RU" noProof="1"/>
              <a:t>Метод оценивания был частью обучения.</a:t>
            </a:r>
          </a:p>
        </p:txBody>
      </p:sp>
      <p:sp>
        <p:nvSpPr>
          <p:cNvPr id="3" name="Text 4">
            <a:extLst>
              <a:ext uri="{FF2B5EF4-FFF2-40B4-BE49-F238E27FC236}">
                <a16:creationId xmlns:a16="http://schemas.microsoft.com/office/drawing/2014/main" id="{A012E13B-06C4-A9E9-F51B-292E49E52482}"/>
              </a:ext>
            </a:extLst>
          </p:cNvPr>
          <p:cNvSpPr/>
          <p:nvPr/>
        </p:nvSpPr>
        <p:spPr>
          <a:xfrm>
            <a:off x="635316" y="1502564"/>
            <a:ext cx="10972800" cy="54864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2400" i="1" noProof="1">
                <a:solidFill>
                  <a:schemeClr val="bg1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А не отдельным от него.</a:t>
            </a:r>
            <a:endParaRPr lang="ru-RU" sz="2400" noProof="1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Text 6">
            <a:extLst>
              <a:ext uri="{FF2B5EF4-FFF2-40B4-BE49-F238E27FC236}">
                <a16:creationId xmlns:a16="http://schemas.microsoft.com/office/drawing/2014/main" id="{52AC358A-4A14-0434-2D99-A313B5549612}"/>
              </a:ext>
            </a:extLst>
          </p:cNvPr>
          <p:cNvSpPr/>
          <p:nvPr/>
        </p:nvSpPr>
        <p:spPr>
          <a:xfrm>
            <a:off x="635316" y="2599844"/>
            <a:ext cx="10972800" cy="1950720"/>
          </a:xfrm>
          <a:prstGeom prst="rect">
            <a:avLst/>
          </a:prstGeom>
          <a:noFill/>
          <a:ln/>
        </p:spPr>
        <p:txBody>
          <a:bodyPr wrap="square" rtlCol="0" anchor="t"/>
          <a:lstStyle/>
          <a:p>
            <a:pPr defTabSz="1219170">
              <a:defRPr/>
            </a:pPr>
            <a:r>
              <a:rPr lang="ru-RU" sz="1867" noProof="1">
                <a:solidFill>
                  <a:schemeClr val="bg1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Парный показ, который вы только что завершили, — это момент оценки, встроенный нами в День 2. Ваши результаты там рассказали нам о вашей беглости в разработке больше, чем любой итоговый тест мог бы. Вот как выглядит встроенная оценка — и то, что вы сейчас будете встраивать в свой собственный дизайн.</a:t>
            </a:r>
            <a:endParaRPr lang="ru-RU" sz="1867" noProof="1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Shape 3">
            <a:extLst>
              <a:ext uri="{FF2B5EF4-FFF2-40B4-BE49-F238E27FC236}">
                <a16:creationId xmlns:a16="http://schemas.microsoft.com/office/drawing/2014/main" id="{13D3FFFE-C3CE-630C-AB08-2B76F3CE50E2}"/>
              </a:ext>
            </a:extLst>
          </p:cNvPr>
          <p:cNvSpPr/>
          <p:nvPr/>
        </p:nvSpPr>
        <p:spPr>
          <a:xfrm>
            <a:off x="749307" y="4152745"/>
            <a:ext cx="3413760" cy="512064"/>
          </a:xfrm>
          <a:prstGeom prst="roundRect">
            <a:avLst>
              <a:gd name="adj" fmla="val 14286"/>
            </a:avLst>
          </a:prstGeom>
          <a:solidFill>
            <a:srgbClr val="FFDC00"/>
          </a:solidFill>
          <a:ln w="12700">
            <a:solidFill>
              <a:srgbClr val="FFDC00"/>
            </a:solidFill>
            <a:prstDash val="solid"/>
          </a:ln>
        </p:spPr>
        <p:txBody>
          <a:bodyPr/>
          <a:lstStyle/>
          <a:p>
            <a:endParaRPr lang="ru-RU" sz="2400" noProof="1"/>
          </a:p>
        </p:txBody>
      </p:sp>
      <p:sp>
        <p:nvSpPr>
          <p:cNvPr id="6" name="Text 4">
            <a:extLst>
              <a:ext uri="{FF2B5EF4-FFF2-40B4-BE49-F238E27FC236}">
                <a16:creationId xmlns:a16="http://schemas.microsoft.com/office/drawing/2014/main" id="{B0870443-F44B-ABD0-1EA7-6808D6403DBE}"/>
              </a:ext>
            </a:extLst>
          </p:cNvPr>
          <p:cNvSpPr/>
          <p:nvPr/>
        </p:nvSpPr>
        <p:spPr>
          <a:xfrm>
            <a:off x="749307" y="4152745"/>
            <a:ext cx="3255264" cy="512064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lvl="0" algn="ctr">
              <a:defRPr/>
            </a:pPr>
            <a:r>
              <a:rPr lang="ru-RU" sz="1867" b="1" noProof="1">
                <a:solidFill>
                  <a:srgbClr val="FFFFFF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16:15 – 16:20  ·  5 мин</a:t>
            </a:r>
            <a:endParaRPr lang="ru-RU" sz="1867" noProof="1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239675652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6DD80B1-37E5-F770-3704-034052752DB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80" y="257561"/>
            <a:ext cx="10934641" cy="1080120"/>
          </a:xfrm>
        </p:spPr>
        <p:txBody>
          <a:bodyPr>
            <a:normAutofit/>
          </a:bodyPr>
          <a:lstStyle/>
          <a:p>
            <a:r>
              <a:rPr lang="ru-RU" noProof="1"/>
              <a:t>Четыре уровня оценки профессионального развития педагогов</a:t>
            </a:r>
          </a:p>
        </p:txBody>
      </p:sp>
      <p:sp>
        <p:nvSpPr>
          <p:cNvPr id="3" name="Text 2">
            <a:extLst>
              <a:ext uri="{FF2B5EF4-FFF2-40B4-BE49-F238E27FC236}">
                <a16:creationId xmlns:a16="http://schemas.microsoft.com/office/drawing/2014/main" id="{0E19BA31-8BB1-773C-7CE5-FDC8253BB048}"/>
              </a:ext>
            </a:extLst>
          </p:cNvPr>
          <p:cNvSpPr/>
          <p:nvPr/>
        </p:nvSpPr>
        <p:spPr>
          <a:xfrm>
            <a:off x="622043" y="1402503"/>
            <a:ext cx="11460480" cy="36576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600" i="1" noProof="1">
                <a:solidFill>
                  <a:schemeClr val="bg1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Уровень 3 — цель для профессионального развития педагогов на основе SCAFFOLD. Большинство систем останавливаются на Уровне 1.</a:t>
            </a:r>
            <a:endParaRPr lang="ru-RU" sz="1600" noProof="1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Shape 3">
            <a:extLst>
              <a:ext uri="{FF2B5EF4-FFF2-40B4-BE49-F238E27FC236}">
                <a16:creationId xmlns:a16="http://schemas.microsoft.com/office/drawing/2014/main" id="{BF0CFF31-678B-C674-F8BB-F94FC95AA2DB}"/>
              </a:ext>
            </a:extLst>
          </p:cNvPr>
          <p:cNvSpPr/>
          <p:nvPr/>
        </p:nvSpPr>
        <p:spPr>
          <a:xfrm>
            <a:off x="622043" y="1938951"/>
            <a:ext cx="1097280" cy="548640"/>
          </a:xfrm>
          <a:prstGeom prst="rect">
            <a:avLst/>
          </a:prstGeom>
          <a:solidFill>
            <a:srgbClr val="16303A"/>
          </a:solidFill>
          <a:ln w="12700">
            <a:solidFill>
              <a:srgbClr val="16303A"/>
            </a:solidFill>
            <a:prstDash val="solid"/>
          </a:ln>
        </p:spPr>
        <p:txBody>
          <a:bodyPr/>
          <a:lstStyle/>
          <a:p>
            <a:pPr defTabSz="1219170">
              <a:defRPr/>
            </a:pPr>
            <a:endParaRPr lang="ru-RU" sz="24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Text 4">
            <a:extLst>
              <a:ext uri="{FF2B5EF4-FFF2-40B4-BE49-F238E27FC236}">
                <a16:creationId xmlns:a16="http://schemas.microsoft.com/office/drawing/2014/main" id="{B9DDC8BF-C369-CC70-9AE6-927CDA67A6E0}"/>
              </a:ext>
            </a:extLst>
          </p:cNvPr>
          <p:cNvSpPr/>
          <p:nvPr/>
        </p:nvSpPr>
        <p:spPr>
          <a:xfrm>
            <a:off x="719579" y="1938951"/>
            <a:ext cx="902208" cy="54864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algn="ctr" defTabSz="1219170">
              <a:defRPr/>
            </a:pPr>
            <a:r>
              <a:rPr lang="ru-RU" sz="1333" b="1" kern="0" spc="200" noProof="1">
                <a:solidFill>
                  <a:srgbClr val="E8940A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УРОВЕНЬ</a:t>
            </a:r>
            <a:endParaRPr lang="ru-RU" sz="1333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Shape 5">
            <a:extLst>
              <a:ext uri="{FF2B5EF4-FFF2-40B4-BE49-F238E27FC236}">
                <a16:creationId xmlns:a16="http://schemas.microsoft.com/office/drawing/2014/main" id="{1624BB52-2756-B6C9-6613-A611802DEB57}"/>
              </a:ext>
            </a:extLst>
          </p:cNvPr>
          <p:cNvSpPr/>
          <p:nvPr/>
        </p:nvSpPr>
        <p:spPr>
          <a:xfrm>
            <a:off x="1719323" y="1938951"/>
            <a:ext cx="1828800" cy="548640"/>
          </a:xfrm>
          <a:prstGeom prst="rect">
            <a:avLst/>
          </a:prstGeom>
          <a:solidFill>
            <a:srgbClr val="16303A"/>
          </a:solidFill>
          <a:ln w="12700">
            <a:solidFill>
              <a:srgbClr val="16303A"/>
            </a:solidFill>
            <a:prstDash val="solid"/>
          </a:ln>
        </p:spPr>
        <p:txBody>
          <a:bodyPr/>
          <a:lstStyle/>
          <a:p>
            <a:pPr defTabSz="1219170">
              <a:defRPr/>
            </a:pPr>
            <a:endParaRPr lang="ru-RU" sz="24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Text 6">
            <a:extLst>
              <a:ext uri="{FF2B5EF4-FFF2-40B4-BE49-F238E27FC236}">
                <a16:creationId xmlns:a16="http://schemas.microsoft.com/office/drawing/2014/main" id="{EDACF8B3-1810-B72D-C010-13D5DE1A91BF}"/>
              </a:ext>
            </a:extLst>
          </p:cNvPr>
          <p:cNvSpPr/>
          <p:nvPr/>
        </p:nvSpPr>
        <p:spPr>
          <a:xfrm>
            <a:off x="1816859" y="1938951"/>
            <a:ext cx="1633728" cy="54864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333" b="1" kern="0" spc="200" noProof="1">
                <a:solidFill>
                  <a:srgbClr val="E8940A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НАЗВАНИЕ</a:t>
            </a:r>
            <a:endParaRPr lang="ru-RU" sz="1333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Shape 7">
            <a:extLst>
              <a:ext uri="{FF2B5EF4-FFF2-40B4-BE49-F238E27FC236}">
                <a16:creationId xmlns:a16="http://schemas.microsoft.com/office/drawing/2014/main" id="{06767697-5CA2-D56C-DEA0-DAB81211A04C}"/>
              </a:ext>
            </a:extLst>
          </p:cNvPr>
          <p:cNvSpPr/>
          <p:nvPr/>
        </p:nvSpPr>
        <p:spPr>
          <a:xfrm>
            <a:off x="3548123" y="1938951"/>
            <a:ext cx="5486400" cy="548640"/>
          </a:xfrm>
          <a:prstGeom prst="rect">
            <a:avLst/>
          </a:prstGeom>
          <a:solidFill>
            <a:srgbClr val="16303A"/>
          </a:solidFill>
          <a:ln w="12700">
            <a:solidFill>
              <a:srgbClr val="16303A"/>
            </a:solidFill>
            <a:prstDash val="solid"/>
          </a:ln>
        </p:spPr>
        <p:txBody>
          <a:bodyPr/>
          <a:lstStyle/>
          <a:p>
            <a:pPr defTabSz="1219170">
              <a:defRPr/>
            </a:pPr>
            <a:endParaRPr lang="ru-RU" sz="24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Text 8">
            <a:extLst>
              <a:ext uri="{FF2B5EF4-FFF2-40B4-BE49-F238E27FC236}">
                <a16:creationId xmlns:a16="http://schemas.microsoft.com/office/drawing/2014/main" id="{0C6C3C1F-B1A0-00D1-5DFA-158DE5E49CBE}"/>
              </a:ext>
            </a:extLst>
          </p:cNvPr>
          <p:cNvSpPr/>
          <p:nvPr/>
        </p:nvSpPr>
        <p:spPr>
          <a:xfrm>
            <a:off x="3645659" y="1938951"/>
            <a:ext cx="5291328" cy="54864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333" b="1" kern="0" spc="200" noProof="1">
                <a:solidFill>
                  <a:srgbClr val="E8940A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ЧТО ИЗМЕРЯЕТ — И ЧТО НЕТ</a:t>
            </a:r>
            <a:endParaRPr lang="ru-RU" sz="1333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Shape 9">
            <a:extLst>
              <a:ext uri="{FF2B5EF4-FFF2-40B4-BE49-F238E27FC236}">
                <a16:creationId xmlns:a16="http://schemas.microsoft.com/office/drawing/2014/main" id="{17E1B931-7F14-F782-C6AE-41FA74DA6BC6}"/>
              </a:ext>
            </a:extLst>
          </p:cNvPr>
          <p:cNvSpPr/>
          <p:nvPr/>
        </p:nvSpPr>
        <p:spPr>
          <a:xfrm>
            <a:off x="9034523" y="1938951"/>
            <a:ext cx="3048000" cy="548640"/>
          </a:xfrm>
          <a:prstGeom prst="rect">
            <a:avLst/>
          </a:prstGeom>
          <a:solidFill>
            <a:srgbClr val="16303A"/>
          </a:solidFill>
          <a:ln w="12700">
            <a:solidFill>
              <a:srgbClr val="16303A"/>
            </a:solidFill>
            <a:prstDash val="solid"/>
          </a:ln>
        </p:spPr>
        <p:txBody>
          <a:bodyPr/>
          <a:lstStyle/>
          <a:p>
            <a:pPr defTabSz="1219170">
              <a:defRPr/>
            </a:pPr>
            <a:endParaRPr lang="ru-RU" sz="24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Text 10">
            <a:extLst>
              <a:ext uri="{FF2B5EF4-FFF2-40B4-BE49-F238E27FC236}">
                <a16:creationId xmlns:a16="http://schemas.microsoft.com/office/drawing/2014/main" id="{5DC55591-B9C7-BA7E-B38F-944B924542C3}"/>
              </a:ext>
            </a:extLst>
          </p:cNvPr>
          <p:cNvSpPr/>
          <p:nvPr/>
        </p:nvSpPr>
        <p:spPr>
          <a:xfrm>
            <a:off x="9132059" y="1938951"/>
            <a:ext cx="2852928" cy="54864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333" b="1" kern="0" spc="200" noProof="1">
                <a:solidFill>
                  <a:srgbClr val="E8940A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ИНДИКАТОРЫ КАЧЕСТВА</a:t>
            </a:r>
            <a:endParaRPr lang="ru-RU" sz="1333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Shape 11">
            <a:extLst>
              <a:ext uri="{FF2B5EF4-FFF2-40B4-BE49-F238E27FC236}">
                <a16:creationId xmlns:a16="http://schemas.microsoft.com/office/drawing/2014/main" id="{7C9FEC7B-E871-CAF3-4A56-1E4EEFB14C09}"/>
              </a:ext>
            </a:extLst>
          </p:cNvPr>
          <p:cNvSpPr/>
          <p:nvPr/>
        </p:nvSpPr>
        <p:spPr>
          <a:xfrm>
            <a:off x="622043" y="2487591"/>
            <a:ext cx="11460480" cy="999744"/>
          </a:xfrm>
          <a:prstGeom prst="rect">
            <a:avLst/>
          </a:prstGeom>
          <a:solidFill>
            <a:srgbClr val="F7FAFB"/>
          </a:solidFill>
          <a:ln w="5080">
            <a:solidFill>
              <a:srgbClr val="B2D8DE"/>
            </a:solidFill>
            <a:prstDash val="solid"/>
          </a:ln>
        </p:spPr>
        <p:txBody>
          <a:bodyPr/>
          <a:lstStyle/>
          <a:p>
            <a:pPr defTabSz="1219170">
              <a:defRPr/>
            </a:pPr>
            <a:endParaRPr lang="ru-RU" sz="24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Text 12">
            <a:extLst>
              <a:ext uri="{FF2B5EF4-FFF2-40B4-BE49-F238E27FC236}">
                <a16:creationId xmlns:a16="http://schemas.microsoft.com/office/drawing/2014/main" id="{2FB821EA-55FB-B967-BFAB-F232FC1FBB92}"/>
              </a:ext>
            </a:extLst>
          </p:cNvPr>
          <p:cNvSpPr/>
          <p:nvPr/>
        </p:nvSpPr>
        <p:spPr>
          <a:xfrm>
            <a:off x="622043" y="2487591"/>
            <a:ext cx="1097280" cy="999744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algn="ctr" defTabSz="1219170">
              <a:defRPr/>
            </a:pPr>
            <a:r>
              <a:rPr lang="ru-RU" sz="3733" b="1" noProof="1">
                <a:solidFill>
                  <a:srgbClr val="027A87"/>
                </a:solidFill>
                <a:latin typeface="Arial" panose="020B0604020202020204" pitchFamily="34" charset="0"/>
                <a:ea typeface="Georgia" pitchFamily="34" charset="-122"/>
                <a:cs typeface="Arial" panose="020B0604020202020204" pitchFamily="34" charset="0"/>
              </a:rPr>
              <a:t>1</a:t>
            </a:r>
            <a:endParaRPr lang="ru-RU" sz="3733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Text 13">
            <a:extLst>
              <a:ext uri="{FF2B5EF4-FFF2-40B4-BE49-F238E27FC236}">
                <a16:creationId xmlns:a16="http://schemas.microsoft.com/office/drawing/2014/main" id="{218EDF4C-91AF-EE32-6F9A-3CE81EFC108B}"/>
              </a:ext>
            </a:extLst>
          </p:cNvPr>
          <p:cNvSpPr/>
          <p:nvPr/>
        </p:nvSpPr>
        <p:spPr>
          <a:xfrm>
            <a:off x="1780283" y="2487591"/>
            <a:ext cx="1706880" cy="999744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867" b="1" noProof="1">
                <a:solidFill>
                  <a:srgbClr val="16303A"/>
                </a:solidFill>
                <a:latin typeface="Arial" panose="020B0604020202020204" pitchFamily="34" charset="0"/>
                <a:ea typeface="Trebuchet MS" pitchFamily="34" charset="-122"/>
                <a:cs typeface="Arial" panose="020B0604020202020204" pitchFamily="34" charset="0"/>
              </a:rPr>
              <a:t>Реакция</a:t>
            </a:r>
            <a:endParaRPr lang="ru-RU" sz="1867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Text 14">
            <a:extLst>
              <a:ext uri="{FF2B5EF4-FFF2-40B4-BE49-F238E27FC236}">
                <a16:creationId xmlns:a16="http://schemas.microsoft.com/office/drawing/2014/main" id="{B35C15BD-072E-A38B-64BB-AC270C653B45}"/>
              </a:ext>
            </a:extLst>
          </p:cNvPr>
          <p:cNvSpPr/>
          <p:nvPr/>
        </p:nvSpPr>
        <p:spPr>
          <a:xfrm>
            <a:off x="3670043" y="2585127"/>
            <a:ext cx="5242560" cy="804672"/>
          </a:xfrm>
          <a:prstGeom prst="rect">
            <a:avLst/>
          </a:prstGeom>
          <a:noFill/>
          <a:ln/>
        </p:spPr>
        <p:txBody>
          <a:bodyPr wrap="square" rtlCol="0" anchor="t"/>
          <a:lstStyle/>
          <a:p>
            <a:pPr defTabSz="1219170">
              <a:defRPr/>
            </a:pPr>
            <a:r>
              <a:rPr lang="ru-RU" sz="1333" noProof="1">
                <a:solidFill>
                  <a:srgbClr val="16303A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Сочли ли участники профессиональное развитие педагогов полезным, актуальным и увлекательным? Измеряет удовлетворённость — не то, изменилось ли что-либо.</a:t>
            </a:r>
            <a:endParaRPr lang="ru-RU" sz="1333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Text 15">
            <a:extLst>
              <a:ext uri="{FF2B5EF4-FFF2-40B4-BE49-F238E27FC236}">
                <a16:creationId xmlns:a16="http://schemas.microsoft.com/office/drawing/2014/main" id="{C6582228-E24A-8374-2803-5E3EBCF1E395}"/>
              </a:ext>
            </a:extLst>
          </p:cNvPr>
          <p:cNvSpPr/>
          <p:nvPr/>
        </p:nvSpPr>
        <p:spPr>
          <a:xfrm>
            <a:off x="9156443" y="2585127"/>
            <a:ext cx="2804160" cy="804672"/>
          </a:xfrm>
          <a:prstGeom prst="rect">
            <a:avLst/>
          </a:prstGeom>
          <a:noFill/>
          <a:ln/>
        </p:spPr>
        <p:txBody>
          <a:bodyPr wrap="square" rtlCol="0" anchor="t"/>
          <a:lstStyle/>
          <a:p>
            <a:pPr defTabSz="1219170">
              <a:defRPr/>
            </a:pPr>
            <a:r>
              <a:rPr lang="ru-RU" sz="1333" noProof="1">
                <a:solidFill>
                  <a:srgbClr val="3D6673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Прямой связи нет. Слабые реакции могут сигнализировать об отсутствии ИК 1 или ИК 4.</a:t>
            </a:r>
            <a:endParaRPr lang="ru-RU" sz="1333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Shape 16">
            <a:extLst>
              <a:ext uri="{FF2B5EF4-FFF2-40B4-BE49-F238E27FC236}">
                <a16:creationId xmlns:a16="http://schemas.microsoft.com/office/drawing/2014/main" id="{F131FD58-9F91-59C3-6380-D8F1447C3877}"/>
              </a:ext>
            </a:extLst>
          </p:cNvPr>
          <p:cNvSpPr/>
          <p:nvPr/>
        </p:nvSpPr>
        <p:spPr>
          <a:xfrm>
            <a:off x="622043" y="3487335"/>
            <a:ext cx="11460480" cy="999744"/>
          </a:xfrm>
          <a:prstGeom prst="rect">
            <a:avLst/>
          </a:prstGeom>
          <a:solidFill>
            <a:srgbClr val="FFFFFF"/>
          </a:solidFill>
          <a:ln w="5080">
            <a:solidFill>
              <a:srgbClr val="B2D8DE"/>
            </a:solidFill>
            <a:prstDash val="solid"/>
          </a:ln>
        </p:spPr>
        <p:txBody>
          <a:bodyPr/>
          <a:lstStyle/>
          <a:p>
            <a:pPr defTabSz="1219170">
              <a:defRPr/>
            </a:pPr>
            <a:endParaRPr lang="ru-RU" sz="24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Text 17">
            <a:extLst>
              <a:ext uri="{FF2B5EF4-FFF2-40B4-BE49-F238E27FC236}">
                <a16:creationId xmlns:a16="http://schemas.microsoft.com/office/drawing/2014/main" id="{B0AC0BD7-B0C8-5E07-CA5A-B31B97D42532}"/>
              </a:ext>
            </a:extLst>
          </p:cNvPr>
          <p:cNvSpPr/>
          <p:nvPr/>
        </p:nvSpPr>
        <p:spPr>
          <a:xfrm>
            <a:off x="622043" y="3487335"/>
            <a:ext cx="1097280" cy="999744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algn="ctr" defTabSz="1219170">
              <a:defRPr/>
            </a:pPr>
            <a:r>
              <a:rPr lang="ru-RU" sz="3733" b="1" noProof="1">
                <a:solidFill>
                  <a:srgbClr val="027A87"/>
                </a:solidFill>
                <a:latin typeface="Arial" panose="020B0604020202020204" pitchFamily="34" charset="0"/>
                <a:ea typeface="Georgia" pitchFamily="34" charset="-122"/>
                <a:cs typeface="Arial" panose="020B0604020202020204" pitchFamily="34" charset="0"/>
              </a:rPr>
              <a:t>2</a:t>
            </a:r>
            <a:endParaRPr lang="ru-RU" sz="3733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Text 18">
            <a:extLst>
              <a:ext uri="{FF2B5EF4-FFF2-40B4-BE49-F238E27FC236}">
                <a16:creationId xmlns:a16="http://schemas.microsoft.com/office/drawing/2014/main" id="{2AFEBE99-7CAA-5339-BDCC-0A0DDCECC752}"/>
              </a:ext>
            </a:extLst>
          </p:cNvPr>
          <p:cNvSpPr/>
          <p:nvPr/>
        </p:nvSpPr>
        <p:spPr>
          <a:xfrm>
            <a:off x="1780283" y="3487335"/>
            <a:ext cx="1706880" cy="999744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867" b="1" noProof="1">
                <a:solidFill>
                  <a:srgbClr val="16303A"/>
                </a:solidFill>
                <a:latin typeface="Arial" panose="020B0604020202020204" pitchFamily="34" charset="0"/>
                <a:ea typeface="Trebuchet MS" pitchFamily="34" charset="-122"/>
                <a:cs typeface="Arial" panose="020B0604020202020204" pitchFamily="34" charset="0"/>
              </a:rPr>
              <a:t>Обучение</a:t>
            </a:r>
            <a:endParaRPr lang="ru-RU" sz="1867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" name="Text 19">
            <a:extLst>
              <a:ext uri="{FF2B5EF4-FFF2-40B4-BE49-F238E27FC236}">
                <a16:creationId xmlns:a16="http://schemas.microsoft.com/office/drawing/2014/main" id="{9CF56F2B-9D59-6CB9-99A8-46FB2C5DFC05}"/>
              </a:ext>
            </a:extLst>
          </p:cNvPr>
          <p:cNvSpPr/>
          <p:nvPr/>
        </p:nvSpPr>
        <p:spPr>
          <a:xfrm>
            <a:off x="3670043" y="3584871"/>
            <a:ext cx="5242560" cy="804672"/>
          </a:xfrm>
          <a:prstGeom prst="rect">
            <a:avLst/>
          </a:prstGeom>
          <a:noFill/>
          <a:ln/>
        </p:spPr>
        <p:txBody>
          <a:bodyPr wrap="square" rtlCol="0" anchor="t"/>
          <a:lstStyle/>
          <a:p>
            <a:pPr defTabSz="1219170">
              <a:defRPr/>
            </a:pPr>
            <a:r>
              <a:rPr lang="ru-RU" sz="1333" noProof="1">
                <a:solidFill>
                  <a:srgbClr val="16303A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Приобрели ли участники новые знания, навыки или установки в ходе профессионального развития педагогов? Измеряет непосредственное обучение — не то, было ли оно применено.</a:t>
            </a:r>
            <a:endParaRPr lang="ru-RU" sz="1333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" name="Text 20">
            <a:extLst>
              <a:ext uri="{FF2B5EF4-FFF2-40B4-BE49-F238E27FC236}">
                <a16:creationId xmlns:a16="http://schemas.microsoft.com/office/drawing/2014/main" id="{FB943565-701B-AEE1-C1B4-DEFB2D2BEA1B}"/>
              </a:ext>
            </a:extLst>
          </p:cNvPr>
          <p:cNvSpPr/>
          <p:nvPr/>
        </p:nvSpPr>
        <p:spPr>
          <a:xfrm>
            <a:off x="9156443" y="3584871"/>
            <a:ext cx="2804160" cy="804672"/>
          </a:xfrm>
          <a:prstGeom prst="rect">
            <a:avLst/>
          </a:prstGeom>
          <a:noFill/>
          <a:ln/>
        </p:spPr>
        <p:txBody>
          <a:bodyPr wrap="square" rtlCol="0" anchor="t"/>
          <a:lstStyle/>
          <a:p>
            <a:pPr defTabSz="1219170">
              <a:defRPr/>
            </a:pPr>
            <a:r>
              <a:rPr lang="ru-RU" sz="1333" noProof="1">
                <a:solidFill>
                  <a:srgbClr val="3D6673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ИК 4 — вы действуете, а не просто слушаете. ИК 8 — основано на том, что работает.</a:t>
            </a:r>
            <a:endParaRPr lang="ru-RU" sz="1333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2" name="Shape 21">
            <a:extLst>
              <a:ext uri="{FF2B5EF4-FFF2-40B4-BE49-F238E27FC236}">
                <a16:creationId xmlns:a16="http://schemas.microsoft.com/office/drawing/2014/main" id="{CDC982AD-C1DF-A95A-D3F8-74459A5ACA88}"/>
              </a:ext>
            </a:extLst>
          </p:cNvPr>
          <p:cNvSpPr/>
          <p:nvPr/>
        </p:nvSpPr>
        <p:spPr>
          <a:xfrm>
            <a:off x="622043" y="4487079"/>
            <a:ext cx="11460480" cy="999744"/>
          </a:xfrm>
          <a:prstGeom prst="rect">
            <a:avLst/>
          </a:prstGeom>
          <a:solidFill>
            <a:srgbClr val="FDF3DC"/>
          </a:solidFill>
          <a:ln w="15240">
            <a:solidFill>
              <a:srgbClr val="E8940A"/>
            </a:solidFill>
            <a:prstDash val="solid"/>
          </a:ln>
        </p:spPr>
        <p:txBody>
          <a:bodyPr/>
          <a:lstStyle/>
          <a:p>
            <a:pPr defTabSz="1219170">
              <a:defRPr/>
            </a:pPr>
            <a:endParaRPr lang="ru-RU" sz="24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3" name="Text 22">
            <a:extLst>
              <a:ext uri="{FF2B5EF4-FFF2-40B4-BE49-F238E27FC236}">
                <a16:creationId xmlns:a16="http://schemas.microsoft.com/office/drawing/2014/main" id="{8C21151B-88F6-979D-7D3D-F47F5B38ED8E}"/>
              </a:ext>
            </a:extLst>
          </p:cNvPr>
          <p:cNvSpPr/>
          <p:nvPr/>
        </p:nvSpPr>
        <p:spPr>
          <a:xfrm>
            <a:off x="622043" y="4487079"/>
            <a:ext cx="1097280" cy="999744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algn="ctr" defTabSz="1219170">
              <a:defRPr/>
            </a:pPr>
            <a:r>
              <a:rPr lang="ru-RU" sz="3733" b="1" noProof="1">
                <a:solidFill>
                  <a:srgbClr val="E8940A"/>
                </a:solidFill>
                <a:latin typeface="Arial" panose="020B0604020202020204" pitchFamily="34" charset="0"/>
                <a:ea typeface="Georgia" pitchFamily="34" charset="-122"/>
                <a:cs typeface="Arial" panose="020B0604020202020204" pitchFamily="34" charset="0"/>
              </a:rPr>
              <a:t>3</a:t>
            </a:r>
            <a:endParaRPr lang="ru-RU" sz="3733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4" name="Text 23">
            <a:extLst>
              <a:ext uri="{FF2B5EF4-FFF2-40B4-BE49-F238E27FC236}">
                <a16:creationId xmlns:a16="http://schemas.microsoft.com/office/drawing/2014/main" id="{7A828EB9-B8C3-EA38-C08B-E1F023102329}"/>
              </a:ext>
            </a:extLst>
          </p:cNvPr>
          <p:cNvSpPr/>
          <p:nvPr/>
        </p:nvSpPr>
        <p:spPr>
          <a:xfrm>
            <a:off x="1780283" y="4487079"/>
            <a:ext cx="1706880" cy="999744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867" b="1" noProof="1">
                <a:solidFill>
                  <a:srgbClr val="16303A"/>
                </a:solidFill>
                <a:latin typeface="Arial" panose="020B0604020202020204" pitchFamily="34" charset="0"/>
                <a:ea typeface="Trebuchet MS" pitchFamily="34" charset="-122"/>
                <a:cs typeface="Arial" panose="020B0604020202020204" pitchFamily="34" charset="0"/>
              </a:rPr>
              <a:t>Поведение</a:t>
            </a:r>
            <a:endParaRPr lang="ru-RU" sz="1867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5" name="Text 24">
            <a:extLst>
              <a:ext uri="{FF2B5EF4-FFF2-40B4-BE49-F238E27FC236}">
                <a16:creationId xmlns:a16="http://schemas.microsoft.com/office/drawing/2014/main" id="{E059D657-6408-E6EF-590E-0A70A673E0E0}"/>
              </a:ext>
            </a:extLst>
          </p:cNvPr>
          <p:cNvSpPr/>
          <p:nvPr/>
        </p:nvSpPr>
        <p:spPr>
          <a:xfrm>
            <a:off x="3670043" y="4584615"/>
            <a:ext cx="5242560" cy="804672"/>
          </a:xfrm>
          <a:prstGeom prst="rect">
            <a:avLst/>
          </a:prstGeom>
          <a:noFill/>
          <a:ln/>
        </p:spPr>
        <p:txBody>
          <a:bodyPr wrap="square" rtlCol="0" anchor="t"/>
          <a:lstStyle/>
          <a:p>
            <a:pPr defTabSz="1219170">
              <a:defRPr/>
            </a:pPr>
            <a:r>
              <a:rPr lang="ru-RU" sz="1333" noProof="1">
                <a:solidFill>
                  <a:srgbClr val="16303A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Изменили ли участники то, что они делают в своих классах, мастерских или учебных сессиях? Здесь большинство оценок профессионального развития педагогов останавливается — и именно этого SCAFFOLD призван достичь.</a:t>
            </a:r>
            <a:endParaRPr lang="ru-RU" sz="1333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6" name="Text 25">
            <a:extLst>
              <a:ext uri="{FF2B5EF4-FFF2-40B4-BE49-F238E27FC236}">
                <a16:creationId xmlns:a16="http://schemas.microsoft.com/office/drawing/2014/main" id="{EA6A3394-B3A9-00C0-BE28-02C70B658B5F}"/>
              </a:ext>
            </a:extLst>
          </p:cNvPr>
          <p:cNvSpPr/>
          <p:nvPr/>
        </p:nvSpPr>
        <p:spPr>
          <a:xfrm>
            <a:off x="9156443" y="4559732"/>
            <a:ext cx="2804160" cy="804672"/>
          </a:xfrm>
          <a:prstGeom prst="rect">
            <a:avLst/>
          </a:prstGeom>
          <a:noFill/>
          <a:ln/>
        </p:spPr>
        <p:txBody>
          <a:bodyPr wrap="square" rtlCol="0" anchor="t"/>
          <a:lstStyle/>
          <a:p>
            <a:pPr defTabSz="1219170">
              <a:defRPr/>
            </a:pPr>
            <a:r>
              <a:rPr lang="ru-RU" sz="1333" noProof="1">
                <a:solidFill>
                  <a:srgbClr val="3D6673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ИК 1, 2, 3 — связь с практикой, устойчивость, применение. ИК 6 — это касается ваших студентов.</a:t>
            </a:r>
            <a:endParaRPr lang="ru-RU" sz="1333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7" name="Shape 26">
            <a:extLst>
              <a:ext uri="{FF2B5EF4-FFF2-40B4-BE49-F238E27FC236}">
                <a16:creationId xmlns:a16="http://schemas.microsoft.com/office/drawing/2014/main" id="{AB8A326F-54D4-E6E2-1700-9AB834359D3E}"/>
              </a:ext>
            </a:extLst>
          </p:cNvPr>
          <p:cNvSpPr/>
          <p:nvPr/>
        </p:nvSpPr>
        <p:spPr>
          <a:xfrm>
            <a:off x="622043" y="5486823"/>
            <a:ext cx="11460480" cy="999744"/>
          </a:xfrm>
          <a:prstGeom prst="rect">
            <a:avLst/>
          </a:prstGeom>
          <a:solidFill>
            <a:srgbClr val="FFFFFF"/>
          </a:solidFill>
          <a:ln w="5080">
            <a:solidFill>
              <a:srgbClr val="B2D8DE"/>
            </a:solidFill>
            <a:prstDash val="solid"/>
          </a:ln>
        </p:spPr>
        <p:txBody>
          <a:bodyPr/>
          <a:lstStyle/>
          <a:p>
            <a:pPr defTabSz="1219170">
              <a:defRPr/>
            </a:pPr>
            <a:endParaRPr lang="ru-RU" sz="24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8" name="Text 27">
            <a:extLst>
              <a:ext uri="{FF2B5EF4-FFF2-40B4-BE49-F238E27FC236}">
                <a16:creationId xmlns:a16="http://schemas.microsoft.com/office/drawing/2014/main" id="{6A457D51-DE10-3B53-B104-FF1641E74601}"/>
              </a:ext>
            </a:extLst>
          </p:cNvPr>
          <p:cNvSpPr/>
          <p:nvPr/>
        </p:nvSpPr>
        <p:spPr>
          <a:xfrm>
            <a:off x="622043" y="5486823"/>
            <a:ext cx="1097280" cy="999744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algn="ctr" defTabSz="1219170">
              <a:defRPr/>
            </a:pPr>
            <a:r>
              <a:rPr lang="ru-RU" sz="3733" b="1" noProof="1">
                <a:solidFill>
                  <a:srgbClr val="027A87"/>
                </a:solidFill>
                <a:latin typeface="Arial" panose="020B0604020202020204" pitchFamily="34" charset="0"/>
                <a:ea typeface="Georgia" pitchFamily="34" charset="-122"/>
                <a:cs typeface="Arial" panose="020B0604020202020204" pitchFamily="34" charset="0"/>
              </a:rPr>
              <a:t>4</a:t>
            </a:r>
            <a:endParaRPr lang="ru-RU" sz="3733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9" name="Text 28">
            <a:extLst>
              <a:ext uri="{FF2B5EF4-FFF2-40B4-BE49-F238E27FC236}">
                <a16:creationId xmlns:a16="http://schemas.microsoft.com/office/drawing/2014/main" id="{05A4795A-6608-DE6F-61DF-E5D1EDF23BE9}"/>
              </a:ext>
            </a:extLst>
          </p:cNvPr>
          <p:cNvSpPr/>
          <p:nvPr/>
        </p:nvSpPr>
        <p:spPr>
          <a:xfrm>
            <a:off x="1780283" y="5486823"/>
            <a:ext cx="1706880" cy="999744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867" b="1" noProof="1">
                <a:solidFill>
                  <a:srgbClr val="16303A"/>
                </a:solidFill>
                <a:latin typeface="Arial" panose="020B0604020202020204" pitchFamily="34" charset="0"/>
                <a:ea typeface="Trebuchet MS" pitchFamily="34" charset="-122"/>
                <a:cs typeface="Arial" panose="020B0604020202020204" pitchFamily="34" charset="0"/>
              </a:rPr>
              <a:t>Результаты</a:t>
            </a:r>
            <a:endParaRPr lang="ru-RU" sz="1867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0" name="Text 29">
            <a:extLst>
              <a:ext uri="{FF2B5EF4-FFF2-40B4-BE49-F238E27FC236}">
                <a16:creationId xmlns:a16="http://schemas.microsoft.com/office/drawing/2014/main" id="{3FE43E38-CAF0-9BDB-1AD8-6ED6ABE98104}"/>
              </a:ext>
            </a:extLst>
          </p:cNvPr>
          <p:cNvSpPr/>
          <p:nvPr/>
        </p:nvSpPr>
        <p:spPr>
          <a:xfrm>
            <a:off x="3670043" y="5584359"/>
            <a:ext cx="5242560" cy="804672"/>
          </a:xfrm>
          <a:prstGeom prst="rect">
            <a:avLst/>
          </a:prstGeom>
          <a:noFill/>
          <a:ln/>
        </p:spPr>
        <p:txBody>
          <a:bodyPr wrap="square" rtlCol="0" anchor="t"/>
          <a:lstStyle/>
          <a:p>
            <a:pPr defTabSz="1219170">
              <a:defRPr/>
            </a:pPr>
            <a:r>
              <a:rPr lang="ru-RU" sz="1333" noProof="1">
                <a:solidFill>
                  <a:srgbClr val="16303A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Улучшило ли профессиональное развитие педагогов результаты обучающихся? Редко измеряется. Труднее всего атрибутировать именно профессиональному развитию педагогов.</a:t>
            </a:r>
            <a:endParaRPr lang="ru-RU" sz="1333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1" name="Text 30">
            <a:extLst>
              <a:ext uri="{FF2B5EF4-FFF2-40B4-BE49-F238E27FC236}">
                <a16:creationId xmlns:a16="http://schemas.microsoft.com/office/drawing/2014/main" id="{7A67BC74-B7C3-7035-B6E1-70C53C3629D0}"/>
              </a:ext>
            </a:extLst>
          </p:cNvPr>
          <p:cNvSpPr/>
          <p:nvPr/>
        </p:nvSpPr>
        <p:spPr>
          <a:xfrm>
            <a:off x="9156443" y="5584359"/>
            <a:ext cx="2804160" cy="804672"/>
          </a:xfrm>
          <a:prstGeom prst="rect">
            <a:avLst/>
          </a:prstGeom>
          <a:noFill/>
          <a:ln/>
        </p:spPr>
        <p:txBody>
          <a:bodyPr wrap="square" rtlCol="0" anchor="t"/>
          <a:lstStyle/>
          <a:p>
            <a:pPr defTabSz="1219170">
              <a:defRPr/>
            </a:pPr>
            <a:r>
              <a:rPr lang="ru-RU" sz="1333" noProof="1">
                <a:solidFill>
                  <a:srgbClr val="3D6673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ИК 6 — это касается ваших студентов. </a:t>
            </a:r>
            <a:endParaRPr lang="ru-RU" sz="1333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2" name="Text 31">
            <a:extLst>
              <a:ext uri="{FF2B5EF4-FFF2-40B4-BE49-F238E27FC236}">
                <a16:creationId xmlns:a16="http://schemas.microsoft.com/office/drawing/2014/main" id="{C5DAB432-DA5E-7F2F-CD11-D57CE0B7828F}"/>
              </a:ext>
            </a:extLst>
          </p:cNvPr>
          <p:cNvSpPr/>
          <p:nvPr/>
        </p:nvSpPr>
        <p:spPr>
          <a:xfrm>
            <a:off x="622043" y="6474375"/>
            <a:ext cx="11460480" cy="341376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267" i="1" noProof="1">
                <a:solidFill>
                  <a:schemeClr val="bg1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То, как выглядят свидетельства Уровня 3, различается в зависимости от группы педагогов — взаимное наблюдение, работающее для педагогов одной школы, работает иначе для тренеров ПОО из разных учебных заведений.</a:t>
            </a:r>
            <a:endParaRPr lang="ru-RU" sz="1267" noProof="1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5698559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4526A97-B3BE-674A-2B90-00B34A8A176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ru-RU" noProof="1"/>
              <a:t>Что это означает для вашего дизайна</a:t>
            </a:r>
          </a:p>
        </p:txBody>
      </p:sp>
      <p:sp>
        <p:nvSpPr>
          <p:cNvPr id="3" name="Shape 2">
            <a:extLst>
              <a:ext uri="{FF2B5EF4-FFF2-40B4-BE49-F238E27FC236}">
                <a16:creationId xmlns:a16="http://schemas.microsoft.com/office/drawing/2014/main" id="{FBB5A967-CFB7-A5AD-39FB-4AF08494CA30}"/>
              </a:ext>
            </a:extLst>
          </p:cNvPr>
          <p:cNvSpPr/>
          <p:nvPr/>
        </p:nvSpPr>
        <p:spPr>
          <a:xfrm>
            <a:off x="635317" y="1402080"/>
            <a:ext cx="11460480" cy="1463040"/>
          </a:xfrm>
          <a:prstGeom prst="rect">
            <a:avLst/>
          </a:prstGeom>
          <a:solidFill>
            <a:srgbClr val="F7FAFB"/>
          </a:solidFill>
          <a:ln w="6350">
            <a:solidFill>
              <a:srgbClr val="B2D8DE"/>
            </a:solidFill>
            <a:prstDash val="solid"/>
          </a:ln>
        </p:spPr>
        <p:txBody>
          <a:bodyPr/>
          <a:lstStyle/>
          <a:p>
            <a:pPr defTabSz="1219170">
              <a:defRPr/>
            </a:pPr>
            <a:endParaRPr lang="ru-RU" sz="24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Text 3">
            <a:extLst>
              <a:ext uri="{FF2B5EF4-FFF2-40B4-BE49-F238E27FC236}">
                <a16:creationId xmlns:a16="http://schemas.microsoft.com/office/drawing/2014/main" id="{E2EE68A1-92EF-403B-6A55-BAC6B8DD819E}"/>
              </a:ext>
            </a:extLst>
          </p:cNvPr>
          <p:cNvSpPr/>
          <p:nvPr/>
        </p:nvSpPr>
        <p:spPr>
          <a:xfrm>
            <a:off x="757237" y="1584960"/>
            <a:ext cx="1828800" cy="109728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5600" b="1" noProof="1">
                <a:solidFill>
                  <a:srgbClr val="5C7A84"/>
                </a:solidFill>
                <a:latin typeface="Arial" panose="020B0604020202020204" pitchFamily="34" charset="0"/>
                <a:ea typeface="Georgia" pitchFamily="34" charset="-122"/>
                <a:cs typeface="Arial" panose="020B0604020202020204" pitchFamily="34" charset="0"/>
              </a:rPr>
              <a:t>01</a:t>
            </a:r>
            <a:endParaRPr lang="ru-RU" sz="56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Text 4">
            <a:extLst>
              <a:ext uri="{FF2B5EF4-FFF2-40B4-BE49-F238E27FC236}">
                <a16:creationId xmlns:a16="http://schemas.microsoft.com/office/drawing/2014/main" id="{BABD1C91-9B89-AC5C-7CDE-E053F63295E0}"/>
              </a:ext>
            </a:extLst>
          </p:cNvPr>
          <p:cNvSpPr/>
          <p:nvPr/>
        </p:nvSpPr>
        <p:spPr>
          <a:xfrm>
            <a:off x="2525077" y="1559329"/>
            <a:ext cx="9326880" cy="48768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2133" b="1" noProof="1">
                <a:solidFill>
                  <a:srgbClr val="16303A"/>
                </a:solidFill>
                <a:latin typeface="Arial" panose="020B0604020202020204" pitchFamily="34" charset="0"/>
                <a:ea typeface="Trebuchet MS" pitchFamily="34" charset="-122"/>
                <a:cs typeface="Arial" panose="020B0604020202020204" pitchFamily="34" charset="0"/>
              </a:rPr>
              <a:t>Большинство программ профессионального развития педагогов оценивается только на Уровне 1</a:t>
            </a:r>
            <a:endParaRPr lang="ru-RU" sz="2133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Text 5">
            <a:extLst>
              <a:ext uri="{FF2B5EF4-FFF2-40B4-BE49-F238E27FC236}">
                <a16:creationId xmlns:a16="http://schemas.microsoft.com/office/drawing/2014/main" id="{5ACE4F60-8793-D336-8F7A-139C97C2EA6C}"/>
              </a:ext>
            </a:extLst>
          </p:cNvPr>
          <p:cNvSpPr/>
          <p:nvPr/>
        </p:nvSpPr>
        <p:spPr>
          <a:xfrm>
            <a:off x="2525077" y="2083835"/>
            <a:ext cx="9326880" cy="670560"/>
          </a:xfrm>
          <a:prstGeom prst="rect">
            <a:avLst/>
          </a:prstGeom>
          <a:noFill/>
          <a:ln/>
        </p:spPr>
        <p:txBody>
          <a:bodyPr wrap="square" rtlCol="0" anchor="t"/>
          <a:lstStyle/>
          <a:p>
            <a:pPr defTabSz="1219170">
              <a:defRPr/>
            </a:pPr>
            <a:r>
              <a:rPr lang="ru-RU" sz="1467" noProof="1">
                <a:solidFill>
                  <a:srgbClr val="3D6673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Опрос удовлетворённости в конце учебной сессии говорит вам, понравилось ли участникам. Он почти ничего не говорит о том, изменило ли это то, как они преподают, тренируют или фасилитируют обучение.</a:t>
            </a:r>
            <a:endParaRPr lang="ru-RU" sz="1467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Shape 6">
            <a:extLst>
              <a:ext uri="{FF2B5EF4-FFF2-40B4-BE49-F238E27FC236}">
                <a16:creationId xmlns:a16="http://schemas.microsoft.com/office/drawing/2014/main" id="{1CF6FB17-DEEB-DE60-2721-A840D7808B1E}"/>
              </a:ext>
            </a:extLst>
          </p:cNvPr>
          <p:cNvSpPr/>
          <p:nvPr/>
        </p:nvSpPr>
        <p:spPr>
          <a:xfrm>
            <a:off x="635317" y="2987040"/>
            <a:ext cx="11460480" cy="1463040"/>
          </a:xfrm>
          <a:prstGeom prst="rect">
            <a:avLst/>
          </a:prstGeom>
          <a:solidFill>
            <a:srgbClr val="D6F0F3"/>
          </a:solidFill>
          <a:ln w="12700">
            <a:solidFill>
              <a:srgbClr val="027A87"/>
            </a:solidFill>
            <a:prstDash val="solid"/>
          </a:ln>
        </p:spPr>
        <p:txBody>
          <a:bodyPr/>
          <a:lstStyle/>
          <a:p>
            <a:pPr defTabSz="1219170">
              <a:defRPr/>
            </a:pPr>
            <a:endParaRPr lang="ru-RU" sz="24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Text 7">
            <a:extLst>
              <a:ext uri="{FF2B5EF4-FFF2-40B4-BE49-F238E27FC236}">
                <a16:creationId xmlns:a16="http://schemas.microsoft.com/office/drawing/2014/main" id="{58C62D04-ED55-6F05-4BA1-87DCBAEBAB9D}"/>
              </a:ext>
            </a:extLst>
          </p:cNvPr>
          <p:cNvSpPr/>
          <p:nvPr/>
        </p:nvSpPr>
        <p:spPr>
          <a:xfrm>
            <a:off x="757237" y="3169920"/>
            <a:ext cx="1828800" cy="109728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5600" b="1" noProof="1">
                <a:solidFill>
                  <a:srgbClr val="027A87"/>
                </a:solidFill>
                <a:latin typeface="Arial" panose="020B0604020202020204" pitchFamily="34" charset="0"/>
                <a:ea typeface="Georgia" pitchFamily="34" charset="-122"/>
                <a:cs typeface="Arial" panose="020B0604020202020204" pitchFamily="34" charset="0"/>
              </a:rPr>
              <a:t>02</a:t>
            </a:r>
            <a:endParaRPr lang="ru-RU" sz="56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Text 8">
            <a:extLst>
              <a:ext uri="{FF2B5EF4-FFF2-40B4-BE49-F238E27FC236}">
                <a16:creationId xmlns:a16="http://schemas.microsoft.com/office/drawing/2014/main" id="{21D9CA81-1349-5FD2-8EB9-B63B0F8E46FC}"/>
              </a:ext>
            </a:extLst>
          </p:cNvPr>
          <p:cNvSpPr/>
          <p:nvPr/>
        </p:nvSpPr>
        <p:spPr>
          <a:xfrm>
            <a:off x="2525077" y="3106965"/>
            <a:ext cx="9326880" cy="48768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2133" b="1" noProof="1">
                <a:solidFill>
                  <a:srgbClr val="16303A"/>
                </a:solidFill>
                <a:latin typeface="Arial" panose="020B0604020202020204" pitchFamily="34" charset="0"/>
                <a:ea typeface="Trebuchet MS" pitchFamily="34" charset="-122"/>
                <a:cs typeface="Arial" panose="020B0604020202020204" pitchFamily="34" charset="0"/>
              </a:rPr>
              <a:t>SCAFFOLD создан для достижения Уровня 3</a:t>
            </a:r>
            <a:endParaRPr lang="ru-RU" sz="2133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Text 9">
            <a:extLst>
              <a:ext uri="{FF2B5EF4-FFF2-40B4-BE49-F238E27FC236}">
                <a16:creationId xmlns:a16="http://schemas.microsoft.com/office/drawing/2014/main" id="{830518DC-867E-7A77-660A-72B775B16BE9}"/>
              </a:ext>
            </a:extLst>
          </p:cNvPr>
          <p:cNvSpPr/>
          <p:nvPr/>
        </p:nvSpPr>
        <p:spPr>
          <a:xfrm>
            <a:off x="2525077" y="3619029"/>
            <a:ext cx="9326880" cy="670560"/>
          </a:xfrm>
          <a:prstGeom prst="rect">
            <a:avLst/>
          </a:prstGeom>
          <a:noFill/>
          <a:ln/>
        </p:spPr>
        <p:txBody>
          <a:bodyPr wrap="square" rtlCol="0" anchor="t"/>
          <a:lstStyle/>
          <a:p>
            <a:pPr defTabSz="1219170">
              <a:defRPr/>
            </a:pPr>
            <a:r>
              <a:rPr lang="ru-RU" sz="1467" noProof="1">
                <a:solidFill>
                  <a:srgbClr val="3D6673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Если вы разработали применение в классе или мастерской в карточке 4 и использовали метод оценивания в карточке 5, который просит педагогов принести свидетельства из практики, вы уже создали условия для свидетельств Уровня 3.</a:t>
            </a:r>
            <a:endParaRPr lang="ru-RU" sz="1467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Shape 10">
            <a:extLst>
              <a:ext uri="{FF2B5EF4-FFF2-40B4-BE49-F238E27FC236}">
                <a16:creationId xmlns:a16="http://schemas.microsoft.com/office/drawing/2014/main" id="{F3821EE4-7834-27B4-C6DC-35C6795E4EEB}"/>
              </a:ext>
            </a:extLst>
          </p:cNvPr>
          <p:cNvSpPr/>
          <p:nvPr/>
        </p:nvSpPr>
        <p:spPr>
          <a:xfrm>
            <a:off x="635317" y="4572000"/>
            <a:ext cx="11460480" cy="1463040"/>
          </a:xfrm>
          <a:prstGeom prst="rect">
            <a:avLst/>
          </a:prstGeom>
          <a:solidFill>
            <a:srgbClr val="F7FAFB"/>
          </a:solidFill>
          <a:ln w="6350">
            <a:solidFill>
              <a:srgbClr val="B2D8DE"/>
            </a:solidFill>
            <a:prstDash val="solid"/>
          </a:ln>
        </p:spPr>
        <p:txBody>
          <a:bodyPr/>
          <a:lstStyle/>
          <a:p>
            <a:pPr defTabSz="1219170">
              <a:defRPr/>
            </a:pPr>
            <a:endParaRPr lang="ru-RU" sz="24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Text 11">
            <a:extLst>
              <a:ext uri="{FF2B5EF4-FFF2-40B4-BE49-F238E27FC236}">
                <a16:creationId xmlns:a16="http://schemas.microsoft.com/office/drawing/2014/main" id="{4891F948-4723-C5DB-6D70-CAC26E63CCB9}"/>
              </a:ext>
            </a:extLst>
          </p:cNvPr>
          <p:cNvSpPr/>
          <p:nvPr/>
        </p:nvSpPr>
        <p:spPr>
          <a:xfrm>
            <a:off x="757237" y="4754880"/>
            <a:ext cx="1828800" cy="109728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5600" b="1" noProof="1">
                <a:solidFill>
                  <a:srgbClr val="5C7A84"/>
                </a:solidFill>
                <a:latin typeface="Arial" panose="020B0604020202020204" pitchFamily="34" charset="0"/>
                <a:ea typeface="Georgia" pitchFamily="34" charset="-122"/>
                <a:cs typeface="Arial" panose="020B0604020202020204" pitchFamily="34" charset="0"/>
              </a:rPr>
              <a:t>03</a:t>
            </a:r>
            <a:endParaRPr lang="ru-RU" sz="56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Text 12">
            <a:extLst>
              <a:ext uri="{FF2B5EF4-FFF2-40B4-BE49-F238E27FC236}">
                <a16:creationId xmlns:a16="http://schemas.microsoft.com/office/drawing/2014/main" id="{2AA64F64-7A89-8A40-DB61-FDCC24B57983}"/>
              </a:ext>
            </a:extLst>
          </p:cNvPr>
          <p:cNvSpPr/>
          <p:nvPr/>
        </p:nvSpPr>
        <p:spPr>
          <a:xfrm>
            <a:off x="2525077" y="4704368"/>
            <a:ext cx="9326880" cy="48768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2133" b="1" noProof="1">
                <a:solidFill>
                  <a:srgbClr val="16303A"/>
                </a:solidFill>
                <a:latin typeface="Arial" panose="020B0604020202020204" pitchFamily="34" charset="0"/>
                <a:ea typeface="Trebuchet MS" pitchFamily="34" charset="-122"/>
                <a:cs typeface="Arial" panose="020B0604020202020204" pitchFamily="34" charset="0"/>
              </a:rPr>
              <a:t>Показатели активности — это не оценка</a:t>
            </a:r>
            <a:endParaRPr lang="ru-RU" sz="2133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Text 13">
            <a:extLst>
              <a:ext uri="{FF2B5EF4-FFF2-40B4-BE49-F238E27FC236}">
                <a16:creationId xmlns:a16="http://schemas.microsoft.com/office/drawing/2014/main" id="{A19E86AD-8C0B-78E1-2485-1A35CB59DD9A}"/>
              </a:ext>
            </a:extLst>
          </p:cNvPr>
          <p:cNvSpPr/>
          <p:nvPr/>
        </p:nvSpPr>
        <p:spPr>
          <a:xfrm>
            <a:off x="2525077" y="5216432"/>
            <a:ext cx="9326880" cy="670560"/>
          </a:xfrm>
          <a:prstGeom prst="rect">
            <a:avLst/>
          </a:prstGeom>
          <a:noFill/>
          <a:ln/>
        </p:spPr>
        <p:txBody>
          <a:bodyPr wrap="square" rtlCol="0" anchor="t"/>
          <a:lstStyle/>
          <a:p>
            <a:pPr defTabSz="1219170">
              <a:defRPr/>
            </a:pPr>
            <a:r>
              <a:rPr lang="ru-RU" sz="1467" noProof="1">
                <a:solidFill>
                  <a:srgbClr val="3D6673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Подсчёт посещаемости, завершённых активностей, использованных карточек — это говорит вам, что сессия состоялась. Это не говорит вам, действительно ли развилась компетенция, на которую вы нацелились, в группе педагогов, с которой вы работали.</a:t>
            </a:r>
            <a:endParaRPr lang="ru-RU" sz="1467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6257951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65AAA87-5FFF-9940-6073-3C874154F9F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ru-RU" noProof="1"/>
              <a:t>Добавьте оценку Уровня 3 в ваш дизайн</a:t>
            </a:r>
          </a:p>
        </p:txBody>
      </p:sp>
      <p:sp>
        <p:nvSpPr>
          <p:cNvPr id="3" name="Text 5">
            <a:extLst>
              <a:ext uri="{FF2B5EF4-FFF2-40B4-BE49-F238E27FC236}">
                <a16:creationId xmlns:a16="http://schemas.microsoft.com/office/drawing/2014/main" id="{B7C0C849-F4D2-1E54-B496-71A8AD8553D8}"/>
              </a:ext>
            </a:extLst>
          </p:cNvPr>
          <p:cNvSpPr/>
          <p:nvPr/>
        </p:nvSpPr>
        <p:spPr>
          <a:xfrm>
            <a:off x="635317" y="1289204"/>
            <a:ext cx="11460480" cy="42672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600" i="1" noProof="1">
                <a:solidFill>
                  <a:schemeClr val="bg1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Посмотрите на карточку планирования 5 (оценивание) и карточку 7 (график). Ответьте на три вопроса:</a:t>
            </a:r>
            <a:endParaRPr lang="ru-RU" sz="1600" noProof="1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Shape 6">
            <a:extLst>
              <a:ext uri="{FF2B5EF4-FFF2-40B4-BE49-F238E27FC236}">
                <a16:creationId xmlns:a16="http://schemas.microsoft.com/office/drawing/2014/main" id="{076CE485-4B09-C0E7-D3C9-AB8F24AF60B2}"/>
              </a:ext>
            </a:extLst>
          </p:cNvPr>
          <p:cNvSpPr/>
          <p:nvPr/>
        </p:nvSpPr>
        <p:spPr>
          <a:xfrm>
            <a:off x="635317" y="1898804"/>
            <a:ext cx="11460480" cy="1036320"/>
          </a:xfrm>
          <a:prstGeom prst="rect">
            <a:avLst/>
          </a:prstGeom>
          <a:solidFill>
            <a:srgbClr val="D6F0F3"/>
          </a:solidFill>
          <a:ln w="6350">
            <a:solidFill>
              <a:srgbClr val="B2D8DE"/>
            </a:solidFill>
            <a:prstDash val="solid"/>
          </a:ln>
        </p:spPr>
        <p:txBody>
          <a:bodyPr/>
          <a:lstStyle/>
          <a:p>
            <a:pPr defTabSz="1219170">
              <a:defRPr/>
            </a:pPr>
            <a:endParaRPr lang="ru-RU" sz="24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Shape 7">
            <a:extLst>
              <a:ext uri="{FF2B5EF4-FFF2-40B4-BE49-F238E27FC236}">
                <a16:creationId xmlns:a16="http://schemas.microsoft.com/office/drawing/2014/main" id="{A4AD5D68-1FBA-34FF-DF3A-E72ECEDBB65D}"/>
              </a:ext>
            </a:extLst>
          </p:cNvPr>
          <p:cNvSpPr/>
          <p:nvPr/>
        </p:nvSpPr>
        <p:spPr>
          <a:xfrm>
            <a:off x="818197" y="2142644"/>
            <a:ext cx="548640" cy="548640"/>
          </a:xfrm>
          <a:prstGeom prst="ellipse">
            <a:avLst/>
          </a:prstGeom>
          <a:solidFill>
            <a:srgbClr val="027A87"/>
          </a:solidFill>
          <a:ln w="12700">
            <a:solidFill>
              <a:srgbClr val="027A87"/>
            </a:solidFill>
            <a:prstDash val="solid"/>
          </a:ln>
        </p:spPr>
        <p:txBody>
          <a:bodyPr/>
          <a:lstStyle/>
          <a:p>
            <a:pPr defTabSz="1219170">
              <a:defRPr/>
            </a:pPr>
            <a:endParaRPr lang="ru-RU" sz="24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Text 8">
            <a:extLst>
              <a:ext uri="{FF2B5EF4-FFF2-40B4-BE49-F238E27FC236}">
                <a16:creationId xmlns:a16="http://schemas.microsoft.com/office/drawing/2014/main" id="{7EE230CD-851E-8BBA-D55F-6ED8429404D0}"/>
              </a:ext>
            </a:extLst>
          </p:cNvPr>
          <p:cNvSpPr/>
          <p:nvPr/>
        </p:nvSpPr>
        <p:spPr>
          <a:xfrm>
            <a:off x="818197" y="2142644"/>
            <a:ext cx="548640" cy="54864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algn="ctr" defTabSz="1219170">
              <a:defRPr/>
            </a:pPr>
            <a:r>
              <a:rPr lang="ru-RU" sz="2133" b="1" noProof="1">
                <a:solidFill>
                  <a:srgbClr val="FFFFFF"/>
                </a:solidFill>
                <a:latin typeface="Arial" panose="020B0604020202020204" pitchFamily="34" charset="0"/>
                <a:ea typeface="Trebuchet MS" pitchFamily="34" charset="-122"/>
                <a:cs typeface="Arial" panose="020B0604020202020204" pitchFamily="34" charset="0"/>
              </a:rPr>
              <a:t>1</a:t>
            </a:r>
            <a:endParaRPr lang="ru-RU" sz="2133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Text 9">
            <a:extLst>
              <a:ext uri="{FF2B5EF4-FFF2-40B4-BE49-F238E27FC236}">
                <a16:creationId xmlns:a16="http://schemas.microsoft.com/office/drawing/2014/main" id="{A03C8C46-E824-6E6D-3DE3-20A05E85A429}"/>
              </a:ext>
            </a:extLst>
          </p:cNvPr>
          <p:cNvSpPr/>
          <p:nvPr/>
        </p:nvSpPr>
        <p:spPr>
          <a:xfrm>
            <a:off x="1610677" y="2020724"/>
            <a:ext cx="10363200" cy="42672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733" b="1" noProof="1">
                <a:solidFill>
                  <a:srgbClr val="16303A"/>
                </a:solidFill>
                <a:latin typeface="Arial" panose="020B0604020202020204" pitchFamily="34" charset="0"/>
                <a:ea typeface="Trebuchet MS" pitchFamily="34" charset="-122"/>
                <a:cs typeface="Arial" panose="020B0604020202020204" pitchFamily="34" charset="0"/>
              </a:rPr>
              <a:t>На каком уровне оценивает ваш нынешний метод оценивания?</a:t>
            </a:r>
            <a:endParaRPr lang="ru-RU" sz="1733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Text 10">
            <a:extLst>
              <a:ext uri="{FF2B5EF4-FFF2-40B4-BE49-F238E27FC236}">
                <a16:creationId xmlns:a16="http://schemas.microsoft.com/office/drawing/2014/main" id="{513F0180-BB7B-A8DE-234B-B2F5B06791D3}"/>
              </a:ext>
            </a:extLst>
          </p:cNvPr>
          <p:cNvSpPr/>
          <p:nvPr/>
        </p:nvSpPr>
        <p:spPr>
          <a:xfrm>
            <a:off x="1610677" y="2423060"/>
            <a:ext cx="10363200" cy="487680"/>
          </a:xfrm>
          <a:prstGeom prst="rect">
            <a:avLst/>
          </a:prstGeom>
          <a:noFill/>
          <a:ln/>
        </p:spPr>
        <p:txBody>
          <a:bodyPr wrap="square" rtlCol="0" anchor="t"/>
          <a:lstStyle/>
          <a:p>
            <a:pPr defTabSz="1219170">
              <a:defRPr/>
            </a:pPr>
            <a:r>
              <a:rPr lang="ru-RU" sz="1400" i="1" noProof="1">
                <a:solidFill>
                  <a:srgbClr val="3D6673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Уровень 1, 2, 3 или 4? Будьте честны.</a:t>
            </a:r>
            <a:endParaRPr lang="ru-RU" sz="14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Shape 11">
            <a:extLst>
              <a:ext uri="{FF2B5EF4-FFF2-40B4-BE49-F238E27FC236}">
                <a16:creationId xmlns:a16="http://schemas.microsoft.com/office/drawing/2014/main" id="{95382FAA-E0EE-42E1-36E3-A76B8124190E}"/>
              </a:ext>
            </a:extLst>
          </p:cNvPr>
          <p:cNvSpPr/>
          <p:nvPr/>
        </p:nvSpPr>
        <p:spPr>
          <a:xfrm>
            <a:off x="635317" y="3057044"/>
            <a:ext cx="11460480" cy="1036320"/>
          </a:xfrm>
          <a:prstGeom prst="rect">
            <a:avLst/>
          </a:prstGeom>
          <a:solidFill>
            <a:srgbClr val="D6F0F3"/>
          </a:solidFill>
          <a:ln w="6350">
            <a:solidFill>
              <a:srgbClr val="B2D8DE"/>
            </a:solidFill>
            <a:prstDash val="solid"/>
          </a:ln>
        </p:spPr>
        <p:txBody>
          <a:bodyPr/>
          <a:lstStyle/>
          <a:p>
            <a:pPr defTabSz="1219170">
              <a:defRPr/>
            </a:pPr>
            <a:endParaRPr lang="ru-RU" sz="24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Shape 12">
            <a:extLst>
              <a:ext uri="{FF2B5EF4-FFF2-40B4-BE49-F238E27FC236}">
                <a16:creationId xmlns:a16="http://schemas.microsoft.com/office/drawing/2014/main" id="{D0FB5672-8A8B-36F4-1F72-599AF4312C93}"/>
              </a:ext>
            </a:extLst>
          </p:cNvPr>
          <p:cNvSpPr/>
          <p:nvPr/>
        </p:nvSpPr>
        <p:spPr>
          <a:xfrm>
            <a:off x="818197" y="3300884"/>
            <a:ext cx="548640" cy="548640"/>
          </a:xfrm>
          <a:prstGeom prst="ellipse">
            <a:avLst/>
          </a:prstGeom>
          <a:solidFill>
            <a:srgbClr val="027A87"/>
          </a:solidFill>
          <a:ln w="12700">
            <a:solidFill>
              <a:srgbClr val="027A87"/>
            </a:solidFill>
            <a:prstDash val="solid"/>
          </a:ln>
        </p:spPr>
        <p:txBody>
          <a:bodyPr/>
          <a:lstStyle/>
          <a:p>
            <a:pPr defTabSz="1219170">
              <a:defRPr/>
            </a:pPr>
            <a:endParaRPr lang="ru-RU" sz="24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Text 13">
            <a:extLst>
              <a:ext uri="{FF2B5EF4-FFF2-40B4-BE49-F238E27FC236}">
                <a16:creationId xmlns:a16="http://schemas.microsoft.com/office/drawing/2014/main" id="{7C517040-85CD-B940-E4B9-CB9543378841}"/>
              </a:ext>
            </a:extLst>
          </p:cNvPr>
          <p:cNvSpPr/>
          <p:nvPr/>
        </p:nvSpPr>
        <p:spPr>
          <a:xfrm>
            <a:off x="818197" y="3300884"/>
            <a:ext cx="548640" cy="54864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algn="ctr" defTabSz="1219170">
              <a:defRPr/>
            </a:pPr>
            <a:r>
              <a:rPr lang="ru-RU" sz="2133" b="1" noProof="1">
                <a:solidFill>
                  <a:srgbClr val="FFFFFF"/>
                </a:solidFill>
                <a:latin typeface="Arial" panose="020B0604020202020204" pitchFamily="34" charset="0"/>
                <a:ea typeface="Trebuchet MS" pitchFamily="34" charset="-122"/>
                <a:cs typeface="Arial" panose="020B0604020202020204" pitchFamily="34" charset="0"/>
              </a:rPr>
              <a:t>2</a:t>
            </a:r>
            <a:endParaRPr lang="ru-RU" sz="2133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Text 14">
            <a:extLst>
              <a:ext uri="{FF2B5EF4-FFF2-40B4-BE49-F238E27FC236}">
                <a16:creationId xmlns:a16="http://schemas.microsoft.com/office/drawing/2014/main" id="{4FCAF70A-DCBE-0E36-4D9A-A9C8C7581969}"/>
              </a:ext>
            </a:extLst>
          </p:cNvPr>
          <p:cNvSpPr/>
          <p:nvPr/>
        </p:nvSpPr>
        <p:spPr>
          <a:xfrm>
            <a:off x="1610677" y="3116759"/>
            <a:ext cx="10363200" cy="42672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733" b="1" noProof="1">
                <a:solidFill>
                  <a:srgbClr val="16303A"/>
                </a:solidFill>
                <a:latin typeface="Arial" panose="020B0604020202020204" pitchFamily="34" charset="0"/>
                <a:ea typeface="Trebuchet MS" pitchFamily="34" charset="-122"/>
                <a:cs typeface="Arial" panose="020B0604020202020204" pitchFamily="34" charset="0"/>
              </a:rPr>
              <a:t>Как выглядел бы момент оценки Уровня 3 для вашей сессии?</a:t>
            </a:r>
            <a:endParaRPr lang="ru-RU" sz="1733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Text 15">
            <a:extLst>
              <a:ext uri="{FF2B5EF4-FFF2-40B4-BE49-F238E27FC236}">
                <a16:creationId xmlns:a16="http://schemas.microsoft.com/office/drawing/2014/main" id="{8DA5B054-BB1A-5C8A-C099-BAF0462B9BE5}"/>
              </a:ext>
            </a:extLst>
          </p:cNvPr>
          <p:cNvSpPr/>
          <p:nvPr/>
        </p:nvSpPr>
        <p:spPr>
          <a:xfrm>
            <a:off x="1610677" y="3519095"/>
            <a:ext cx="10363200" cy="487680"/>
          </a:xfrm>
          <a:prstGeom prst="rect">
            <a:avLst/>
          </a:prstGeom>
          <a:noFill/>
          <a:ln/>
        </p:spPr>
        <p:txBody>
          <a:bodyPr wrap="square" rtlCol="0" anchor="t"/>
          <a:lstStyle/>
          <a:p>
            <a:pPr defTabSz="1219170">
              <a:defRPr/>
            </a:pPr>
            <a:r>
              <a:rPr lang="ru-RU" sz="1400" i="1" noProof="1">
                <a:solidFill>
                  <a:srgbClr val="3D6673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Нечто, дающее свидетельства того, что группа педагогов в вашем задании действительно изменила свою практику — не просто что они вовлекались во время сессии.</a:t>
            </a:r>
            <a:endParaRPr lang="ru-RU" sz="14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Shape 16">
            <a:extLst>
              <a:ext uri="{FF2B5EF4-FFF2-40B4-BE49-F238E27FC236}">
                <a16:creationId xmlns:a16="http://schemas.microsoft.com/office/drawing/2014/main" id="{13B1973C-567B-D547-C48D-EBD76E9BB50A}"/>
              </a:ext>
            </a:extLst>
          </p:cNvPr>
          <p:cNvSpPr/>
          <p:nvPr/>
        </p:nvSpPr>
        <p:spPr>
          <a:xfrm>
            <a:off x="635317" y="4215284"/>
            <a:ext cx="11460480" cy="1036320"/>
          </a:xfrm>
          <a:prstGeom prst="rect">
            <a:avLst/>
          </a:prstGeom>
          <a:solidFill>
            <a:srgbClr val="D6F0F3"/>
          </a:solidFill>
          <a:ln w="6350">
            <a:solidFill>
              <a:srgbClr val="B2D8DE"/>
            </a:solidFill>
            <a:prstDash val="solid"/>
          </a:ln>
        </p:spPr>
        <p:txBody>
          <a:bodyPr/>
          <a:lstStyle/>
          <a:p>
            <a:pPr defTabSz="1219170">
              <a:defRPr/>
            </a:pPr>
            <a:endParaRPr lang="ru-RU" sz="24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Shape 17">
            <a:extLst>
              <a:ext uri="{FF2B5EF4-FFF2-40B4-BE49-F238E27FC236}">
                <a16:creationId xmlns:a16="http://schemas.microsoft.com/office/drawing/2014/main" id="{655AE752-908F-0B1B-DCCD-F8FE2A656EC9}"/>
              </a:ext>
            </a:extLst>
          </p:cNvPr>
          <p:cNvSpPr/>
          <p:nvPr/>
        </p:nvSpPr>
        <p:spPr>
          <a:xfrm>
            <a:off x="818197" y="4459124"/>
            <a:ext cx="548640" cy="548640"/>
          </a:xfrm>
          <a:prstGeom prst="ellipse">
            <a:avLst/>
          </a:prstGeom>
          <a:solidFill>
            <a:srgbClr val="027A87"/>
          </a:solidFill>
          <a:ln w="12700">
            <a:solidFill>
              <a:srgbClr val="027A87"/>
            </a:solidFill>
            <a:prstDash val="solid"/>
          </a:ln>
        </p:spPr>
        <p:txBody>
          <a:bodyPr/>
          <a:lstStyle/>
          <a:p>
            <a:pPr defTabSz="1219170">
              <a:defRPr/>
            </a:pPr>
            <a:endParaRPr lang="ru-RU" sz="24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Text 18">
            <a:extLst>
              <a:ext uri="{FF2B5EF4-FFF2-40B4-BE49-F238E27FC236}">
                <a16:creationId xmlns:a16="http://schemas.microsoft.com/office/drawing/2014/main" id="{7B883536-87F1-11AA-8629-07A1B4807BCA}"/>
              </a:ext>
            </a:extLst>
          </p:cNvPr>
          <p:cNvSpPr/>
          <p:nvPr/>
        </p:nvSpPr>
        <p:spPr>
          <a:xfrm>
            <a:off x="818197" y="4459124"/>
            <a:ext cx="548640" cy="54864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algn="ctr" defTabSz="1219170">
              <a:defRPr/>
            </a:pPr>
            <a:r>
              <a:rPr lang="ru-RU" sz="2133" b="1" noProof="1">
                <a:solidFill>
                  <a:srgbClr val="FFFFFF"/>
                </a:solidFill>
                <a:latin typeface="Arial" panose="020B0604020202020204" pitchFamily="34" charset="0"/>
                <a:ea typeface="Trebuchet MS" pitchFamily="34" charset="-122"/>
                <a:cs typeface="Arial" panose="020B0604020202020204" pitchFamily="34" charset="0"/>
              </a:rPr>
              <a:t>3</a:t>
            </a:r>
            <a:endParaRPr lang="ru-RU" sz="2133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Text 19">
            <a:extLst>
              <a:ext uri="{FF2B5EF4-FFF2-40B4-BE49-F238E27FC236}">
                <a16:creationId xmlns:a16="http://schemas.microsoft.com/office/drawing/2014/main" id="{7DDA0B12-2A06-6D94-7B19-EA9DD33C2996}"/>
              </a:ext>
            </a:extLst>
          </p:cNvPr>
          <p:cNvSpPr/>
          <p:nvPr/>
        </p:nvSpPr>
        <p:spPr>
          <a:xfrm>
            <a:off x="1610677" y="4337204"/>
            <a:ext cx="10363200" cy="42672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733" b="1" noProof="1">
                <a:solidFill>
                  <a:srgbClr val="16303A"/>
                </a:solidFill>
                <a:latin typeface="Arial" panose="020B0604020202020204" pitchFamily="34" charset="0"/>
                <a:ea typeface="Trebuchet MS" pitchFamily="34" charset="-122"/>
                <a:cs typeface="Arial" panose="020B0604020202020204" pitchFamily="34" charset="0"/>
              </a:rPr>
              <a:t>Где в вашем графике находится этот момент оценки?</a:t>
            </a:r>
            <a:endParaRPr lang="ru-RU" sz="1733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Text 20">
            <a:extLst>
              <a:ext uri="{FF2B5EF4-FFF2-40B4-BE49-F238E27FC236}">
                <a16:creationId xmlns:a16="http://schemas.microsoft.com/office/drawing/2014/main" id="{FE8149C4-6E95-DBFC-156C-B4A592A0CC5C}"/>
              </a:ext>
            </a:extLst>
          </p:cNvPr>
          <p:cNvSpPr/>
          <p:nvPr/>
        </p:nvSpPr>
        <p:spPr>
          <a:xfrm>
            <a:off x="1610677" y="4739540"/>
            <a:ext cx="10363200" cy="487680"/>
          </a:xfrm>
          <a:prstGeom prst="rect">
            <a:avLst/>
          </a:prstGeom>
          <a:noFill/>
          <a:ln/>
        </p:spPr>
        <p:txBody>
          <a:bodyPr wrap="square" rtlCol="0" anchor="t"/>
          <a:lstStyle/>
          <a:p>
            <a:pPr defTabSz="1219170">
              <a:defRPr/>
            </a:pPr>
            <a:r>
              <a:rPr lang="ru-RU" sz="1400" i="1" noProof="1">
                <a:solidFill>
                  <a:srgbClr val="3D6673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Внутри 90-минутной сессии? Или последующий момент? Оба варианта допустимы — уточните, какой.</a:t>
            </a:r>
            <a:endParaRPr lang="ru-RU" sz="14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Shape 21">
            <a:extLst>
              <a:ext uri="{FF2B5EF4-FFF2-40B4-BE49-F238E27FC236}">
                <a16:creationId xmlns:a16="http://schemas.microsoft.com/office/drawing/2014/main" id="{1363D719-BAB7-CA74-F936-337A474D7AF7}"/>
              </a:ext>
            </a:extLst>
          </p:cNvPr>
          <p:cNvSpPr/>
          <p:nvPr/>
        </p:nvSpPr>
        <p:spPr>
          <a:xfrm>
            <a:off x="635317" y="5434484"/>
            <a:ext cx="11460480" cy="487680"/>
          </a:xfrm>
          <a:prstGeom prst="rect">
            <a:avLst/>
          </a:prstGeom>
          <a:solidFill>
            <a:srgbClr val="FDF3DC"/>
          </a:solidFill>
          <a:ln w="7620">
            <a:solidFill>
              <a:srgbClr val="E8940A"/>
            </a:solidFill>
            <a:prstDash val="solid"/>
          </a:ln>
        </p:spPr>
        <p:txBody>
          <a:bodyPr/>
          <a:lstStyle/>
          <a:p>
            <a:pPr defTabSz="1219170">
              <a:defRPr/>
            </a:pPr>
            <a:endParaRPr lang="ru-RU" sz="24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" name="Text 22">
            <a:extLst>
              <a:ext uri="{FF2B5EF4-FFF2-40B4-BE49-F238E27FC236}">
                <a16:creationId xmlns:a16="http://schemas.microsoft.com/office/drawing/2014/main" id="{81EE4F37-6F45-CAF9-A824-B5D0719AF313}"/>
              </a:ext>
            </a:extLst>
          </p:cNvPr>
          <p:cNvSpPr/>
          <p:nvPr/>
        </p:nvSpPr>
        <p:spPr>
          <a:xfrm>
            <a:off x="635317" y="5434484"/>
            <a:ext cx="11460480" cy="48768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algn="ctr" defTabSz="1219170">
              <a:defRPr/>
            </a:pPr>
            <a:r>
              <a:rPr lang="ru-RU" sz="1467" b="1" noProof="1">
                <a:solidFill>
                  <a:srgbClr val="16303A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Запишите ваш подход Уровня 3 на стикере  ·  прикрепите к карточке 5</a:t>
            </a:r>
            <a:endParaRPr lang="ru-RU" sz="1467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" name="Shape 3">
            <a:extLst>
              <a:ext uri="{FF2B5EF4-FFF2-40B4-BE49-F238E27FC236}">
                <a16:creationId xmlns:a16="http://schemas.microsoft.com/office/drawing/2014/main" id="{51700DDA-9074-9A9D-2304-360105400349}"/>
              </a:ext>
            </a:extLst>
          </p:cNvPr>
          <p:cNvSpPr/>
          <p:nvPr/>
        </p:nvSpPr>
        <p:spPr>
          <a:xfrm>
            <a:off x="635317" y="6179524"/>
            <a:ext cx="3413760" cy="512064"/>
          </a:xfrm>
          <a:prstGeom prst="roundRect">
            <a:avLst>
              <a:gd name="adj" fmla="val 14286"/>
            </a:avLst>
          </a:prstGeom>
          <a:solidFill>
            <a:srgbClr val="FFDC00"/>
          </a:solidFill>
          <a:ln w="12700">
            <a:solidFill>
              <a:srgbClr val="FFDC00"/>
            </a:solidFill>
            <a:prstDash val="solid"/>
          </a:ln>
        </p:spPr>
        <p:txBody>
          <a:bodyPr/>
          <a:lstStyle/>
          <a:p>
            <a:endParaRPr lang="ru-RU" sz="2400" noProof="1"/>
          </a:p>
        </p:txBody>
      </p:sp>
      <p:sp>
        <p:nvSpPr>
          <p:cNvPr id="22" name="Text 4">
            <a:extLst>
              <a:ext uri="{FF2B5EF4-FFF2-40B4-BE49-F238E27FC236}">
                <a16:creationId xmlns:a16="http://schemas.microsoft.com/office/drawing/2014/main" id="{38F3D4C1-4D76-B6EA-8EBE-9BBEAE91B9D8}"/>
              </a:ext>
            </a:extLst>
          </p:cNvPr>
          <p:cNvSpPr/>
          <p:nvPr/>
        </p:nvSpPr>
        <p:spPr>
          <a:xfrm>
            <a:off x="635317" y="6179524"/>
            <a:ext cx="3255264" cy="512064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lvl="0" algn="ctr">
              <a:defRPr/>
            </a:pPr>
            <a:r>
              <a:rPr lang="ru-RU" sz="1867" b="1" noProof="1">
                <a:solidFill>
                  <a:srgbClr val="FFFFFF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16:33 – 16:52  ·  12 мин работы</a:t>
            </a:r>
            <a:endParaRPr lang="ru-RU" sz="1867" noProof="1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97453193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17FCE24-17C5-7111-4AEE-8C5F52A4AD5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noProof="1">
                <a:latin typeface="Arial" panose="020B0604020202020204" pitchFamily="34" charset="0"/>
              </a:rPr>
              <a:t>Сравните со своим столом-партнёром</a:t>
            </a:r>
          </a:p>
        </p:txBody>
      </p:sp>
      <p:sp>
        <p:nvSpPr>
          <p:cNvPr id="29" name="Text 5">
            <a:extLst>
              <a:ext uri="{FF2B5EF4-FFF2-40B4-BE49-F238E27FC236}">
                <a16:creationId xmlns:a16="http://schemas.microsoft.com/office/drawing/2014/main" id="{3FA1A195-9ED6-1767-DE66-885CD23F2295}"/>
              </a:ext>
            </a:extLst>
          </p:cNvPr>
          <p:cNvSpPr/>
          <p:nvPr/>
        </p:nvSpPr>
        <p:spPr>
          <a:xfrm>
            <a:off x="635317" y="1409303"/>
            <a:ext cx="11460480" cy="48768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600" i="1" noProof="1">
                <a:solidFill>
                  <a:schemeClr val="bg1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Одно задание. Одна группа педагогов. Одна компетентностная проблема. Но, вероятно, разные подходы к оценке.</a:t>
            </a:r>
            <a:endParaRPr lang="ru-RU" sz="1600" noProof="1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0" name="Shape 6">
            <a:extLst>
              <a:ext uri="{FF2B5EF4-FFF2-40B4-BE49-F238E27FC236}">
                <a16:creationId xmlns:a16="http://schemas.microsoft.com/office/drawing/2014/main" id="{4B76B3D1-345A-4DD1-4A4D-D5975C15BB31}"/>
              </a:ext>
            </a:extLst>
          </p:cNvPr>
          <p:cNvSpPr/>
          <p:nvPr/>
        </p:nvSpPr>
        <p:spPr>
          <a:xfrm>
            <a:off x="635317" y="2162135"/>
            <a:ext cx="11021728" cy="877824"/>
          </a:xfrm>
          <a:prstGeom prst="rect">
            <a:avLst/>
          </a:prstGeom>
          <a:solidFill>
            <a:srgbClr val="D6F0F3"/>
          </a:solidFill>
          <a:ln w="6350">
            <a:solidFill>
              <a:srgbClr val="B2D8DE"/>
            </a:solidFill>
            <a:prstDash val="solid"/>
          </a:ln>
        </p:spPr>
        <p:txBody>
          <a:bodyPr/>
          <a:lstStyle/>
          <a:p>
            <a:pPr defTabSz="1219170">
              <a:defRPr/>
            </a:pPr>
            <a:endParaRPr lang="ru-RU" sz="24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1" name="Shape 7">
            <a:extLst>
              <a:ext uri="{FF2B5EF4-FFF2-40B4-BE49-F238E27FC236}">
                <a16:creationId xmlns:a16="http://schemas.microsoft.com/office/drawing/2014/main" id="{7C5023E6-A52A-44B4-386F-1E6D8B57E6E6}"/>
              </a:ext>
            </a:extLst>
          </p:cNvPr>
          <p:cNvSpPr/>
          <p:nvPr/>
        </p:nvSpPr>
        <p:spPr>
          <a:xfrm>
            <a:off x="818198" y="2332823"/>
            <a:ext cx="492460" cy="512064"/>
          </a:xfrm>
          <a:prstGeom prst="ellipse">
            <a:avLst/>
          </a:prstGeom>
          <a:solidFill>
            <a:srgbClr val="027A87"/>
          </a:solidFill>
          <a:ln w="12700">
            <a:solidFill>
              <a:srgbClr val="027A87"/>
            </a:solidFill>
            <a:prstDash val="solid"/>
          </a:ln>
        </p:spPr>
        <p:txBody>
          <a:bodyPr/>
          <a:lstStyle/>
          <a:p>
            <a:pPr defTabSz="1219170">
              <a:defRPr/>
            </a:pPr>
            <a:endParaRPr lang="ru-RU" sz="24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2" name="Text 8">
            <a:extLst>
              <a:ext uri="{FF2B5EF4-FFF2-40B4-BE49-F238E27FC236}">
                <a16:creationId xmlns:a16="http://schemas.microsoft.com/office/drawing/2014/main" id="{BA3B8494-7CF5-2327-A53E-B5C7ED188DD3}"/>
              </a:ext>
            </a:extLst>
          </p:cNvPr>
          <p:cNvSpPr/>
          <p:nvPr/>
        </p:nvSpPr>
        <p:spPr>
          <a:xfrm>
            <a:off x="818198" y="2332823"/>
            <a:ext cx="492460" cy="512064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algn="ctr" defTabSz="1219170">
              <a:defRPr/>
            </a:pPr>
            <a:r>
              <a:rPr lang="ru-RU" sz="2000" b="1" noProof="1">
                <a:solidFill>
                  <a:srgbClr val="FFFFFF"/>
                </a:solidFill>
                <a:latin typeface="Arial" panose="020B0604020202020204" pitchFamily="34" charset="0"/>
                <a:ea typeface="Trebuchet MS" pitchFamily="34" charset="-122"/>
                <a:cs typeface="Arial" panose="020B0604020202020204" pitchFamily="34" charset="0"/>
              </a:rPr>
              <a:t>1</a:t>
            </a:r>
            <a:endParaRPr lang="ru-RU" sz="20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3" name="Text 9">
            <a:extLst>
              <a:ext uri="{FF2B5EF4-FFF2-40B4-BE49-F238E27FC236}">
                <a16:creationId xmlns:a16="http://schemas.microsoft.com/office/drawing/2014/main" id="{99885810-A43B-F46B-0BDC-37E5285A897F}"/>
              </a:ext>
            </a:extLst>
          </p:cNvPr>
          <p:cNvSpPr/>
          <p:nvPr/>
        </p:nvSpPr>
        <p:spPr>
          <a:xfrm>
            <a:off x="1549717" y="2163233"/>
            <a:ext cx="9966456" cy="36576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667" b="1" noProof="1">
                <a:solidFill>
                  <a:srgbClr val="16303A"/>
                </a:solidFill>
                <a:latin typeface="Arial" panose="020B0604020202020204" pitchFamily="34" charset="0"/>
                <a:ea typeface="Trebuchet MS" pitchFamily="34" charset="-122"/>
                <a:cs typeface="Arial" panose="020B0604020202020204" pitchFamily="34" charset="0"/>
              </a:rPr>
              <a:t>На каком уровне работает каждый подход?</a:t>
            </a:r>
            <a:endParaRPr lang="ru-RU" sz="1667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4" name="Text 10">
            <a:extLst>
              <a:ext uri="{FF2B5EF4-FFF2-40B4-BE49-F238E27FC236}">
                <a16:creationId xmlns:a16="http://schemas.microsoft.com/office/drawing/2014/main" id="{490FC20E-1C35-9159-E718-6C5E921154D6}"/>
              </a:ext>
            </a:extLst>
          </p:cNvPr>
          <p:cNvSpPr/>
          <p:nvPr/>
        </p:nvSpPr>
        <p:spPr>
          <a:xfrm>
            <a:off x="1549717" y="2498388"/>
            <a:ext cx="9966456" cy="426720"/>
          </a:xfrm>
          <a:prstGeom prst="rect">
            <a:avLst/>
          </a:prstGeom>
          <a:noFill/>
          <a:ln/>
        </p:spPr>
        <p:txBody>
          <a:bodyPr wrap="square" rtlCol="0" anchor="t"/>
          <a:lstStyle/>
          <a:p>
            <a:pPr defTabSz="1219170">
              <a:defRPr/>
            </a:pPr>
            <a:r>
              <a:rPr lang="ru-RU" sz="1333" i="1" noProof="1">
                <a:solidFill>
                  <a:srgbClr val="3D6673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Назовите уровень для обоих дизайнов. Если кто-то из вас всё ещё на Уровне 1 или 2, это полезная информация — назовите её без суждений.</a:t>
            </a:r>
            <a:endParaRPr lang="ru-RU" sz="1333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5" name="Shape 11">
            <a:extLst>
              <a:ext uri="{FF2B5EF4-FFF2-40B4-BE49-F238E27FC236}">
                <a16:creationId xmlns:a16="http://schemas.microsoft.com/office/drawing/2014/main" id="{5DEDC21E-361B-1B02-C897-5295933F41ED}"/>
              </a:ext>
            </a:extLst>
          </p:cNvPr>
          <p:cNvSpPr/>
          <p:nvPr/>
        </p:nvSpPr>
        <p:spPr>
          <a:xfrm>
            <a:off x="635317" y="3161879"/>
            <a:ext cx="11021728" cy="877824"/>
          </a:xfrm>
          <a:prstGeom prst="rect">
            <a:avLst/>
          </a:prstGeom>
          <a:solidFill>
            <a:srgbClr val="D6F0F3"/>
          </a:solidFill>
          <a:ln w="6350">
            <a:solidFill>
              <a:srgbClr val="B2D8DE"/>
            </a:solidFill>
            <a:prstDash val="solid"/>
          </a:ln>
        </p:spPr>
        <p:txBody>
          <a:bodyPr/>
          <a:lstStyle/>
          <a:p>
            <a:pPr defTabSz="1219170">
              <a:defRPr/>
            </a:pPr>
            <a:endParaRPr lang="ru-RU" sz="24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6" name="Shape 12">
            <a:extLst>
              <a:ext uri="{FF2B5EF4-FFF2-40B4-BE49-F238E27FC236}">
                <a16:creationId xmlns:a16="http://schemas.microsoft.com/office/drawing/2014/main" id="{4A394CB5-7C32-3F6A-832B-0697D1A698F0}"/>
              </a:ext>
            </a:extLst>
          </p:cNvPr>
          <p:cNvSpPr/>
          <p:nvPr/>
        </p:nvSpPr>
        <p:spPr>
          <a:xfrm>
            <a:off x="818198" y="3332567"/>
            <a:ext cx="492460" cy="512064"/>
          </a:xfrm>
          <a:prstGeom prst="ellipse">
            <a:avLst/>
          </a:prstGeom>
          <a:solidFill>
            <a:srgbClr val="027A87"/>
          </a:solidFill>
          <a:ln w="12700">
            <a:solidFill>
              <a:srgbClr val="027A87"/>
            </a:solidFill>
            <a:prstDash val="solid"/>
          </a:ln>
        </p:spPr>
        <p:txBody>
          <a:bodyPr/>
          <a:lstStyle/>
          <a:p>
            <a:pPr defTabSz="1219170">
              <a:defRPr/>
            </a:pPr>
            <a:endParaRPr lang="ru-RU" sz="24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7" name="Text 13">
            <a:extLst>
              <a:ext uri="{FF2B5EF4-FFF2-40B4-BE49-F238E27FC236}">
                <a16:creationId xmlns:a16="http://schemas.microsoft.com/office/drawing/2014/main" id="{5077084C-13F9-41E9-C7DC-A86C402378B3}"/>
              </a:ext>
            </a:extLst>
          </p:cNvPr>
          <p:cNvSpPr/>
          <p:nvPr/>
        </p:nvSpPr>
        <p:spPr>
          <a:xfrm>
            <a:off x="818198" y="3332567"/>
            <a:ext cx="492460" cy="512064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algn="ctr" defTabSz="1219170">
              <a:defRPr/>
            </a:pPr>
            <a:r>
              <a:rPr lang="ru-RU" sz="2000" b="1" noProof="1">
                <a:solidFill>
                  <a:srgbClr val="FFFFFF"/>
                </a:solidFill>
                <a:latin typeface="Arial" panose="020B0604020202020204" pitchFamily="34" charset="0"/>
                <a:ea typeface="Trebuchet MS" pitchFamily="34" charset="-122"/>
                <a:cs typeface="Arial" panose="020B0604020202020204" pitchFamily="34" charset="0"/>
              </a:rPr>
              <a:t>2</a:t>
            </a:r>
            <a:endParaRPr lang="ru-RU" sz="20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8" name="Text 14">
            <a:extLst>
              <a:ext uri="{FF2B5EF4-FFF2-40B4-BE49-F238E27FC236}">
                <a16:creationId xmlns:a16="http://schemas.microsoft.com/office/drawing/2014/main" id="{7436DE6C-20D0-554F-6FBC-3F875428646E}"/>
              </a:ext>
            </a:extLst>
          </p:cNvPr>
          <p:cNvSpPr/>
          <p:nvPr/>
        </p:nvSpPr>
        <p:spPr>
          <a:xfrm>
            <a:off x="1549717" y="3235031"/>
            <a:ext cx="9966456" cy="36576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667" b="1" noProof="1">
                <a:solidFill>
                  <a:srgbClr val="16303A"/>
                </a:solidFill>
                <a:latin typeface="Arial" panose="020B0604020202020204" pitchFamily="34" charset="0"/>
                <a:ea typeface="Trebuchet MS" pitchFamily="34" charset="-122"/>
                <a:cs typeface="Arial" panose="020B0604020202020204" pitchFamily="34" charset="0"/>
              </a:rPr>
              <a:t>Какой подход более реалистичен для группы педагогов в вашем задании — и почему?</a:t>
            </a:r>
            <a:endParaRPr lang="ru-RU" sz="1667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9" name="Text 15">
            <a:extLst>
              <a:ext uri="{FF2B5EF4-FFF2-40B4-BE49-F238E27FC236}">
                <a16:creationId xmlns:a16="http://schemas.microsoft.com/office/drawing/2014/main" id="{4E82FA55-48DD-BD94-EC5E-20964675A711}"/>
              </a:ext>
            </a:extLst>
          </p:cNvPr>
          <p:cNvSpPr/>
          <p:nvPr/>
        </p:nvSpPr>
        <p:spPr>
          <a:xfrm>
            <a:off x="1549717" y="3588599"/>
            <a:ext cx="9966456" cy="426720"/>
          </a:xfrm>
          <a:prstGeom prst="rect">
            <a:avLst/>
          </a:prstGeom>
          <a:noFill/>
          <a:ln/>
        </p:spPr>
        <p:txBody>
          <a:bodyPr wrap="square" rtlCol="0" anchor="t"/>
          <a:lstStyle/>
          <a:p>
            <a:pPr defTabSz="1219170">
              <a:defRPr/>
            </a:pPr>
            <a:r>
              <a:rPr lang="ru-RU" sz="1333" i="1" noProof="1">
                <a:solidFill>
                  <a:srgbClr val="3D6673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Реалистичный — не более низкий стандарт, чем строгий. Нереализуемая оценка Уровня 3 не даёт свидетельств.</a:t>
            </a:r>
            <a:endParaRPr lang="ru-RU" sz="1333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0" name="Shape 16">
            <a:extLst>
              <a:ext uri="{FF2B5EF4-FFF2-40B4-BE49-F238E27FC236}">
                <a16:creationId xmlns:a16="http://schemas.microsoft.com/office/drawing/2014/main" id="{9DFF7DFE-C148-16FF-25C6-959932C6BB1B}"/>
              </a:ext>
            </a:extLst>
          </p:cNvPr>
          <p:cNvSpPr/>
          <p:nvPr/>
        </p:nvSpPr>
        <p:spPr>
          <a:xfrm>
            <a:off x="635317" y="4161623"/>
            <a:ext cx="11021728" cy="877824"/>
          </a:xfrm>
          <a:prstGeom prst="rect">
            <a:avLst/>
          </a:prstGeom>
          <a:solidFill>
            <a:srgbClr val="D6F0F3"/>
          </a:solidFill>
          <a:ln w="6350">
            <a:solidFill>
              <a:srgbClr val="B2D8DE"/>
            </a:solidFill>
            <a:prstDash val="solid"/>
          </a:ln>
        </p:spPr>
        <p:txBody>
          <a:bodyPr/>
          <a:lstStyle/>
          <a:p>
            <a:pPr defTabSz="1219170">
              <a:defRPr/>
            </a:pPr>
            <a:endParaRPr lang="ru-RU" sz="24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1" name="Shape 17">
            <a:extLst>
              <a:ext uri="{FF2B5EF4-FFF2-40B4-BE49-F238E27FC236}">
                <a16:creationId xmlns:a16="http://schemas.microsoft.com/office/drawing/2014/main" id="{8C259A8F-7915-6E03-949D-3F84786F4D99}"/>
              </a:ext>
            </a:extLst>
          </p:cNvPr>
          <p:cNvSpPr/>
          <p:nvPr/>
        </p:nvSpPr>
        <p:spPr>
          <a:xfrm>
            <a:off x="818198" y="4332311"/>
            <a:ext cx="492460" cy="512064"/>
          </a:xfrm>
          <a:prstGeom prst="ellipse">
            <a:avLst/>
          </a:prstGeom>
          <a:solidFill>
            <a:srgbClr val="027A87"/>
          </a:solidFill>
          <a:ln w="12700">
            <a:solidFill>
              <a:srgbClr val="027A87"/>
            </a:solidFill>
            <a:prstDash val="solid"/>
          </a:ln>
        </p:spPr>
        <p:txBody>
          <a:bodyPr/>
          <a:lstStyle/>
          <a:p>
            <a:pPr defTabSz="1219170">
              <a:defRPr/>
            </a:pPr>
            <a:endParaRPr lang="ru-RU" sz="24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2" name="Text 18">
            <a:extLst>
              <a:ext uri="{FF2B5EF4-FFF2-40B4-BE49-F238E27FC236}">
                <a16:creationId xmlns:a16="http://schemas.microsoft.com/office/drawing/2014/main" id="{7F863B2F-68A0-6F96-7F65-1F939DE3BD93}"/>
              </a:ext>
            </a:extLst>
          </p:cNvPr>
          <p:cNvSpPr/>
          <p:nvPr/>
        </p:nvSpPr>
        <p:spPr>
          <a:xfrm>
            <a:off x="818198" y="4332311"/>
            <a:ext cx="492460" cy="512064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algn="ctr" defTabSz="1219170">
              <a:defRPr/>
            </a:pPr>
            <a:r>
              <a:rPr lang="ru-RU" sz="2000" b="1" noProof="1">
                <a:solidFill>
                  <a:srgbClr val="FFFFFF"/>
                </a:solidFill>
                <a:latin typeface="Arial" panose="020B0604020202020204" pitchFamily="34" charset="0"/>
                <a:ea typeface="Trebuchet MS" pitchFamily="34" charset="-122"/>
                <a:cs typeface="Arial" panose="020B0604020202020204" pitchFamily="34" charset="0"/>
              </a:rPr>
              <a:t>3</a:t>
            </a:r>
            <a:endParaRPr lang="ru-RU" sz="20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3" name="Text 19">
            <a:extLst>
              <a:ext uri="{FF2B5EF4-FFF2-40B4-BE49-F238E27FC236}">
                <a16:creationId xmlns:a16="http://schemas.microsoft.com/office/drawing/2014/main" id="{48AF1570-54F2-2768-638B-4AEE0B45AB26}"/>
              </a:ext>
            </a:extLst>
          </p:cNvPr>
          <p:cNvSpPr/>
          <p:nvPr/>
        </p:nvSpPr>
        <p:spPr>
          <a:xfrm>
            <a:off x="1549717" y="4234775"/>
            <a:ext cx="9966456" cy="36576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667" b="1" noProof="1">
                <a:solidFill>
                  <a:srgbClr val="16303A"/>
                </a:solidFill>
                <a:latin typeface="Arial" panose="020B0604020202020204" pitchFamily="34" charset="0"/>
                <a:ea typeface="Trebuchet MS" pitchFamily="34" charset="-122"/>
                <a:cs typeface="Arial" panose="020B0604020202020204" pitchFamily="34" charset="0"/>
              </a:rPr>
              <a:t>Что из подхода вашего партнёра могло бы укрепить ваш собственный — или наоборот?</a:t>
            </a:r>
            <a:endParaRPr lang="ru-RU" sz="1667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4" name="Text 20">
            <a:extLst>
              <a:ext uri="{FF2B5EF4-FFF2-40B4-BE49-F238E27FC236}">
                <a16:creationId xmlns:a16="http://schemas.microsoft.com/office/drawing/2014/main" id="{8804E54D-8BC0-63E7-0BA8-5FDD3280AD05}"/>
              </a:ext>
            </a:extLst>
          </p:cNvPr>
          <p:cNvSpPr/>
          <p:nvPr/>
        </p:nvSpPr>
        <p:spPr>
          <a:xfrm>
            <a:off x="1549717" y="4588343"/>
            <a:ext cx="9966456" cy="426720"/>
          </a:xfrm>
          <a:prstGeom prst="rect">
            <a:avLst/>
          </a:prstGeom>
          <a:noFill/>
          <a:ln/>
        </p:spPr>
        <p:txBody>
          <a:bodyPr wrap="square" rtlCol="0" anchor="t"/>
          <a:lstStyle/>
          <a:p>
            <a:pPr defTabSz="1219170">
              <a:defRPr/>
            </a:pPr>
            <a:r>
              <a:rPr lang="ru-RU" sz="1333" i="1" noProof="1">
                <a:solidFill>
                  <a:srgbClr val="3D6673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Одна конкретная вещь. Нечто, что вы можете взять обратно и добавить в свой дизайн сегодня.</a:t>
            </a:r>
            <a:endParaRPr lang="ru-RU" sz="1333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5" name="Shape 21">
            <a:extLst>
              <a:ext uri="{FF2B5EF4-FFF2-40B4-BE49-F238E27FC236}">
                <a16:creationId xmlns:a16="http://schemas.microsoft.com/office/drawing/2014/main" id="{300D95D3-A144-9FDF-8C30-95AFCD69B59A}"/>
              </a:ext>
            </a:extLst>
          </p:cNvPr>
          <p:cNvSpPr/>
          <p:nvPr/>
        </p:nvSpPr>
        <p:spPr>
          <a:xfrm>
            <a:off x="635317" y="5332055"/>
            <a:ext cx="11021728" cy="792480"/>
          </a:xfrm>
          <a:prstGeom prst="rect">
            <a:avLst/>
          </a:prstGeom>
          <a:solidFill>
            <a:srgbClr val="FDF3DC"/>
          </a:solidFill>
          <a:ln w="10160">
            <a:solidFill>
              <a:srgbClr val="E8940A"/>
            </a:solidFill>
            <a:prstDash val="solid"/>
          </a:ln>
        </p:spPr>
        <p:txBody>
          <a:bodyPr/>
          <a:lstStyle/>
          <a:p>
            <a:pPr defTabSz="1219170">
              <a:defRPr/>
            </a:pPr>
            <a:endParaRPr lang="ru-RU" sz="24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6" name="Shape 22">
            <a:extLst>
              <a:ext uri="{FF2B5EF4-FFF2-40B4-BE49-F238E27FC236}">
                <a16:creationId xmlns:a16="http://schemas.microsoft.com/office/drawing/2014/main" id="{AEC9FEC1-AB8A-FEBB-F500-0615425ADBB9}"/>
              </a:ext>
            </a:extLst>
          </p:cNvPr>
          <p:cNvSpPr/>
          <p:nvPr/>
        </p:nvSpPr>
        <p:spPr>
          <a:xfrm>
            <a:off x="635318" y="5332055"/>
            <a:ext cx="93801" cy="792480"/>
          </a:xfrm>
          <a:prstGeom prst="rect">
            <a:avLst/>
          </a:prstGeom>
          <a:solidFill>
            <a:srgbClr val="E8940A"/>
          </a:solidFill>
          <a:ln w="12700">
            <a:solidFill>
              <a:srgbClr val="E8940A"/>
            </a:solidFill>
            <a:prstDash val="solid"/>
          </a:ln>
        </p:spPr>
        <p:txBody>
          <a:bodyPr/>
          <a:lstStyle/>
          <a:p>
            <a:pPr defTabSz="1219170">
              <a:defRPr/>
            </a:pPr>
            <a:endParaRPr lang="ru-RU" sz="24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7" name="Text 23">
            <a:extLst>
              <a:ext uri="{FF2B5EF4-FFF2-40B4-BE49-F238E27FC236}">
                <a16:creationId xmlns:a16="http://schemas.microsoft.com/office/drawing/2014/main" id="{65E72FBE-B87F-A897-EC18-DA963CD7F80F}"/>
              </a:ext>
            </a:extLst>
          </p:cNvPr>
          <p:cNvSpPr/>
          <p:nvPr/>
        </p:nvSpPr>
        <p:spPr>
          <a:xfrm>
            <a:off x="940118" y="5393015"/>
            <a:ext cx="10552719" cy="341376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533" b="1" noProof="1">
                <a:solidFill>
                  <a:srgbClr val="16303A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Согласуйте ОДИН вывод из вашего сравнения — что различие выявляет об оценке профессионального развития педагогов для данной группы педагогов.</a:t>
            </a:r>
            <a:endParaRPr lang="ru-RU" sz="1533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8" name="Text 24">
            <a:extLst>
              <a:ext uri="{FF2B5EF4-FFF2-40B4-BE49-F238E27FC236}">
                <a16:creationId xmlns:a16="http://schemas.microsoft.com/office/drawing/2014/main" id="{A61BA65E-AF1C-2C7F-67A3-06254EB2B2B9}"/>
              </a:ext>
            </a:extLst>
          </p:cNvPr>
          <p:cNvSpPr/>
          <p:nvPr/>
        </p:nvSpPr>
        <p:spPr>
          <a:xfrm>
            <a:off x="940118" y="5734391"/>
            <a:ext cx="10552719" cy="341376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400" i="1" noProof="1">
                <a:solidFill>
                  <a:srgbClr val="3D6673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Запишите на стикере. Принесите к передней стене.</a:t>
            </a:r>
            <a:endParaRPr lang="ru-RU" sz="14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1" name="Shape 3">
            <a:extLst>
              <a:ext uri="{FF2B5EF4-FFF2-40B4-BE49-F238E27FC236}">
                <a16:creationId xmlns:a16="http://schemas.microsoft.com/office/drawing/2014/main" id="{38810A1A-12F2-A6CA-126C-2D7EE14DE8C1}"/>
              </a:ext>
            </a:extLst>
          </p:cNvPr>
          <p:cNvSpPr/>
          <p:nvPr/>
        </p:nvSpPr>
        <p:spPr>
          <a:xfrm>
            <a:off x="635317" y="6345936"/>
            <a:ext cx="3413760" cy="512064"/>
          </a:xfrm>
          <a:prstGeom prst="roundRect">
            <a:avLst>
              <a:gd name="adj" fmla="val 14286"/>
            </a:avLst>
          </a:prstGeom>
          <a:solidFill>
            <a:srgbClr val="FFDC00"/>
          </a:solidFill>
          <a:ln w="12700">
            <a:solidFill>
              <a:srgbClr val="FFDC00"/>
            </a:solidFill>
            <a:prstDash val="solid"/>
          </a:ln>
        </p:spPr>
        <p:txBody>
          <a:bodyPr/>
          <a:lstStyle/>
          <a:p>
            <a:endParaRPr lang="ru-RU" sz="2400" noProof="1"/>
          </a:p>
        </p:txBody>
      </p:sp>
      <p:sp>
        <p:nvSpPr>
          <p:cNvPr id="52" name="Text 4">
            <a:extLst>
              <a:ext uri="{FF2B5EF4-FFF2-40B4-BE49-F238E27FC236}">
                <a16:creationId xmlns:a16="http://schemas.microsoft.com/office/drawing/2014/main" id="{AAD7C756-79BB-DA57-5C23-F9C6A9BEB823}"/>
              </a:ext>
            </a:extLst>
          </p:cNvPr>
          <p:cNvSpPr/>
          <p:nvPr/>
        </p:nvSpPr>
        <p:spPr>
          <a:xfrm>
            <a:off x="635317" y="6345936"/>
            <a:ext cx="3255264" cy="512064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lvl="0" algn="ctr">
              <a:defRPr/>
            </a:pPr>
            <a:r>
              <a:rPr lang="ru-RU" sz="1867" b="1" noProof="1">
                <a:solidFill>
                  <a:srgbClr val="FFFFFF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16:52 – 17:05  ·  13 мин</a:t>
            </a:r>
            <a:endParaRPr lang="ru-RU" sz="1867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7261919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E80F034-D8CA-CA8A-0C70-D457D761BC2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ru-RU" noProof="1"/>
              <a:t>Пять парных выводов. Три паттерна для внимания.</a:t>
            </a:r>
          </a:p>
        </p:txBody>
      </p:sp>
      <p:sp>
        <p:nvSpPr>
          <p:cNvPr id="3" name="Shape 4">
            <a:extLst>
              <a:ext uri="{FF2B5EF4-FFF2-40B4-BE49-F238E27FC236}">
                <a16:creationId xmlns:a16="http://schemas.microsoft.com/office/drawing/2014/main" id="{D113F2AC-5200-88FC-D05D-C79A7999C6DE}"/>
              </a:ext>
            </a:extLst>
          </p:cNvPr>
          <p:cNvSpPr/>
          <p:nvPr/>
        </p:nvSpPr>
        <p:spPr>
          <a:xfrm>
            <a:off x="635317" y="1752912"/>
            <a:ext cx="95163" cy="1158240"/>
          </a:xfrm>
          <a:prstGeom prst="rect">
            <a:avLst/>
          </a:prstGeom>
          <a:solidFill>
            <a:srgbClr val="E8940A"/>
          </a:solidFill>
          <a:ln w="12700">
            <a:solidFill>
              <a:srgbClr val="E8940A"/>
            </a:solidFill>
            <a:prstDash val="solid"/>
          </a:ln>
        </p:spPr>
        <p:txBody>
          <a:bodyPr/>
          <a:lstStyle/>
          <a:p>
            <a:pPr defTabSz="1219170">
              <a:defRPr/>
            </a:pPr>
            <a:endParaRPr lang="ru-RU" sz="2667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Text 5">
            <a:extLst>
              <a:ext uri="{FF2B5EF4-FFF2-40B4-BE49-F238E27FC236}">
                <a16:creationId xmlns:a16="http://schemas.microsoft.com/office/drawing/2014/main" id="{0BC3AB6C-10C7-C07B-C341-0A511266B784}"/>
              </a:ext>
            </a:extLst>
          </p:cNvPr>
          <p:cNvSpPr/>
          <p:nvPr/>
        </p:nvSpPr>
        <p:spPr>
          <a:xfrm>
            <a:off x="1001077" y="1864880"/>
            <a:ext cx="10705731" cy="42672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2133" b="1" noProof="1">
                <a:solidFill>
                  <a:srgbClr val="FFFFFF"/>
                </a:solidFill>
                <a:latin typeface="Arial" panose="020B0604020202020204" pitchFamily="34" charset="0"/>
                <a:ea typeface="Trebuchet MS" pitchFamily="34" charset="-122"/>
                <a:cs typeface="Arial" panose="020B0604020202020204" pitchFamily="34" charset="0"/>
              </a:rPr>
              <a:t>Что появлялось последовательно?</a:t>
            </a:r>
            <a:endParaRPr lang="ru-RU" sz="2133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Text 6">
            <a:extLst>
              <a:ext uri="{FF2B5EF4-FFF2-40B4-BE49-F238E27FC236}">
                <a16:creationId xmlns:a16="http://schemas.microsoft.com/office/drawing/2014/main" id="{DD95D183-9268-D01C-8F61-42B7B1FC0ECF}"/>
              </a:ext>
            </a:extLst>
          </p:cNvPr>
          <p:cNvSpPr/>
          <p:nvPr/>
        </p:nvSpPr>
        <p:spPr>
          <a:xfrm>
            <a:off x="1001077" y="2303792"/>
            <a:ext cx="10705731" cy="731520"/>
          </a:xfrm>
          <a:prstGeom prst="rect">
            <a:avLst/>
          </a:prstGeom>
          <a:noFill/>
          <a:ln/>
        </p:spPr>
        <p:txBody>
          <a:bodyPr wrap="square" rtlCol="0" anchor="t"/>
          <a:lstStyle/>
          <a:p>
            <a:pPr defTabSz="1219170">
              <a:defRPr/>
            </a:pPr>
            <a:r>
              <a:rPr lang="ru-RU" sz="1600" noProof="1">
                <a:solidFill>
                  <a:srgbClr val="D6F0F3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Большинство сильных подходов к оценке находятся после сессии, а не внутри неё. Это связано с ИК 2 — вам необходимо время. Сессия создаёт условия; контекст производит свидетельства.</a:t>
            </a:r>
            <a:endParaRPr lang="ru-RU" sz="16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Shape 7">
            <a:extLst>
              <a:ext uri="{FF2B5EF4-FFF2-40B4-BE49-F238E27FC236}">
                <a16:creationId xmlns:a16="http://schemas.microsoft.com/office/drawing/2014/main" id="{48F3EC9C-CE14-3495-0258-6DBEB6DAE09E}"/>
              </a:ext>
            </a:extLst>
          </p:cNvPr>
          <p:cNvSpPr/>
          <p:nvPr/>
        </p:nvSpPr>
        <p:spPr>
          <a:xfrm>
            <a:off x="635317" y="3269449"/>
            <a:ext cx="95163" cy="1158240"/>
          </a:xfrm>
          <a:prstGeom prst="rect">
            <a:avLst/>
          </a:prstGeom>
          <a:solidFill>
            <a:srgbClr val="E8940A"/>
          </a:solidFill>
          <a:ln w="12700">
            <a:solidFill>
              <a:srgbClr val="E8940A"/>
            </a:solidFill>
            <a:prstDash val="solid"/>
          </a:ln>
        </p:spPr>
        <p:txBody>
          <a:bodyPr/>
          <a:lstStyle/>
          <a:p>
            <a:pPr defTabSz="1219170">
              <a:defRPr/>
            </a:pPr>
            <a:endParaRPr lang="ru-RU" sz="2667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Text 8">
            <a:extLst>
              <a:ext uri="{FF2B5EF4-FFF2-40B4-BE49-F238E27FC236}">
                <a16:creationId xmlns:a16="http://schemas.microsoft.com/office/drawing/2014/main" id="{CDDBDFC1-7D41-ED19-28D2-D354F108F813}"/>
              </a:ext>
            </a:extLst>
          </p:cNvPr>
          <p:cNvSpPr/>
          <p:nvPr/>
        </p:nvSpPr>
        <p:spPr>
          <a:xfrm>
            <a:off x="1001077" y="3269449"/>
            <a:ext cx="10705731" cy="42672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2133" b="1" noProof="1">
                <a:solidFill>
                  <a:srgbClr val="FFFFFF"/>
                </a:solidFill>
                <a:latin typeface="Arial" panose="020B0604020202020204" pitchFamily="34" charset="0"/>
                <a:ea typeface="Trebuchet MS" pitchFamily="34" charset="-122"/>
                <a:cs typeface="Arial" panose="020B0604020202020204" pitchFamily="34" charset="0"/>
              </a:rPr>
              <a:t>Что различалось по заданиям?</a:t>
            </a:r>
            <a:endParaRPr lang="ru-RU" sz="2133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Text 9">
            <a:extLst>
              <a:ext uri="{FF2B5EF4-FFF2-40B4-BE49-F238E27FC236}">
                <a16:creationId xmlns:a16="http://schemas.microsoft.com/office/drawing/2014/main" id="{9342EC41-E25D-5D46-1566-E979528DAB93}"/>
              </a:ext>
            </a:extLst>
          </p:cNvPr>
          <p:cNvSpPr/>
          <p:nvPr/>
        </p:nvSpPr>
        <p:spPr>
          <a:xfrm>
            <a:off x="1001077" y="3708361"/>
            <a:ext cx="10705731" cy="731520"/>
          </a:xfrm>
          <a:prstGeom prst="rect">
            <a:avLst/>
          </a:prstGeom>
          <a:noFill/>
          <a:ln/>
        </p:spPr>
        <p:txBody>
          <a:bodyPr wrap="square" rtlCol="0" anchor="t"/>
          <a:lstStyle/>
          <a:p>
            <a:pPr defTabSz="1219170">
              <a:defRPr/>
            </a:pPr>
            <a:r>
              <a:rPr lang="ru-RU" sz="1600" noProof="1">
                <a:solidFill>
                  <a:srgbClr val="D6F0F3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Пары задания В нередко обнаруживали, что Уровень 3 труднее разрабатывать. Это не неудача дизайна — это отражает профессиональную культуру практического обучения, где формальная рефлексия имеет меньше традиций. Сессия 12 адресует это.</a:t>
            </a:r>
            <a:endParaRPr lang="ru-RU" sz="16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Shape 10">
            <a:extLst>
              <a:ext uri="{FF2B5EF4-FFF2-40B4-BE49-F238E27FC236}">
                <a16:creationId xmlns:a16="http://schemas.microsoft.com/office/drawing/2014/main" id="{33551E93-1C1F-F205-B805-F18772C5918A}"/>
              </a:ext>
            </a:extLst>
          </p:cNvPr>
          <p:cNvSpPr/>
          <p:nvPr/>
        </p:nvSpPr>
        <p:spPr>
          <a:xfrm>
            <a:off x="635317" y="4798428"/>
            <a:ext cx="95163" cy="1158240"/>
          </a:xfrm>
          <a:prstGeom prst="rect">
            <a:avLst/>
          </a:prstGeom>
          <a:solidFill>
            <a:srgbClr val="E8940A"/>
          </a:solidFill>
          <a:ln w="12700">
            <a:solidFill>
              <a:srgbClr val="E8940A"/>
            </a:solidFill>
            <a:prstDash val="solid"/>
          </a:ln>
        </p:spPr>
        <p:txBody>
          <a:bodyPr/>
          <a:lstStyle/>
          <a:p>
            <a:pPr defTabSz="1219170">
              <a:defRPr/>
            </a:pPr>
            <a:endParaRPr lang="ru-RU" sz="2667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Text 11">
            <a:extLst>
              <a:ext uri="{FF2B5EF4-FFF2-40B4-BE49-F238E27FC236}">
                <a16:creationId xmlns:a16="http://schemas.microsoft.com/office/drawing/2014/main" id="{BBEFAAC5-DA46-E399-03CC-C19B3F86D32F}"/>
              </a:ext>
            </a:extLst>
          </p:cNvPr>
          <p:cNvSpPr/>
          <p:nvPr/>
        </p:nvSpPr>
        <p:spPr>
          <a:xfrm>
            <a:off x="1001077" y="4785987"/>
            <a:ext cx="10705731" cy="42672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2133" b="1" noProof="1">
                <a:solidFill>
                  <a:srgbClr val="FFFFFF"/>
                </a:solidFill>
                <a:latin typeface="Arial" panose="020B0604020202020204" pitchFamily="34" charset="0"/>
                <a:ea typeface="Trebuchet MS" pitchFamily="34" charset="-122"/>
                <a:cs typeface="Arial" panose="020B0604020202020204" pitchFamily="34" charset="0"/>
              </a:rPr>
              <a:t>Каков общий пробел?</a:t>
            </a:r>
            <a:endParaRPr lang="ru-RU" sz="2133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Text 12">
            <a:extLst>
              <a:ext uri="{FF2B5EF4-FFF2-40B4-BE49-F238E27FC236}">
                <a16:creationId xmlns:a16="http://schemas.microsoft.com/office/drawing/2014/main" id="{03A264D9-73EB-C3E7-01B5-AE2A98A588E8}"/>
              </a:ext>
            </a:extLst>
          </p:cNvPr>
          <p:cNvSpPr/>
          <p:nvPr/>
        </p:nvSpPr>
        <p:spPr>
          <a:xfrm>
            <a:off x="1001077" y="5224899"/>
            <a:ext cx="10705731" cy="731520"/>
          </a:xfrm>
          <a:prstGeom prst="rect">
            <a:avLst/>
          </a:prstGeom>
          <a:noFill/>
          <a:ln/>
        </p:spPr>
        <p:txBody>
          <a:bodyPr wrap="square" rtlCol="0" anchor="t"/>
          <a:lstStyle/>
          <a:p>
            <a:pPr defTabSz="1219170">
              <a:defRPr/>
            </a:pPr>
            <a:r>
              <a:rPr lang="ru-RU" sz="1600" noProof="1">
                <a:solidFill>
                  <a:srgbClr val="D6F0F3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Механизмы последующей работы обычно зависят от неназванного кого-то, несущего ответственность за их выстраивание. Это вопрос ИК 7 — ваше руководство поддерживает это — и самое трудное условие оценки для выстраивания только дизайном.</a:t>
            </a:r>
            <a:endParaRPr lang="ru-RU" sz="16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Shape 3">
            <a:extLst>
              <a:ext uri="{FF2B5EF4-FFF2-40B4-BE49-F238E27FC236}">
                <a16:creationId xmlns:a16="http://schemas.microsoft.com/office/drawing/2014/main" id="{8319EEBA-E849-43BF-B0D0-F22B0FE4DD4C}"/>
              </a:ext>
            </a:extLst>
          </p:cNvPr>
          <p:cNvSpPr/>
          <p:nvPr/>
        </p:nvSpPr>
        <p:spPr>
          <a:xfrm>
            <a:off x="635317" y="6179524"/>
            <a:ext cx="3413760" cy="512064"/>
          </a:xfrm>
          <a:prstGeom prst="roundRect">
            <a:avLst>
              <a:gd name="adj" fmla="val 14286"/>
            </a:avLst>
          </a:prstGeom>
          <a:solidFill>
            <a:srgbClr val="FFDC00"/>
          </a:solidFill>
          <a:ln w="12700">
            <a:solidFill>
              <a:srgbClr val="FFDC00"/>
            </a:solidFill>
            <a:prstDash val="solid"/>
          </a:ln>
        </p:spPr>
        <p:txBody>
          <a:bodyPr/>
          <a:lstStyle/>
          <a:p>
            <a:endParaRPr lang="ru-RU" sz="2400" noProof="1"/>
          </a:p>
        </p:txBody>
      </p:sp>
      <p:sp>
        <p:nvSpPr>
          <p:cNvPr id="13" name="Text 4">
            <a:extLst>
              <a:ext uri="{FF2B5EF4-FFF2-40B4-BE49-F238E27FC236}">
                <a16:creationId xmlns:a16="http://schemas.microsoft.com/office/drawing/2014/main" id="{C68DA67E-3DC5-744B-2281-1AC1D571296F}"/>
              </a:ext>
            </a:extLst>
          </p:cNvPr>
          <p:cNvSpPr/>
          <p:nvPr/>
        </p:nvSpPr>
        <p:spPr>
          <a:xfrm>
            <a:off x="635317" y="6179524"/>
            <a:ext cx="3255264" cy="512064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lvl="0" algn="ctr">
              <a:defRPr/>
            </a:pPr>
            <a:r>
              <a:rPr lang="ru-RU" sz="1867" b="1" noProof="1">
                <a:solidFill>
                  <a:srgbClr val="FFFFFF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17:05 – 17:10  ·  5 мин</a:t>
            </a:r>
            <a:endParaRPr lang="ru-RU" sz="1867" noProof="1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381680947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B859D71-2BBF-D977-5BA1-99F297682E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5317" y="224324"/>
            <a:ext cx="7815651" cy="1080120"/>
          </a:xfrm>
        </p:spPr>
        <p:txBody>
          <a:bodyPr>
            <a:normAutofit/>
          </a:bodyPr>
          <a:lstStyle/>
          <a:p>
            <a:r>
              <a:rPr lang="ru-RU" noProof="1"/>
              <a:t>Индивидуальная рефлексия и переход</a:t>
            </a:r>
          </a:p>
        </p:txBody>
      </p:sp>
      <p:sp>
        <p:nvSpPr>
          <p:cNvPr id="3" name="Text 5">
            <a:extLst>
              <a:ext uri="{FF2B5EF4-FFF2-40B4-BE49-F238E27FC236}">
                <a16:creationId xmlns:a16="http://schemas.microsoft.com/office/drawing/2014/main" id="{55B0AA1C-771F-8E52-447F-7EB61D9F0B78}"/>
              </a:ext>
            </a:extLst>
          </p:cNvPr>
          <p:cNvSpPr/>
          <p:nvPr/>
        </p:nvSpPr>
        <p:spPr>
          <a:xfrm>
            <a:off x="635317" y="1502564"/>
            <a:ext cx="11460480" cy="42672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867" i="1" noProof="1">
                <a:solidFill>
                  <a:schemeClr val="bg1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Личная рефлексия. Не выносится на пленарное обсуждение. Размещается на вашем графике карточки 7.</a:t>
            </a:r>
            <a:endParaRPr lang="ru-RU" sz="1867" noProof="1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Shape 6">
            <a:extLst>
              <a:ext uri="{FF2B5EF4-FFF2-40B4-BE49-F238E27FC236}">
                <a16:creationId xmlns:a16="http://schemas.microsoft.com/office/drawing/2014/main" id="{470349F9-B994-FF48-26E0-8BDD3D10C96F}"/>
              </a:ext>
            </a:extLst>
          </p:cNvPr>
          <p:cNvSpPr/>
          <p:nvPr/>
        </p:nvSpPr>
        <p:spPr>
          <a:xfrm>
            <a:off x="635317" y="2112164"/>
            <a:ext cx="11460480" cy="1219200"/>
          </a:xfrm>
          <a:prstGeom prst="rect">
            <a:avLst/>
          </a:prstGeom>
          <a:solidFill>
            <a:srgbClr val="FDF3DC"/>
          </a:solidFill>
          <a:ln w="12700">
            <a:solidFill>
              <a:srgbClr val="E8940A"/>
            </a:solidFill>
            <a:prstDash val="solid"/>
          </a:ln>
        </p:spPr>
        <p:txBody>
          <a:bodyPr/>
          <a:lstStyle/>
          <a:p>
            <a:pPr defTabSz="1219170">
              <a:defRPr/>
            </a:pPr>
            <a:endParaRPr lang="ru-RU" sz="2667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Text 7">
            <a:extLst>
              <a:ext uri="{FF2B5EF4-FFF2-40B4-BE49-F238E27FC236}">
                <a16:creationId xmlns:a16="http://schemas.microsoft.com/office/drawing/2014/main" id="{021085AA-6ED9-D247-B73E-49B9FF5CBF78}"/>
              </a:ext>
            </a:extLst>
          </p:cNvPr>
          <p:cNvSpPr/>
          <p:nvPr/>
        </p:nvSpPr>
        <p:spPr>
          <a:xfrm>
            <a:off x="879157" y="2508404"/>
            <a:ext cx="10972800" cy="42672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lvl="0">
              <a:defRPr/>
            </a:pPr>
            <a:r>
              <a:rPr lang="ru-RU" sz="2133" noProof="1"/>
              <a:t>«Момент оценки, в котором я наиболее уверен(а) в этом дизайне … </a:t>
            </a:r>
          </a:p>
          <a:p>
            <a:pPr lvl="0">
              <a:defRPr/>
            </a:pPr>
            <a:r>
              <a:rPr lang="ru-RU" sz="2133" noProof="1"/>
              <a:t>и тот, в котором я наименее уверен(а)….»</a:t>
            </a:r>
            <a:endParaRPr lang="ru-RU" sz="2133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Shape 9">
            <a:extLst>
              <a:ext uri="{FF2B5EF4-FFF2-40B4-BE49-F238E27FC236}">
                <a16:creationId xmlns:a16="http://schemas.microsoft.com/office/drawing/2014/main" id="{770DA7B7-4AC1-2596-A971-6A0CFCD4C4C5}"/>
              </a:ext>
            </a:extLst>
          </p:cNvPr>
          <p:cNvSpPr/>
          <p:nvPr/>
        </p:nvSpPr>
        <p:spPr>
          <a:xfrm>
            <a:off x="635317" y="3943739"/>
            <a:ext cx="11460480" cy="2124892"/>
          </a:xfrm>
          <a:prstGeom prst="rect">
            <a:avLst/>
          </a:prstGeom>
          <a:solidFill>
            <a:srgbClr val="D6F0F3"/>
          </a:solidFill>
          <a:ln w="10160">
            <a:solidFill>
              <a:srgbClr val="027A87"/>
            </a:solidFill>
            <a:prstDash val="solid"/>
          </a:ln>
        </p:spPr>
        <p:txBody>
          <a:bodyPr/>
          <a:lstStyle/>
          <a:p>
            <a:pPr defTabSz="1219170">
              <a:defRPr/>
            </a:pPr>
            <a:endParaRPr lang="ru-RU" sz="2667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Text 10">
            <a:extLst>
              <a:ext uri="{FF2B5EF4-FFF2-40B4-BE49-F238E27FC236}">
                <a16:creationId xmlns:a16="http://schemas.microsoft.com/office/drawing/2014/main" id="{8A4C5278-94F9-118E-BBBE-61C769AE45FB}"/>
              </a:ext>
            </a:extLst>
          </p:cNvPr>
          <p:cNvSpPr/>
          <p:nvPr/>
        </p:nvSpPr>
        <p:spPr>
          <a:xfrm>
            <a:off x="879157" y="4069392"/>
            <a:ext cx="10972800" cy="36576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400" b="1" kern="0" spc="267" noProof="1">
                <a:solidFill>
                  <a:srgbClr val="027A87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ПЕРЕХОД К ЗАКРЫТИЮ ДНЯ 2</a:t>
            </a:r>
            <a:endParaRPr lang="ru-RU" sz="14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Text 11">
            <a:extLst>
              <a:ext uri="{FF2B5EF4-FFF2-40B4-BE49-F238E27FC236}">
                <a16:creationId xmlns:a16="http://schemas.microsoft.com/office/drawing/2014/main" id="{7F013066-1FB7-56F6-1337-2722921116E7}"/>
              </a:ext>
            </a:extLst>
          </p:cNvPr>
          <p:cNvSpPr/>
          <p:nvPr/>
        </p:nvSpPr>
        <p:spPr>
          <a:xfrm>
            <a:off x="879157" y="4435152"/>
            <a:ext cx="10972800" cy="548640"/>
          </a:xfrm>
          <a:prstGeom prst="rect">
            <a:avLst/>
          </a:prstGeom>
          <a:noFill/>
          <a:ln/>
        </p:spPr>
        <p:txBody>
          <a:bodyPr wrap="square" rtlCol="0" anchor="t"/>
          <a:lstStyle/>
          <a:p>
            <a:pPr defTabSz="1219170">
              <a:defRPr/>
            </a:pPr>
            <a:r>
              <a:rPr lang="ru-RU" sz="1867" noProof="1">
                <a:solidFill>
                  <a:srgbClr val="16303A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Ваш дизайн теперь включает все семь завершённых карточек планирования, правку по обратной связи коллег и подход к оценке Уровня 3, подходящий для вашей группы педагогов. Это полный дизайн сессии профессионального развития педагогов.</a:t>
            </a:r>
            <a:endParaRPr lang="ru-RU" sz="1867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Text 12">
            <a:extLst>
              <a:ext uri="{FF2B5EF4-FFF2-40B4-BE49-F238E27FC236}">
                <a16:creationId xmlns:a16="http://schemas.microsoft.com/office/drawing/2014/main" id="{D37BC784-1A06-F627-D974-8F1443975ADF}"/>
              </a:ext>
            </a:extLst>
          </p:cNvPr>
          <p:cNvSpPr/>
          <p:nvPr/>
        </p:nvSpPr>
        <p:spPr>
          <a:xfrm>
            <a:off x="879157" y="5349552"/>
            <a:ext cx="10972800" cy="426720"/>
          </a:xfrm>
          <a:prstGeom prst="rect">
            <a:avLst/>
          </a:prstGeom>
          <a:noFill/>
          <a:ln/>
        </p:spPr>
        <p:txBody>
          <a:bodyPr wrap="square" rtlCol="0" anchor="t"/>
          <a:lstStyle/>
          <a:p>
            <a:pPr defTabSz="1219170">
              <a:defRPr/>
            </a:pPr>
            <a:r>
              <a:rPr lang="ru-RU" sz="1600" i="1" noProof="1">
                <a:solidFill>
                  <a:srgbClr val="3D6673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Галерейный обход на закрытии — ваш финальный проход — не для конкуренции, а чтобы заметить, что другие столы построили, о чём вы не подумали.</a:t>
            </a:r>
            <a:endParaRPr lang="ru-RU" sz="16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Shape 3">
            <a:extLst>
              <a:ext uri="{FF2B5EF4-FFF2-40B4-BE49-F238E27FC236}">
                <a16:creationId xmlns:a16="http://schemas.microsoft.com/office/drawing/2014/main" id="{81D5F8F6-FAA8-8641-EA2D-5EA2804EA4ED}"/>
              </a:ext>
            </a:extLst>
          </p:cNvPr>
          <p:cNvSpPr/>
          <p:nvPr/>
        </p:nvSpPr>
        <p:spPr>
          <a:xfrm>
            <a:off x="635317" y="6179524"/>
            <a:ext cx="3413760" cy="512064"/>
          </a:xfrm>
          <a:prstGeom prst="roundRect">
            <a:avLst>
              <a:gd name="adj" fmla="val 14286"/>
            </a:avLst>
          </a:prstGeom>
          <a:solidFill>
            <a:srgbClr val="FFDC00"/>
          </a:solidFill>
          <a:ln w="12700">
            <a:solidFill>
              <a:srgbClr val="FFDC00"/>
            </a:solidFill>
            <a:prstDash val="solid"/>
          </a:ln>
        </p:spPr>
        <p:txBody>
          <a:bodyPr/>
          <a:lstStyle/>
          <a:p>
            <a:endParaRPr lang="ru-RU" sz="2400" noProof="1"/>
          </a:p>
        </p:txBody>
      </p:sp>
      <p:sp>
        <p:nvSpPr>
          <p:cNvPr id="18" name="Text 4">
            <a:extLst>
              <a:ext uri="{FF2B5EF4-FFF2-40B4-BE49-F238E27FC236}">
                <a16:creationId xmlns:a16="http://schemas.microsoft.com/office/drawing/2014/main" id="{99C3616A-D487-4D46-BF35-05FBB98328FC}"/>
              </a:ext>
            </a:extLst>
          </p:cNvPr>
          <p:cNvSpPr/>
          <p:nvPr/>
        </p:nvSpPr>
        <p:spPr>
          <a:xfrm>
            <a:off x="635317" y="6179524"/>
            <a:ext cx="3255264" cy="512064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lvl="0" algn="ctr">
              <a:defRPr/>
            </a:pPr>
            <a:r>
              <a:rPr lang="ru-RU" sz="1867" b="1" noProof="1">
                <a:solidFill>
                  <a:srgbClr val="FFFFFF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17:10 – 17:15  ·  5 мин</a:t>
            </a:r>
            <a:endParaRPr lang="ru-RU" sz="1867" noProof="1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228892113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B7619B09-5D1C-A891-1751-34DC787903D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DB84476-BC29-4407-9D57-B2E562B8968B}" type="slidenum">
              <a:rPr lang="ru-RU" noProof="1" smtClean="0"/>
              <a:pPr/>
              <a:t>157</a:t>
            </a:fld>
            <a:endParaRPr lang="ru-RU" noProof="1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ECBEDC7-330F-3E0F-0A7C-A46A33E1013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noProof="1"/>
              <a:t>Рефлексия 3-2-1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C5821CC0-3DF2-E8FD-7D2A-728F91608B4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5317" y="1400557"/>
            <a:ext cx="4898721" cy="48987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3500833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5665892-DC9A-6249-94FD-2442C4EA048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noProof="1"/>
              <a:t>Опросник по итогу Дня 2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0ADFC817-E90A-8710-AE2D-45097EE8B12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35318" y="1502565"/>
            <a:ext cx="5000372" cy="50003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2167395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6F0D534-ACF4-C5DF-F6AD-9B6F71E7C72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5317" y="422444"/>
            <a:ext cx="10772911" cy="1080120"/>
          </a:xfrm>
        </p:spPr>
        <p:txBody>
          <a:bodyPr/>
          <a:lstStyle/>
          <a:p>
            <a:r>
              <a:rPr lang="ru-RU" noProof="1"/>
              <a:t>Присоединяйтесь к сообществу DARYA SCAFFOLD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FA00056B-D9CF-5D7B-224E-53D1D301C40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35317" y="1836575"/>
            <a:ext cx="4212772" cy="4212772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893AAC00-AEAC-AF1A-91CB-DFF06C0CC31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914054" y="1836575"/>
            <a:ext cx="4212772" cy="42127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3644168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hape 2">
            <a:extLst>
              <a:ext uri="{FF2B5EF4-FFF2-40B4-BE49-F238E27FC236}">
                <a16:creationId xmlns:a16="http://schemas.microsoft.com/office/drawing/2014/main" id="{F1EA34D9-DC46-6EB0-9B10-3C1BEC7CBA4C}"/>
              </a:ext>
            </a:extLst>
          </p:cNvPr>
          <p:cNvSpPr/>
          <p:nvPr/>
        </p:nvSpPr>
        <p:spPr>
          <a:xfrm>
            <a:off x="609600" y="644988"/>
            <a:ext cx="10972800" cy="1828800"/>
          </a:xfrm>
          <a:prstGeom prst="rect">
            <a:avLst/>
          </a:prstGeom>
          <a:solidFill>
            <a:srgbClr val="D6F0F3"/>
          </a:solidFill>
          <a:ln w="12700">
            <a:solidFill>
              <a:srgbClr val="039AAA"/>
            </a:solidFill>
            <a:prstDash val="solid"/>
          </a:ln>
          <a:effectLst>
            <a:outerShdw blurRad="76200" dist="38100" dir="8100000" algn="bl" rotWithShape="0">
              <a:srgbClr val="000000">
                <a:alpha val="10000"/>
              </a:srgbClr>
            </a:outerShdw>
          </a:effectLst>
        </p:spPr>
        <p:txBody>
          <a:bodyPr/>
          <a:lstStyle/>
          <a:p>
            <a:endParaRPr lang="ru-RU" sz="2400" noProof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Shape 3">
            <a:extLst>
              <a:ext uri="{FF2B5EF4-FFF2-40B4-BE49-F238E27FC236}">
                <a16:creationId xmlns:a16="http://schemas.microsoft.com/office/drawing/2014/main" id="{50D7ECEE-1158-6C55-6AD8-21EC8A1C4C3D}"/>
              </a:ext>
            </a:extLst>
          </p:cNvPr>
          <p:cNvSpPr/>
          <p:nvPr/>
        </p:nvSpPr>
        <p:spPr>
          <a:xfrm>
            <a:off x="609600" y="644988"/>
            <a:ext cx="121920" cy="1828800"/>
          </a:xfrm>
          <a:prstGeom prst="rect">
            <a:avLst/>
          </a:prstGeom>
          <a:solidFill>
            <a:schemeClr val="accent4"/>
          </a:solidFill>
          <a:ln w="12700">
            <a:solidFill>
              <a:srgbClr val="027A87"/>
            </a:solidFill>
            <a:prstDash val="solid"/>
          </a:ln>
        </p:spPr>
        <p:txBody>
          <a:bodyPr/>
          <a:lstStyle/>
          <a:p>
            <a:endParaRPr lang="ru-RU" sz="2400" noProof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Text 4">
            <a:extLst>
              <a:ext uri="{FF2B5EF4-FFF2-40B4-BE49-F238E27FC236}">
                <a16:creationId xmlns:a16="http://schemas.microsoft.com/office/drawing/2014/main" id="{652875F8-DBAC-4FEB-7EE1-03FD0A67A626}"/>
              </a:ext>
            </a:extLst>
          </p:cNvPr>
          <p:cNvSpPr/>
          <p:nvPr/>
        </p:nvSpPr>
        <p:spPr>
          <a:xfrm>
            <a:off x="975360" y="730332"/>
            <a:ext cx="10607040" cy="390144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r>
              <a:rPr lang="ru-RU" sz="1600" b="1" kern="0" spc="133" noProof="1">
                <a:solidFill>
                  <a:srgbClr val="027A87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Ваше задание</a:t>
            </a:r>
            <a:endParaRPr lang="ru-RU" sz="1600" noProof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Text 5">
            <a:extLst>
              <a:ext uri="{FF2B5EF4-FFF2-40B4-BE49-F238E27FC236}">
                <a16:creationId xmlns:a16="http://schemas.microsoft.com/office/drawing/2014/main" id="{E4915EB8-4A91-4617-0DC0-A5904AA1FC07}"/>
              </a:ext>
            </a:extLst>
          </p:cNvPr>
          <p:cNvSpPr/>
          <p:nvPr/>
        </p:nvSpPr>
        <p:spPr>
          <a:xfrm>
            <a:off x="975360" y="1132668"/>
            <a:ext cx="10607040" cy="115824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r>
              <a:rPr lang="ru-RU" sz="1733" i="1" noProof="1">
                <a:solidFill>
                  <a:srgbClr val="16303A"/>
                </a:solidFill>
                <a:latin typeface="Arial" panose="020B0604020202020204" pitchFamily="34" charset="0"/>
                <a:ea typeface="Georgia" pitchFamily="34" charset="-122"/>
                <a:cs typeface="Arial" panose="020B0604020202020204" pitchFamily="34" charset="0"/>
              </a:rPr>
              <a:t>Прочитайте шестнадцать утверждений на вашем столе. В группе рассортируйте их по трём колонкам. У вас 12 минут. Вам не нужно приходить к единому мнению — разногласие — это полезная информация.</a:t>
            </a:r>
            <a:endParaRPr lang="ru-RU" sz="1733" noProof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Shape 6">
            <a:extLst>
              <a:ext uri="{FF2B5EF4-FFF2-40B4-BE49-F238E27FC236}">
                <a16:creationId xmlns:a16="http://schemas.microsoft.com/office/drawing/2014/main" id="{66EC6E55-83DA-6D96-85AC-4D72A01767BC}"/>
              </a:ext>
            </a:extLst>
          </p:cNvPr>
          <p:cNvSpPr/>
          <p:nvPr/>
        </p:nvSpPr>
        <p:spPr>
          <a:xfrm>
            <a:off x="609600" y="2656668"/>
            <a:ext cx="3413760" cy="3169920"/>
          </a:xfrm>
          <a:prstGeom prst="rect">
            <a:avLst/>
          </a:prstGeom>
          <a:solidFill>
            <a:srgbClr val="E8F5EC"/>
          </a:solidFill>
          <a:ln w="19050">
            <a:solidFill>
              <a:srgbClr val="2D8A3E"/>
            </a:solidFill>
            <a:prstDash val="solid"/>
          </a:ln>
        </p:spPr>
        <p:txBody>
          <a:bodyPr/>
          <a:lstStyle/>
          <a:p>
            <a:endParaRPr lang="ru-RU" sz="2400" noProof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Shape 7">
            <a:extLst>
              <a:ext uri="{FF2B5EF4-FFF2-40B4-BE49-F238E27FC236}">
                <a16:creationId xmlns:a16="http://schemas.microsoft.com/office/drawing/2014/main" id="{0FBB07E5-01A2-4218-88B3-5BB96C523DDB}"/>
              </a:ext>
            </a:extLst>
          </p:cNvPr>
          <p:cNvSpPr/>
          <p:nvPr/>
        </p:nvSpPr>
        <p:spPr>
          <a:xfrm>
            <a:off x="609600" y="2656668"/>
            <a:ext cx="3413760" cy="670560"/>
          </a:xfrm>
          <a:prstGeom prst="rect">
            <a:avLst/>
          </a:prstGeom>
          <a:solidFill>
            <a:schemeClr val="accent2"/>
          </a:solidFill>
          <a:ln w="12700">
            <a:solidFill>
              <a:srgbClr val="2D8A3E"/>
            </a:solidFill>
            <a:prstDash val="solid"/>
          </a:ln>
        </p:spPr>
        <p:txBody>
          <a:bodyPr/>
          <a:lstStyle/>
          <a:p>
            <a:endParaRPr lang="ru-RU" sz="2400" noProof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Text 8">
            <a:extLst>
              <a:ext uri="{FF2B5EF4-FFF2-40B4-BE49-F238E27FC236}">
                <a16:creationId xmlns:a16="http://schemas.microsoft.com/office/drawing/2014/main" id="{1C108742-F077-46E0-BB18-648D535AEB8A}"/>
              </a:ext>
            </a:extLst>
          </p:cNvPr>
          <p:cNvSpPr/>
          <p:nvPr/>
        </p:nvSpPr>
        <p:spPr>
          <a:xfrm>
            <a:off x="609600" y="2656668"/>
            <a:ext cx="3413760" cy="67056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algn="ctr"/>
            <a:r>
              <a:rPr lang="ru-RU" sz="1600" b="1" noProof="1">
                <a:solidFill>
                  <a:srgbClr val="FFFFFF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Хорошо подтверждено</a:t>
            </a:r>
            <a:endParaRPr lang="ru-RU" sz="1600" noProof="1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ru-RU" sz="1600" b="1" noProof="1">
                <a:solidFill>
                  <a:srgbClr val="FFFFFF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данными</a:t>
            </a:r>
            <a:endParaRPr lang="ru-RU" sz="1600" noProof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Shape 9">
            <a:extLst>
              <a:ext uri="{FF2B5EF4-FFF2-40B4-BE49-F238E27FC236}">
                <a16:creationId xmlns:a16="http://schemas.microsoft.com/office/drawing/2014/main" id="{CC48C870-354B-21E6-97F8-76041F522CB5}"/>
              </a:ext>
            </a:extLst>
          </p:cNvPr>
          <p:cNvSpPr/>
          <p:nvPr/>
        </p:nvSpPr>
        <p:spPr>
          <a:xfrm>
            <a:off x="4389120" y="2656668"/>
            <a:ext cx="3413760" cy="3169920"/>
          </a:xfrm>
          <a:prstGeom prst="rect">
            <a:avLst/>
          </a:prstGeom>
          <a:solidFill>
            <a:srgbClr val="FDF8E1"/>
          </a:solidFill>
          <a:ln w="19050">
            <a:solidFill>
              <a:srgbClr val="8A6D00"/>
            </a:solidFill>
            <a:prstDash val="solid"/>
          </a:ln>
        </p:spPr>
        <p:txBody>
          <a:bodyPr/>
          <a:lstStyle/>
          <a:p>
            <a:endParaRPr lang="ru-RU" sz="2400" noProof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Shape 10">
            <a:extLst>
              <a:ext uri="{FF2B5EF4-FFF2-40B4-BE49-F238E27FC236}">
                <a16:creationId xmlns:a16="http://schemas.microsoft.com/office/drawing/2014/main" id="{D56E74C4-8867-F05E-5E61-FE8342D52B8E}"/>
              </a:ext>
            </a:extLst>
          </p:cNvPr>
          <p:cNvSpPr/>
          <p:nvPr/>
        </p:nvSpPr>
        <p:spPr>
          <a:xfrm>
            <a:off x="4389120" y="2656668"/>
            <a:ext cx="3413760" cy="670560"/>
          </a:xfrm>
          <a:prstGeom prst="rect">
            <a:avLst/>
          </a:prstGeom>
          <a:solidFill>
            <a:schemeClr val="accent4"/>
          </a:solidFill>
          <a:ln w="12700">
            <a:solidFill>
              <a:srgbClr val="8A6D00"/>
            </a:solidFill>
            <a:prstDash val="solid"/>
          </a:ln>
        </p:spPr>
        <p:txBody>
          <a:bodyPr/>
          <a:lstStyle/>
          <a:p>
            <a:endParaRPr lang="ru-RU" sz="2400" noProof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Text 11">
            <a:extLst>
              <a:ext uri="{FF2B5EF4-FFF2-40B4-BE49-F238E27FC236}">
                <a16:creationId xmlns:a16="http://schemas.microsoft.com/office/drawing/2014/main" id="{DBF358FB-50B6-FA49-DC00-3FF2E89F4D5C}"/>
              </a:ext>
            </a:extLst>
          </p:cNvPr>
          <p:cNvSpPr/>
          <p:nvPr/>
        </p:nvSpPr>
        <p:spPr>
          <a:xfrm>
            <a:off x="4389120" y="2656668"/>
            <a:ext cx="3413760" cy="67056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algn="ctr"/>
            <a:r>
              <a:rPr lang="ru-RU" sz="1600" b="1" noProof="1">
                <a:solidFill>
                  <a:srgbClr val="FFFFFF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Не уверен(а)</a:t>
            </a:r>
            <a:endParaRPr lang="ru-RU" sz="1600" noProof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Shape 12">
            <a:extLst>
              <a:ext uri="{FF2B5EF4-FFF2-40B4-BE49-F238E27FC236}">
                <a16:creationId xmlns:a16="http://schemas.microsoft.com/office/drawing/2014/main" id="{69E78F0A-A7FA-B57F-68B9-E13E034DC7CD}"/>
              </a:ext>
            </a:extLst>
          </p:cNvPr>
          <p:cNvSpPr/>
          <p:nvPr/>
        </p:nvSpPr>
        <p:spPr>
          <a:xfrm>
            <a:off x="8168640" y="2656668"/>
            <a:ext cx="3413760" cy="3169920"/>
          </a:xfrm>
          <a:prstGeom prst="rect">
            <a:avLst/>
          </a:prstGeom>
          <a:solidFill>
            <a:srgbClr val="FDECEA"/>
          </a:solidFill>
          <a:ln w="19050">
            <a:solidFill>
              <a:srgbClr val="B03030"/>
            </a:solidFill>
            <a:prstDash val="solid"/>
          </a:ln>
        </p:spPr>
        <p:txBody>
          <a:bodyPr/>
          <a:lstStyle/>
          <a:p>
            <a:endParaRPr lang="ru-RU" sz="2400" noProof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Shape 13">
            <a:extLst>
              <a:ext uri="{FF2B5EF4-FFF2-40B4-BE49-F238E27FC236}">
                <a16:creationId xmlns:a16="http://schemas.microsoft.com/office/drawing/2014/main" id="{139DA013-3D3F-32D5-1F0F-2A523817F70D}"/>
              </a:ext>
            </a:extLst>
          </p:cNvPr>
          <p:cNvSpPr/>
          <p:nvPr/>
        </p:nvSpPr>
        <p:spPr>
          <a:xfrm>
            <a:off x="8168640" y="2656668"/>
            <a:ext cx="3413760" cy="670560"/>
          </a:xfrm>
          <a:prstGeom prst="rect">
            <a:avLst/>
          </a:prstGeom>
          <a:solidFill>
            <a:schemeClr val="accent5"/>
          </a:solidFill>
          <a:ln w="12700">
            <a:solidFill>
              <a:srgbClr val="B03030"/>
            </a:solidFill>
            <a:prstDash val="solid"/>
          </a:ln>
        </p:spPr>
        <p:txBody>
          <a:bodyPr/>
          <a:lstStyle/>
          <a:p>
            <a:endParaRPr lang="ru-RU" sz="2400" noProof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Text 14">
            <a:extLst>
              <a:ext uri="{FF2B5EF4-FFF2-40B4-BE49-F238E27FC236}">
                <a16:creationId xmlns:a16="http://schemas.microsoft.com/office/drawing/2014/main" id="{59550656-2332-F436-4A6A-AE45AE3B4925}"/>
              </a:ext>
            </a:extLst>
          </p:cNvPr>
          <p:cNvSpPr/>
          <p:nvPr/>
        </p:nvSpPr>
        <p:spPr>
          <a:xfrm>
            <a:off x="8168640" y="2656668"/>
            <a:ext cx="3413760" cy="67056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algn="ctr"/>
            <a:r>
              <a:rPr lang="ru-RU" sz="1600" b="1" noProof="1">
                <a:solidFill>
                  <a:srgbClr val="FFFFFF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Не подтверждено</a:t>
            </a:r>
            <a:endParaRPr lang="ru-RU" sz="1600" noProof="1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ru-RU" sz="1600" b="1" noProof="1">
                <a:solidFill>
                  <a:srgbClr val="FFFFFF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или миф</a:t>
            </a:r>
            <a:endParaRPr lang="ru-RU" sz="1600" noProof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Text 15">
            <a:extLst>
              <a:ext uri="{FF2B5EF4-FFF2-40B4-BE49-F238E27FC236}">
                <a16:creationId xmlns:a16="http://schemas.microsoft.com/office/drawing/2014/main" id="{F5728217-C847-075E-4ACC-EC3C47C2E17A}"/>
              </a:ext>
            </a:extLst>
          </p:cNvPr>
          <p:cNvSpPr/>
          <p:nvPr/>
        </p:nvSpPr>
        <p:spPr>
          <a:xfrm>
            <a:off x="609600" y="5887548"/>
            <a:ext cx="11216640" cy="36576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r>
              <a:rPr lang="ru-RU" sz="1267" i="1" noProof="1">
                <a:solidFill>
                  <a:schemeClr val="bg1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На каждом столе: конверт с 16 карточками-утверждениями (12 основанных на данных, 4 неподтверждённых)  ·  Сортировочная таблица формата А3  ·  Колода карточек SCAFFOLD</a:t>
            </a:r>
            <a:endParaRPr lang="ru-RU" sz="1267" noProof="1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9095867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25D147D-96DF-C4F1-C884-0D4F8CB4F9F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C73159A7-7D83-FE93-3FE2-20B5BAA18D83}"/>
              </a:ext>
            </a:extLst>
          </p:cNvPr>
          <p:cNvSpPr/>
          <p:nvPr/>
        </p:nvSpPr>
        <p:spPr>
          <a:xfrm>
            <a:off x="552450" y="219075"/>
            <a:ext cx="1943100" cy="12287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noProof="1"/>
          </a:p>
        </p:txBody>
      </p:sp>
      <p:pic>
        <p:nvPicPr>
          <p:cNvPr id="10" name="Picture 9" descr="A blue flag with yellow stars&#10;&#10;AI-generated content may be incorrect.">
            <a:extLst>
              <a:ext uri="{FF2B5EF4-FFF2-40B4-BE49-F238E27FC236}">
                <a16:creationId xmlns:a16="http://schemas.microsoft.com/office/drawing/2014/main" id="{E0968BA0-72C4-8F59-D2F5-3E43DF4C7A1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67" r="-524" b="5181"/>
          <a:stretch>
            <a:fillRect/>
          </a:stretch>
        </p:blipFill>
        <p:spPr bwMode="auto">
          <a:xfrm>
            <a:off x="10242394" y="7290"/>
            <a:ext cx="1783073" cy="1715333"/>
          </a:xfrm>
          <a:prstGeom prst="rect">
            <a:avLst/>
          </a:prstGeom>
          <a:noFill/>
        </p:spPr>
      </p:pic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C1E25458-36D9-0A70-82FB-B54C2890EB7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/>
        <p:txBody>
          <a:bodyPr/>
          <a:lstStyle/>
          <a:p>
            <a:endParaRPr lang="ru-RU" noProof="1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AAA1230A-4402-641C-8070-776075BAA13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ru-RU" noProof="1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D54553C-6E63-723A-332D-BA62FA4999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ru-RU" noProof="1"/>
          </a:p>
        </p:txBody>
      </p:sp>
      <p:pic>
        <p:nvPicPr>
          <p:cNvPr id="12" name="Picture 11" descr="A blue text on a black background&#10;&#10;AI-generated content may be incorrect.">
            <a:extLst>
              <a:ext uri="{FF2B5EF4-FFF2-40B4-BE49-F238E27FC236}">
                <a16:creationId xmlns:a16="http://schemas.microsoft.com/office/drawing/2014/main" id="{E7B08D45-62A4-D561-C757-C850E497781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5293" y="89083"/>
            <a:ext cx="2030830" cy="1224303"/>
          </a:xfrm>
          <a:prstGeom prst="rect">
            <a:avLst/>
          </a:prstGeom>
          <a:noFill/>
        </p:spPr>
      </p:pic>
      <p:pic>
        <p:nvPicPr>
          <p:cNvPr id="15" name="Picture 14" descr="A logo with stars and text&#10;&#10;AI-generated content may be incorrect.">
            <a:extLst>
              <a:ext uri="{FF2B5EF4-FFF2-40B4-BE49-F238E27FC236}">
                <a16:creationId xmlns:a16="http://schemas.microsoft.com/office/drawing/2014/main" id="{58E6810D-BF8D-AB28-740B-F0C0824597E7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81196" y="5210046"/>
            <a:ext cx="2111127" cy="1713490"/>
          </a:xfrm>
          <a:prstGeom prst="rect">
            <a:avLst/>
          </a:prstGeom>
        </p:spPr>
      </p:pic>
      <p:sp>
        <p:nvSpPr>
          <p:cNvPr id="3" name="Title 6">
            <a:extLst>
              <a:ext uri="{FF2B5EF4-FFF2-40B4-BE49-F238E27FC236}">
                <a16:creationId xmlns:a16="http://schemas.microsoft.com/office/drawing/2014/main" id="{96B6E29B-BCF9-DB7E-00DD-FEB436021DF5}"/>
              </a:ext>
            </a:extLst>
          </p:cNvPr>
          <p:cNvSpPr>
            <a:spLocks noGrp="1"/>
          </p:cNvSpPr>
          <p:nvPr/>
        </p:nvSpPr>
        <p:spPr>
          <a:xfrm>
            <a:off x="554249" y="1903704"/>
            <a:ext cx="6212009" cy="3305217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1600" b="0" kern="1200">
                <a:solidFill>
                  <a:schemeClr val="tx1"/>
                </a:solidFill>
                <a:latin typeface="+mj-lt"/>
                <a:ea typeface="+mj-ea"/>
                <a:cs typeface="Arial" panose="020B0604020202020204" pitchFamily="34" charset="0"/>
              </a:defRPr>
            </a:lvl1pPr>
          </a:lstStyle>
          <a:p>
            <a:pPr algn="ctr"/>
            <a:endParaRPr lang="ru-RU" sz="3600" b="1" noProof="1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505B687-BECB-301D-1C2D-06C2BAE1DE36}"/>
              </a:ext>
            </a:extLst>
          </p:cNvPr>
          <p:cNvSpPr txBox="1"/>
          <p:nvPr/>
        </p:nvSpPr>
        <p:spPr>
          <a:xfrm>
            <a:off x="615863" y="2176397"/>
            <a:ext cx="6096000" cy="5293757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ru-RU" sz="4000" b="1" cap="all" noProof="1">
                <a:latin typeface="Arial"/>
                <a:cs typeface="Arial"/>
              </a:rPr>
              <a:t>Спасибо! </a:t>
            </a:r>
          </a:p>
          <a:p>
            <a:pPr algn="ctr"/>
            <a:r>
              <a:rPr lang="ru-RU" sz="4000" b="1" cap="all" noProof="1">
                <a:latin typeface="Arial"/>
                <a:cs typeface="Arial"/>
              </a:rPr>
              <a:t>Увидимся завтра</a:t>
            </a:r>
            <a:endParaRPr lang="ru-RU" sz="4000" cap="all" noProof="1">
              <a:latin typeface="Arial"/>
              <a:cs typeface="Arial"/>
            </a:endParaRPr>
          </a:p>
          <a:p>
            <a:pPr algn="ctr"/>
            <a:endParaRPr lang="ru-RU" sz="4000" cap="all" noProof="1">
              <a:latin typeface="Arial"/>
              <a:cs typeface="Arial"/>
            </a:endParaRPr>
          </a:p>
          <a:p>
            <a:pPr algn="ctr"/>
            <a:r>
              <a:rPr lang="ru-RU" sz="4000" b="1" cap="all" noProof="1">
                <a:latin typeface="Arial"/>
                <a:cs typeface="Arial"/>
              </a:rPr>
              <a:t>Thanks! </a:t>
            </a:r>
          </a:p>
          <a:p>
            <a:pPr algn="ctr"/>
            <a:r>
              <a:rPr lang="ru-RU" sz="4000" b="1" cap="all" noProof="1">
                <a:latin typeface="Arial"/>
                <a:cs typeface="Arial"/>
              </a:rPr>
              <a:t>See you tomorrow</a:t>
            </a:r>
            <a:endParaRPr lang="ru-RU" sz="4000" cap="all" noProof="1">
              <a:latin typeface="Arial"/>
              <a:cs typeface="Arial"/>
            </a:endParaRPr>
          </a:p>
          <a:p>
            <a:pPr algn="ctr"/>
            <a:endParaRPr lang="ru-RU" sz="4000" cap="all" noProof="1">
              <a:latin typeface="Arial"/>
              <a:cs typeface="Arial"/>
            </a:endParaRPr>
          </a:p>
          <a:p>
            <a:pPr algn="ctr"/>
            <a:endParaRPr lang="ru-RU" sz="4000" b="1" cap="all" noProof="1">
              <a:cs typeface="Arial"/>
            </a:endParaRPr>
          </a:p>
          <a:p>
            <a:pPr algn="ctr"/>
            <a:endParaRPr lang="ru-RU" sz="4000" b="1" cap="all" noProof="1">
              <a:cs typeface="Arial"/>
            </a:endParaRPr>
          </a:p>
          <a:p>
            <a:pPr algn="ctr"/>
            <a:endParaRPr lang="ru-RU" noProof="1"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71014858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67CF7F8-B6D6-050F-3B87-6212E066B87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14ADF2D8-3422-5127-833A-E2944DFF7B2B}"/>
              </a:ext>
            </a:extLst>
          </p:cNvPr>
          <p:cNvSpPr/>
          <p:nvPr/>
        </p:nvSpPr>
        <p:spPr>
          <a:xfrm>
            <a:off x="552450" y="219075"/>
            <a:ext cx="1943100" cy="12287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noProof="1"/>
          </a:p>
        </p:txBody>
      </p:sp>
      <p:pic>
        <p:nvPicPr>
          <p:cNvPr id="10" name="Picture 9" descr="A blue flag with yellow stars&#10;&#10;AI-generated content may be incorrect.">
            <a:extLst>
              <a:ext uri="{FF2B5EF4-FFF2-40B4-BE49-F238E27FC236}">
                <a16:creationId xmlns:a16="http://schemas.microsoft.com/office/drawing/2014/main" id="{3972B692-CDE4-569E-E84C-9AFB3AA14C7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67" r="-524" b="5181"/>
          <a:stretch>
            <a:fillRect/>
          </a:stretch>
        </p:blipFill>
        <p:spPr bwMode="auto">
          <a:xfrm>
            <a:off x="8666812" y="89083"/>
            <a:ext cx="1783073" cy="1715333"/>
          </a:xfrm>
          <a:prstGeom prst="rect">
            <a:avLst/>
          </a:prstGeom>
          <a:noFill/>
        </p:spPr>
      </p:pic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3C86B1DB-1F13-9DD3-E4D5-77C6D905CF4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/>
        <p:txBody>
          <a:bodyPr/>
          <a:lstStyle/>
          <a:p>
            <a:endParaRPr lang="ru-RU" noProof="1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C02FF552-614C-73BB-3370-48B3EBB2909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ru-RU" noProof="1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D9556389-290D-0CCC-E467-79E60355415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ru-RU" noProof="1"/>
          </a:p>
        </p:txBody>
      </p:sp>
      <p:pic>
        <p:nvPicPr>
          <p:cNvPr id="12" name="Picture 11" descr="A blue text on a black background&#10;&#10;AI-generated content may be incorrect.">
            <a:extLst>
              <a:ext uri="{FF2B5EF4-FFF2-40B4-BE49-F238E27FC236}">
                <a16:creationId xmlns:a16="http://schemas.microsoft.com/office/drawing/2014/main" id="{47B43808-435D-6A6C-2B76-5C3CDD9B481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5293" y="89083"/>
            <a:ext cx="2030830" cy="1224303"/>
          </a:xfrm>
          <a:prstGeom prst="rect">
            <a:avLst/>
          </a:prstGeom>
          <a:noFill/>
        </p:spPr>
      </p:pic>
      <p:pic>
        <p:nvPicPr>
          <p:cNvPr id="15" name="Picture 14" descr="A logo with stars and text&#10;&#10;AI-generated content may be incorrect.">
            <a:extLst>
              <a:ext uri="{FF2B5EF4-FFF2-40B4-BE49-F238E27FC236}">
                <a16:creationId xmlns:a16="http://schemas.microsoft.com/office/drawing/2014/main" id="{34BE811E-9E0B-4CB7-BFD0-D127174A1542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81196" y="5210046"/>
            <a:ext cx="2111127" cy="1713490"/>
          </a:xfrm>
          <a:prstGeom prst="rect">
            <a:avLst/>
          </a:prstGeom>
        </p:spPr>
      </p:pic>
      <p:sp>
        <p:nvSpPr>
          <p:cNvPr id="2" name="Title 6">
            <a:extLst>
              <a:ext uri="{FF2B5EF4-FFF2-40B4-BE49-F238E27FC236}">
                <a16:creationId xmlns:a16="http://schemas.microsoft.com/office/drawing/2014/main" id="{89635652-B499-618D-2273-71FD268C6969}"/>
              </a:ext>
            </a:extLst>
          </p:cNvPr>
          <p:cNvSpPr>
            <a:spLocks noGrp="1"/>
          </p:cNvSpPr>
          <p:nvPr/>
        </p:nvSpPr>
        <p:spPr>
          <a:xfrm>
            <a:off x="554249" y="1903704"/>
            <a:ext cx="6911378" cy="3305217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1600" b="0" kern="1200">
                <a:solidFill>
                  <a:schemeClr val="tx1"/>
                </a:solidFill>
                <a:latin typeface="+mj-lt"/>
                <a:ea typeface="+mj-ea"/>
                <a:cs typeface="Arial" panose="020B0604020202020204" pitchFamily="34" charset="0"/>
              </a:defRPr>
            </a:lvl1pPr>
          </a:lstStyle>
          <a:p>
            <a:pPr algn="ctr"/>
            <a:r>
              <a:rPr lang="ru-RU" sz="2400" b="1" noProof="1">
                <a:cs typeface="Arial"/>
              </a:rPr>
              <a:t>DARYA SCAFFOLD  </a:t>
            </a:r>
          </a:p>
          <a:p>
            <a:pPr algn="ctr"/>
            <a:r>
              <a:rPr lang="ru-RU" sz="2400" b="1" noProof="1">
                <a:cs typeface="Arial"/>
              </a:rPr>
              <a:t>Трёхдневный тренинг по профессиональному развитию педагогов для специалистов и тренеров</a:t>
            </a:r>
            <a:endParaRPr lang="ru-RU" sz="1400" b="1" noProof="1">
              <a:cs typeface="Arial"/>
            </a:endParaRPr>
          </a:p>
          <a:p>
            <a:pPr algn="ctr"/>
            <a:endParaRPr lang="ru-RU" sz="2400" b="1" noProof="1">
              <a:cs typeface="Arial"/>
            </a:endParaRPr>
          </a:p>
          <a:p>
            <a:pPr algn="ctr"/>
            <a:r>
              <a:rPr lang="ru-RU" sz="2400" b="1" noProof="1">
                <a:cs typeface="Arial"/>
              </a:rPr>
              <a:t>День 3</a:t>
            </a:r>
            <a:endParaRPr lang="ru-RU" sz="2400" noProof="1">
              <a:cs typeface="Arial"/>
            </a:endParaRPr>
          </a:p>
          <a:p>
            <a:pPr algn="ctr"/>
            <a:endParaRPr lang="ru-RU" sz="3200" b="1" noProof="1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317DDE6B-CD7C-4FF8-571B-9C7A09EB6006}"/>
              </a:ext>
            </a:extLst>
          </p:cNvPr>
          <p:cNvSpPr txBox="1"/>
          <p:nvPr/>
        </p:nvSpPr>
        <p:spPr>
          <a:xfrm>
            <a:off x="836541" y="4645068"/>
            <a:ext cx="6096000" cy="1107996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ru-RU" sz="2400" b="1" cap="all" noProof="1">
                <a:solidFill>
                  <a:srgbClr val="000000"/>
                </a:solidFill>
              </a:rPr>
              <a:t>27-29</a:t>
            </a:r>
            <a:r>
              <a:rPr lang="ru-RU" sz="2400" b="1" cap="all" noProof="1"/>
              <a:t> апреля 2026 г., </a:t>
            </a:r>
          </a:p>
          <a:p>
            <a:pPr algn="ctr"/>
            <a:r>
              <a:rPr lang="ru-RU" sz="2400" b="1" cap="all" noProof="1">
                <a:cs typeface="Arial"/>
              </a:rPr>
              <a:t>Алматы, Казахстан</a:t>
            </a:r>
            <a:endParaRPr lang="ru-RU" sz="2400" b="1" noProof="1">
              <a:cs typeface="Arial" panose="020B0604020202020204"/>
            </a:endParaRPr>
          </a:p>
          <a:p>
            <a:pPr algn="ctr"/>
            <a:endParaRPr lang="ru-RU" noProof="1">
              <a:cs typeface="Arial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0167EF05-CCCE-F83D-AC1C-BF69CDF32D89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20012" y="-1"/>
            <a:ext cx="1528861" cy="15288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0784860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C8308E7-10F8-A22E-08FE-E9F2844C018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FF91928-5C51-74C1-C172-A42D7162696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DB84476-BC29-4407-9D57-B2E562B8968B}" type="slidenum">
              <a:rPr lang="ru-RU" noProof="1" smtClean="0"/>
              <a:pPr/>
              <a:t>162</a:t>
            </a:fld>
            <a:endParaRPr lang="ru-RU" noProof="1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926811B6-6FEF-4077-7E82-670290489F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5317" y="422444"/>
            <a:ext cx="9734368" cy="1080120"/>
          </a:xfrm>
        </p:spPr>
        <p:txBody>
          <a:bodyPr/>
          <a:lstStyle/>
          <a:p>
            <a:r>
              <a:rPr lang="ru-RU" noProof="1"/>
              <a:t>Конкурс «Лучшие инсайты тренинга»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1C96B588-DFED-1B8F-5CFC-3EF96EDEFE4F}"/>
              </a:ext>
            </a:extLst>
          </p:cNvPr>
          <p:cNvSpPr txBox="1"/>
          <p:nvPr/>
        </p:nvSpPr>
        <p:spPr>
          <a:xfrm>
            <a:off x="635317" y="1587109"/>
            <a:ext cx="5276386" cy="415498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buNone/>
            </a:pPr>
            <a:r>
              <a:rPr lang="ru-RU" sz="2400" noProof="1">
                <a:solidFill>
                  <a:schemeClr val="bg1"/>
                </a:solidFill>
              </a:rPr>
              <a:t>Поделитесь самым запомнившимся моментом тренинга в нашей Telegram-группе DARYA SCAFFOLD</a:t>
            </a:r>
          </a:p>
          <a:p>
            <a:pPr>
              <a:buNone/>
            </a:pPr>
            <a:endParaRPr lang="ru-RU" sz="2400" b="1" noProof="1">
              <a:solidFill>
                <a:schemeClr val="bg1"/>
              </a:solidFill>
            </a:endParaRPr>
          </a:p>
          <a:p>
            <a:pPr>
              <a:buNone/>
            </a:pPr>
            <a:r>
              <a:rPr lang="ru-RU" sz="2400" b="1" noProof="1">
                <a:solidFill>
                  <a:schemeClr val="bg1"/>
                </a:solidFill>
              </a:rPr>
              <a:t>Как участвовать:</a:t>
            </a:r>
            <a:r>
              <a:rPr lang="ru-RU" sz="2400" noProof="1">
                <a:solidFill>
                  <a:schemeClr val="bg1"/>
                </a:solidFill>
              </a:rPr>
              <a:t> Опубликуйте пост с </a:t>
            </a:r>
            <a:r>
              <a:rPr lang="ru-RU" sz="2400" b="1" u="sng" noProof="1">
                <a:solidFill>
                  <a:schemeClr val="bg1"/>
                </a:solidFill>
              </a:rPr>
              <a:t>рефлексией</a:t>
            </a:r>
            <a:r>
              <a:rPr lang="ru-RU" sz="2400" noProof="1">
                <a:solidFill>
                  <a:schemeClr val="bg1"/>
                </a:solidFill>
              </a:rPr>
              <a:t> по любой сессии или элементу программы. Важны не просто фотографии, а ваши мысли и основные выводы. </a:t>
            </a:r>
          </a:p>
          <a:p>
            <a:pPr>
              <a:buNone/>
            </a:pPr>
            <a:endParaRPr lang="ru-RU" sz="2400" b="1" noProof="1">
              <a:solidFill>
                <a:schemeClr val="bg1"/>
              </a:solidFill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2C05E378-B262-0F4E-A464-E78DA6AB6D45}"/>
              </a:ext>
            </a:extLst>
          </p:cNvPr>
          <p:cNvSpPr txBox="1"/>
          <p:nvPr/>
        </p:nvSpPr>
        <p:spPr>
          <a:xfrm>
            <a:off x="6495588" y="1587109"/>
            <a:ext cx="5072524" cy="34163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buNone/>
            </a:pPr>
            <a:r>
              <a:rPr lang="ru-RU" sz="2400" b="1" noProof="1">
                <a:solidFill>
                  <a:schemeClr val="bg1"/>
                </a:solidFill>
              </a:rPr>
              <a:t>Критерии оценки:</a:t>
            </a:r>
            <a:endParaRPr lang="ru-RU" sz="2400" noProof="1">
              <a:solidFill>
                <a:schemeClr val="bg1"/>
              </a:solidFill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ru-RU" sz="2400" noProof="1">
                <a:solidFill>
                  <a:schemeClr val="bg1"/>
                </a:solidFill>
              </a:rPr>
              <a:t>Ясность и точность мысли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ru-RU" sz="2400" noProof="1">
                <a:solidFill>
                  <a:schemeClr val="bg1"/>
                </a:solidFill>
              </a:rPr>
              <a:t>Отражение ключевых идей обучения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ru-RU" sz="2400" noProof="1">
                <a:solidFill>
                  <a:schemeClr val="bg1"/>
                </a:solidFill>
              </a:rPr>
              <a:t>Доступность для всех участников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ru-RU" sz="2400" noProof="1">
                <a:solidFill>
                  <a:schemeClr val="bg1"/>
                </a:solidFill>
              </a:rPr>
              <a:t>Визуальная привлекательность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ru-RU" sz="2400" noProof="1">
              <a:solidFill>
                <a:schemeClr val="bg1"/>
              </a:solidFill>
            </a:endParaRPr>
          </a:p>
          <a:p>
            <a:pPr>
              <a:buNone/>
            </a:pPr>
            <a:r>
              <a:rPr lang="ru-RU" sz="2400" b="1" noProof="1">
                <a:solidFill>
                  <a:schemeClr val="bg1"/>
                </a:solidFill>
              </a:rPr>
              <a:t>Дедлайн сегодня в 13:00</a:t>
            </a:r>
            <a:r>
              <a:rPr lang="ru-RU" sz="2400" noProof="1">
                <a:solidFill>
                  <a:schemeClr val="bg1"/>
                </a:solidFill>
              </a:rPr>
              <a:t>🎯</a:t>
            </a:r>
          </a:p>
        </p:txBody>
      </p:sp>
    </p:spTree>
    <p:extLst>
      <p:ext uri="{BB962C8B-B14F-4D97-AF65-F5344CB8AC3E}">
        <p14:creationId xmlns:p14="http://schemas.microsoft.com/office/powerpoint/2010/main" val="146743276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D03722E-4681-8E0F-3588-943FB9EDE3D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B20C8238-DA10-3623-3293-6DC60B977DD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87" y="274577"/>
            <a:ext cx="10944225" cy="1080120"/>
          </a:xfrm>
        </p:spPr>
        <p:txBody>
          <a:bodyPr/>
          <a:lstStyle/>
          <a:p>
            <a:r>
              <a:rPr lang="ru-RU" noProof="1"/>
              <a:t>Ваши вопросы и сомнения — ответы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7E594C38-A9E3-2033-12F4-76B965986863}"/>
              </a:ext>
            </a:extLst>
          </p:cNvPr>
          <p:cNvSpPr txBox="1"/>
          <p:nvPr/>
        </p:nvSpPr>
        <p:spPr>
          <a:xfrm>
            <a:off x="612457" y="1412777"/>
            <a:ext cx="11167168" cy="532453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700" b="1" noProof="1">
                <a:solidFill>
                  <a:schemeClr val="bg1"/>
                </a:solidFill>
              </a:rPr>
              <a:t>Как мы можем внедрять SCAFFOLD на практике с реальной группой?</a:t>
            </a:r>
            <a:br>
              <a:rPr lang="ru-RU" sz="1700" noProof="1">
                <a:solidFill>
                  <a:schemeClr val="bg1"/>
                </a:solidFill>
              </a:rPr>
            </a:br>
            <a:r>
              <a:rPr lang="ru-RU" sz="1700" noProof="1">
                <a:solidFill>
                  <a:schemeClr val="bg1"/>
                </a:solidFill>
              </a:rPr>
              <a:t>Начните с малого. Выберите один реальный урок, учебное занятие или задачу по разработке учебной программы. Используйте карточки, чтобы структурировать обсуждение: сначала уточните учебный результат, затем выберите компетенции, после этого определите методы обучения и подходы к оцениванию. Цель состоит не в том, чтобы использовать все карточки, а в том, чтобы выбрать правильные карточки для улучшения дизайна обучения.</a:t>
            </a:r>
          </a:p>
          <a:p>
            <a:endParaRPr lang="ru-RU" sz="1700" noProof="1">
              <a:solidFill>
                <a:schemeClr val="bg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700" b="1" noProof="1">
                <a:solidFill>
                  <a:schemeClr val="bg1"/>
                </a:solidFill>
              </a:rPr>
              <a:t>Как мы можем адаптировать SCAFFOLD к нашему национальному контексту?</a:t>
            </a:r>
            <a:br>
              <a:rPr lang="ru-RU" sz="1700" noProof="1">
                <a:solidFill>
                  <a:schemeClr val="bg1"/>
                </a:solidFill>
              </a:rPr>
            </a:br>
            <a:r>
              <a:rPr lang="ru-RU" sz="1700" noProof="1">
                <a:solidFill>
                  <a:schemeClr val="bg1"/>
                </a:solidFill>
              </a:rPr>
              <a:t>SCAFFOLD — это не готовая программа, которую нужно просто скопировать. Это гибкий инструмент планирования. Каждая страна должна связать его со своими приоритетами учебной программы, целями профессионального развития педагогов, показателями качества и потребностями обучающихся. Ключевой вопрос: «Что мы хотим, чтобы педагоги и обучающиеся делали по-другому в нашем контексте?»</a:t>
            </a:r>
          </a:p>
          <a:p>
            <a:endParaRPr lang="ru-RU" sz="1700" noProof="1">
              <a:solidFill>
                <a:schemeClr val="bg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700" b="1" noProof="1">
                <a:solidFill>
                  <a:schemeClr val="bg1"/>
                </a:solidFill>
              </a:rPr>
              <a:t>Как обеспечить активное участие каждого участника?</a:t>
            </a:r>
            <a:br>
              <a:rPr lang="ru-RU" sz="1700" noProof="1">
                <a:solidFill>
                  <a:schemeClr val="bg1"/>
                </a:solidFill>
              </a:rPr>
            </a:br>
            <a:r>
              <a:rPr lang="ru-RU" sz="1700" noProof="1">
                <a:solidFill>
                  <a:schemeClr val="bg1"/>
                </a:solidFill>
              </a:rPr>
              <a:t>Заложите участие в саму структуру задания. Дайте каждому человеку определённую роль, например: следящий за временем, задающий вопросы, читающий карточки, записывающий идеи или представляющий результаты. Используйте обсуждение в парах перед обсуждением в группе, чтобы у более спокойных участников было время подумать. Попросите группы собрать идеи от каждого участника, а не только от тех, кто говорит быстрее всех.</a:t>
            </a:r>
          </a:p>
        </p:txBody>
      </p:sp>
    </p:spTree>
    <p:extLst>
      <p:ext uri="{BB962C8B-B14F-4D97-AF65-F5344CB8AC3E}">
        <p14:creationId xmlns:p14="http://schemas.microsoft.com/office/powerpoint/2010/main" val="263666068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AE1E52D-3E0C-CF56-1011-E999B0346C4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E6045B49-3B28-978D-5233-0A14CAD67B7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87" y="274577"/>
            <a:ext cx="10944225" cy="1080120"/>
          </a:xfrm>
        </p:spPr>
        <p:txBody>
          <a:bodyPr/>
          <a:lstStyle/>
          <a:p>
            <a:r>
              <a:rPr lang="ru-RU" noProof="1"/>
              <a:t>Ваши вопросы и сомнения — ответы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DF08F03-B243-0A08-589C-07CFAFE2A928}"/>
              </a:ext>
            </a:extLst>
          </p:cNvPr>
          <p:cNvSpPr txBox="1"/>
          <p:nvPr/>
        </p:nvSpPr>
        <p:spPr>
          <a:xfrm>
            <a:off x="612457" y="1412777"/>
            <a:ext cx="11167168" cy="532453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700" b="1" noProof="1">
                <a:solidFill>
                  <a:schemeClr val="bg1"/>
                </a:solidFill>
              </a:rPr>
              <a:t>Как мы можем сбалансировать теорию, практику, обсуждение и рефлексию в короткой сессии?</a:t>
            </a:r>
            <a:br>
              <a:rPr lang="ru-RU" sz="1700" noProof="1">
                <a:solidFill>
                  <a:schemeClr val="bg1"/>
                </a:solidFill>
              </a:rPr>
            </a:br>
            <a:r>
              <a:rPr lang="ru-RU" sz="1700" noProof="1">
                <a:solidFill>
                  <a:schemeClr val="bg1"/>
                </a:solidFill>
              </a:rPr>
              <a:t>Используйте простой ритм: краткое объяснение, практическое задание, обсуждение, рефлексия. Избегайте длинных презентаций. Например: 10 минут объяснения, 20 минут групповой работы, 10 минут для обмена результатами и 5 минут для рефлексии. Рефлексию не следует оставлять только на конец; включайте её на протяжении всей сессии.</a:t>
            </a:r>
          </a:p>
          <a:p>
            <a:endParaRPr lang="ru-RU" sz="1700" b="1" noProof="1">
              <a:solidFill>
                <a:schemeClr val="bg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700" b="1" noProof="1">
                <a:solidFill>
                  <a:schemeClr val="bg1"/>
                </a:solidFill>
              </a:rPr>
              <a:t>Как мы поймём, что внедрение прошло успешно?</a:t>
            </a:r>
            <a:br>
              <a:rPr lang="ru-RU" sz="1700" noProof="1">
                <a:solidFill>
                  <a:schemeClr val="bg1"/>
                </a:solidFill>
              </a:rPr>
            </a:br>
            <a:r>
              <a:rPr lang="ru-RU" sz="1700" noProof="1">
                <a:solidFill>
                  <a:schemeClr val="bg1"/>
                </a:solidFill>
              </a:rPr>
              <a:t>Ищите доказательства переноса в практику. Успех заключается не только в том, что участникам понравилась сессия, но и в том, что они могут объяснить инструмент, использовать его с меньшей поддержкой, адаптировать его к своему контексту и определить следующий шаг. Полезные индикаторы включают уверенность, качество разработанных уроков, рефлексию участников и доказательства изменений в классе или образовательной программе.</a:t>
            </a:r>
          </a:p>
          <a:p>
            <a:endParaRPr lang="ru-RU" sz="1700" b="1" noProof="1">
              <a:solidFill>
                <a:schemeClr val="bg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700" b="1" noProof="1">
                <a:solidFill>
                  <a:schemeClr val="bg1"/>
                </a:solidFill>
              </a:rPr>
              <a:t>Как мы можем помочь педагогам перейти от передачи знаний к наставничеству и обучению, связанному с реальной жизнью?</a:t>
            </a:r>
            <a:br>
              <a:rPr lang="ru-RU" sz="1700" noProof="1">
                <a:solidFill>
                  <a:schemeClr val="bg1"/>
                </a:solidFill>
              </a:rPr>
            </a:br>
            <a:r>
              <a:rPr lang="ru-RU" sz="1700" noProof="1">
                <a:solidFill>
                  <a:schemeClr val="bg1"/>
                </a:solidFill>
              </a:rPr>
              <a:t>Начните с изменения роли педагога: от «объясняющего» к «дизайнеру учебного опыта». Педагоги могут использовать реальные проблемы рабочего места или сообщества, предлагать обучающимся исследовать, сотрудничать и создавать ценность, а затем использовать SCAFFOLD для планирования необходимой поддержки. Педагог по-прежнему направляет обучение, но обучающиеся берут на себя больше ответственности за применение знаний. </a:t>
            </a:r>
          </a:p>
        </p:txBody>
      </p:sp>
    </p:spTree>
    <p:extLst>
      <p:ext uri="{BB962C8B-B14F-4D97-AF65-F5344CB8AC3E}">
        <p14:creationId xmlns:p14="http://schemas.microsoft.com/office/powerpoint/2010/main" val="394253017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0"/>
          <p:cNvSpPr/>
          <p:nvPr/>
        </p:nvSpPr>
        <p:spPr>
          <a:xfrm>
            <a:off x="7498080" y="476616"/>
            <a:ext cx="5120640" cy="548640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algn="r"/>
            <a:r>
              <a:rPr lang="ru-RU" sz="35599" b="1" noProof="1">
                <a:solidFill>
                  <a:srgbClr val="0092BB">
                    <a:alpha val="40000"/>
                  </a:srgbClr>
                </a:solidFill>
                <a:latin typeface="Trebuchet MS" pitchFamily="34" charset="0"/>
                <a:ea typeface="Trebuchet MS" pitchFamily="34" charset="-122"/>
                <a:cs typeface="Trebuchet MS" pitchFamily="34" charset="-120"/>
              </a:rPr>
              <a:t>0</a:t>
            </a:r>
          </a:p>
          <a:p>
            <a:pPr algn="r"/>
            <a:r>
              <a:rPr lang="ru-RU" sz="29733" b="1" noProof="1">
                <a:solidFill>
                  <a:srgbClr val="0092BB">
                    <a:alpha val="40000"/>
                  </a:srgbClr>
                </a:solidFill>
                <a:latin typeface="Trebuchet MS" pitchFamily="34" charset="0"/>
                <a:ea typeface="Trebuchet MS" pitchFamily="34" charset="-122"/>
                <a:cs typeface="Trebuchet MS" pitchFamily="34" charset="-120"/>
              </a:rPr>
              <a:t>10</a:t>
            </a:r>
            <a:endParaRPr lang="ru-RU" sz="42666" noProof="1"/>
          </a:p>
        </p:txBody>
      </p:sp>
      <p:sp>
        <p:nvSpPr>
          <p:cNvPr id="3" name="Shape 1"/>
          <p:cNvSpPr/>
          <p:nvPr/>
        </p:nvSpPr>
        <p:spPr>
          <a:xfrm>
            <a:off x="654178" y="1289538"/>
            <a:ext cx="101727" cy="3152108"/>
          </a:xfrm>
          <a:prstGeom prst="rect">
            <a:avLst/>
          </a:prstGeom>
          <a:solidFill>
            <a:srgbClr val="FFDC00"/>
          </a:solidFill>
          <a:ln w="12700">
            <a:solidFill>
              <a:srgbClr val="FFDC00"/>
            </a:solidFill>
            <a:prstDash val="solid"/>
          </a:ln>
        </p:spPr>
        <p:txBody>
          <a:bodyPr/>
          <a:lstStyle/>
          <a:p>
            <a:endParaRPr lang="ru-RU" sz="2400" noProof="1"/>
          </a:p>
        </p:txBody>
      </p:sp>
      <p:sp>
        <p:nvSpPr>
          <p:cNvPr id="4" name="Text 2"/>
          <p:cNvSpPr/>
          <p:nvPr/>
        </p:nvSpPr>
        <p:spPr>
          <a:xfrm>
            <a:off x="914400" y="1975104"/>
            <a:ext cx="9144000" cy="146304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r>
              <a:rPr lang="ru-RU" sz="3200" b="1" noProof="1">
                <a:solidFill>
                  <a:srgbClr val="FFFFFF"/>
                </a:solidFill>
                <a:latin typeface="Arial" panose="020B0604020202020204" pitchFamily="34" charset="0"/>
                <a:ea typeface="Trebuchet MS" pitchFamily="34" charset="-122"/>
                <a:cs typeface="Arial" panose="020B0604020202020204" pitchFamily="34" charset="0"/>
              </a:rPr>
              <a:t>Реализация профессионального развития педагогов на основе SCAFFOLD:</a:t>
            </a:r>
          </a:p>
          <a:p>
            <a:r>
              <a:rPr lang="ru-RU" sz="3200" noProof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Фасилитация с профессионалами</a:t>
            </a:r>
          </a:p>
        </p:txBody>
      </p:sp>
      <p:sp>
        <p:nvSpPr>
          <p:cNvPr id="5" name="Shape 3"/>
          <p:cNvSpPr/>
          <p:nvPr/>
        </p:nvSpPr>
        <p:spPr>
          <a:xfrm>
            <a:off x="1072896" y="3929583"/>
            <a:ext cx="3413760" cy="512064"/>
          </a:xfrm>
          <a:prstGeom prst="roundRect">
            <a:avLst>
              <a:gd name="adj" fmla="val 14286"/>
            </a:avLst>
          </a:prstGeom>
          <a:solidFill>
            <a:srgbClr val="FFDC00"/>
          </a:solidFill>
          <a:ln w="12700">
            <a:solidFill>
              <a:srgbClr val="FFDC00"/>
            </a:solidFill>
            <a:prstDash val="solid"/>
          </a:ln>
        </p:spPr>
        <p:txBody>
          <a:bodyPr/>
          <a:lstStyle/>
          <a:p>
            <a:endParaRPr lang="ru-RU" sz="2400" noProof="1"/>
          </a:p>
        </p:txBody>
      </p:sp>
      <p:sp>
        <p:nvSpPr>
          <p:cNvPr id="6" name="Text 4"/>
          <p:cNvSpPr/>
          <p:nvPr/>
        </p:nvSpPr>
        <p:spPr>
          <a:xfrm>
            <a:off x="1072896" y="3929583"/>
            <a:ext cx="3255264" cy="512064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algn="ctr"/>
            <a:r>
              <a:rPr lang="ru-RU" sz="1867" b="1" noProof="1">
                <a:solidFill>
                  <a:schemeClr val="accent2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09:15 – 10:30  ·  75 минут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E1B45D38-AD4C-7942-7C64-34E1555CE5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72897" y="894984"/>
            <a:ext cx="10944225" cy="1080120"/>
          </a:xfrm>
        </p:spPr>
        <p:txBody>
          <a:bodyPr/>
          <a:lstStyle/>
          <a:p>
            <a:r>
              <a:rPr lang="ru-RU" sz="3200" noProof="1">
                <a:solidFill>
                  <a:schemeClr val="accent4"/>
                </a:solidFill>
                <a:latin typeface="Arial" panose="020B0604020202020204" pitchFamily="34" charset="0"/>
                <a:ea typeface="Georgia" pitchFamily="34" charset="-122"/>
              </a:rPr>
              <a:t>Сессия 10</a:t>
            </a:r>
            <a:endParaRPr lang="ru-RU" noProof="1">
              <a:solidFill>
                <a:schemeClr val="accent4"/>
              </a:solidFill>
              <a:latin typeface="Arial" panose="020B0604020202020204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2F49648C-8699-D54D-D884-894BB7BEE0AA}"/>
              </a:ext>
            </a:extLst>
          </p:cNvPr>
          <p:cNvSpPr txBox="1"/>
          <p:nvPr/>
        </p:nvSpPr>
        <p:spPr>
          <a:xfrm>
            <a:off x="914401" y="4444724"/>
            <a:ext cx="427555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ru-RU" sz="1400" i="1" noProof="1">
              <a:solidFill>
                <a:schemeClr val="bg1"/>
              </a:solidFill>
            </a:endParaRPr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12122CC9-D04B-5FE8-94CF-95299E0DBD8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noProof="1"/>
              <a:t>Цель и результаты обучения</a:t>
            </a:r>
          </a:p>
        </p:txBody>
      </p:sp>
      <p:sp>
        <p:nvSpPr>
          <p:cNvPr id="4" name="Shape 2">
            <a:extLst>
              <a:ext uri="{FF2B5EF4-FFF2-40B4-BE49-F238E27FC236}">
                <a16:creationId xmlns:a16="http://schemas.microsoft.com/office/drawing/2014/main" id="{2D486ADA-5286-0BA7-EF26-6A74B6ADE770}"/>
              </a:ext>
            </a:extLst>
          </p:cNvPr>
          <p:cNvSpPr/>
          <p:nvPr/>
        </p:nvSpPr>
        <p:spPr>
          <a:xfrm>
            <a:off x="635317" y="1539240"/>
            <a:ext cx="11216640" cy="1889760"/>
          </a:xfrm>
          <a:prstGeom prst="rect">
            <a:avLst/>
          </a:prstGeom>
          <a:solidFill>
            <a:srgbClr val="D6F0F3"/>
          </a:solidFill>
          <a:ln w="7620">
            <a:solidFill>
              <a:srgbClr val="B2D8DE"/>
            </a:solidFill>
            <a:prstDash val="solid"/>
          </a:ln>
        </p:spPr>
        <p:txBody>
          <a:bodyPr/>
          <a:lstStyle/>
          <a:p>
            <a:endParaRPr lang="ru-RU" sz="2400" noProof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Text 3">
            <a:extLst>
              <a:ext uri="{FF2B5EF4-FFF2-40B4-BE49-F238E27FC236}">
                <a16:creationId xmlns:a16="http://schemas.microsoft.com/office/drawing/2014/main" id="{9483296C-CDF3-E3B2-1254-67400B10B335}"/>
              </a:ext>
            </a:extLst>
          </p:cNvPr>
          <p:cNvSpPr/>
          <p:nvPr/>
        </p:nvSpPr>
        <p:spPr>
          <a:xfrm>
            <a:off x="879157" y="1661160"/>
            <a:ext cx="10972800" cy="36576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r>
              <a:rPr lang="ru-RU" sz="1467" b="1" kern="0" spc="267" noProof="1">
                <a:solidFill>
                  <a:srgbClr val="027A87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ЦЕЛЬ</a:t>
            </a:r>
            <a:endParaRPr lang="ru-RU" sz="1467" noProof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Text 4">
            <a:extLst>
              <a:ext uri="{FF2B5EF4-FFF2-40B4-BE49-F238E27FC236}">
                <a16:creationId xmlns:a16="http://schemas.microsoft.com/office/drawing/2014/main" id="{45F3B59A-D433-3A07-AD65-0DC441841EC8}"/>
              </a:ext>
            </a:extLst>
          </p:cNvPr>
          <p:cNvSpPr/>
          <p:nvPr/>
        </p:nvSpPr>
        <p:spPr>
          <a:xfrm>
            <a:off x="879157" y="2026920"/>
            <a:ext cx="10972800" cy="1341120"/>
          </a:xfrm>
          <a:prstGeom prst="rect">
            <a:avLst/>
          </a:prstGeom>
          <a:noFill/>
          <a:ln/>
        </p:spPr>
        <p:txBody>
          <a:bodyPr wrap="square" rtlCol="0" anchor="t"/>
          <a:lstStyle/>
          <a:p>
            <a:r>
              <a:rPr lang="ru-RU" sz="1600" noProof="1">
                <a:solidFill>
                  <a:srgbClr val="16303A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Подготовить вас к симуляции реализации в Сессии 11 — дав точное, честное представление о том, что на самом деле требует фасилитация профессионального развития педагогов со взрослыми профессионалами. Включая то, как это выглядит, когда решение фасилитатора не срабатывает так, как планировалось. Четыре вызова, названных в этой сессии, проявляются по-разному в контекстах средней школы, ПОО и практического обучения — ваша задача перевести каждый из них применительно к вашей группе педагогов.</a:t>
            </a:r>
            <a:endParaRPr lang="ru-RU" sz="1600" noProof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Text 5">
            <a:extLst>
              <a:ext uri="{FF2B5EF4-FFF2-40B4-BE49-F238E27FC236}">
                <a16:creationId xmlns:a16="http://schemas.microsoft.com/office/drawing/2014/main" id="{C27103E9-00BA-B05B-5D8B-5EE0CE09DFF4}"/>
              </a:ext>
            </a:extLst>
          </p:cNvPr>
          <p:cNvSpPr/>
          <p:nvPr/>
        </p:nvSpPr>
        <p:spPr>
          <a:xfrm>
            <a:off x="635317" y="3733800"/>
            <a:ext cx="11460480" cy="36576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r>
              <a:rPr lang="ru-RU" sz="1467" b="1" kern="0" spc="267" noProof="1">
                <a:solidFill>
                  <a:schemeClr val="bg1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К КОНЦУ ЭТОЙ СЕССИИ ВЫ СМОЖЕТЕ:</a:t>
            </a:r>
            <a:endParaRPr lang="ru-RU" sz="1467" noProof="1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Shape 6">
            <a:extLst>
              <a:ext uri="{FF2B5EF4-FFF2-40B4-BE49-F238E27FC236}">
                <a16:creationId xmlns:a16="http://schemas.microsoft.com/office/drawing/2014/main" id="{8E0EC52F-7F16-8E01-1F26-F564805FBE77}"/>
              </a:ext>
            </a:extLst>
          </p:cNvPr>
          <p:cNvSpPr/>
          <p:nvPr/>
        </p:nvSpPr>
        <p:spPr>
          <a:xfrm>
            <a:off x="757237" y="4319016"/>
            <a:ext cx="487680" cy="487680"/>
          </a:xfrm>
          <a:prstGeom prst="ellipse">
            <a:avLst/>
          </a:prstGeom>
          <a:solidFill>
            <a:srgbClr val="E8940A"/>
          </a:solidFill>
          <a:ln w="12700">
            <a:solidFill>
              <a:srgbClr val="E8940A"/>
            </a:solidFill>
            <a:prstDash val="solid"/>
          </a:ln>
        </p:spPr>
        <p:txBody>
          <a:bodyPr/>
          <a:lstStyle/>
          <a:p>
            <a:endParaRPr lang="ru-RU" sz="2400" noProof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Text 7">
            <a:extLst>
              <a:ext uri="{FF2B5EF4-FFF2-40B4-BE49-F238E27FC236}">
                <a16:creationId xmlns:a16="http://schemas.microsoft.com/office/drawing/2014/main" id="{FCE4771F-0EEA-51E8-4880-CD74C6483F6E}"/>
              </a:ext>
            </a:extLst>
          </p:cNvPr>
          <p:cNvSpPr/>
          <p:nvPr/>
        </p:nvSpPr>
        <p:spPr>
          <a:xfrm>
            <a:off x="757237" y="4319016"/>
            <a:ext cx="487680" cy="48768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algn="ctr"/>
            <a:r>
              <a:rPr lang="ru-RU" sz="1867" b="1" noProof="1">
                <a:solidFill>
                  <a:srgbClr val="FFFFFF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1</a:t>
            </a:r>
            <a:endParaRPr lang="ru-RU" sz="1867" noProof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Text 8">
            <a:extLst>
              <a:ext uri="{FF2B5EF4-FFF2-40B4-BE49-F238E27FC236}">
                <a16:creationId xmlns:a16="http://schemas.microsoft.com/office/drawing/2014/main" id="{AAE12FF6-D4C7-DE79-109F-840CC5D6E28B}"/>
              </a:ext>
            </a:extLst>
          </p:cNvPr>
          <p:cNvSpPr/>
          <p:nvPr/>
        </p:nvSpPr>
        <p:spPr>
          <a:xfrm>
            <a:off x="1427797" y="4221480"/>
            <a:ext cx="10424160" cy="67056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r>
              <a:rPr lang="ru-RU" sz="1600" noProof="1">
                <a:solidFill>
                  <a:schemeClr val="bg1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Определять принцип SCAFFOLD или карточку планирования, лежащие в основе реальной трудности фасилитации, — и называть конкретный ответ для группы педагогов в вашем собственном задании</a:t>
            </a:r>
            <a:endParaRPr lang="ru-RU" sz="1600" noProof="1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Shape 9">
            <a:extLst>
              <a:ext uri="{FF2B5EF4-FFF2-40B4-BE49-F238E27FC236}">
                <a16:creationId xmlns:a16="http://schemas.microsoft.com/office/drawing/2014/main" id="{B45668F2-020E-C3C5-FCF5-E51D34A71D5D}"/>
              </a:ext>
            </a:extLst>
          </p:cNvPr>
          <p:cNvSpPr/>
          <p:nvPr/>
        </p:nvSpPr>
        <p:spPr>
          <a:xfrm>
            <a:off x="757237" y="5050536"/>
            <a:ext cx="487680" cy="487680"/>
          </a:xfrm>
          <a:prstGeom prst="ellipse">
            <a:avLst/>
          </a:prstGeom>
          <a:solidFill>
            <a:srgbClr val="E8940A"/>
          </a:solidFill>
          <a:ln w="12700">
            <a:solidFill>
              <a:srgbClr val="E8940A"/>
            </a:solidFill>
            <a:prstDash val="solid"/>
          </a:ln>
        </p:spPr>
        <p:txBody>
          <a:bodyPr/>
          <a:lstStyle/>
          <a:p>
            <a:endParaRPr lang="ru-RU" sz="2400" noProof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Text 10">
            <a:extLst>
              <a:ext uri="{FF2B5EF4-FFF2-40B4-BE49-F238E27FC236}">
                <a16:creationId xmlns:a16="http://schemas.microsoft.com/office/drawing/2014/main" id="{0D68541F-1ADA-ED08-3C11-130BCB58C836}"/>
              </a:ext>
            </a:extLst>
          </p:cNvPr>
          <p:cNvSpPr/>
          <p:nvPr/>
        </p:nvSpPr>
        <p:spPr>
          <a:xfrm>
            <a:off x="757237" y="5050536"/>
            <a:ext cx="487680" cy="48768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algn="ctr"/>
            <a:r>
              <a:rPr lang="ru-RU" sz="1867" b="1" noProof="1">
                <a:solidFill>
                  <a:srgbClr val="FFFFFF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2</a:t>
            </a:r>
            <a:endParaRPr lang="ru-RU" sz="1867" noProof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Text 11">
            <a:extLst>
              <a:ext uri="{FF2B5EF4-FFF2-40B4-BE49-F238E27FC236}">
                <a16:creationId xmlns:a16="http://schemas.microsoft.com/office/drawing/2014/main" id="{4BD46CB5-7689-528F-E068-1E0F04FCC373}"/>
              </a:ext>
            </a:extLst>
          </p:cNvPr>
          <p:cNvSpPr/>
          <p:nvPr/>
        </p:nvSpPr>
        <p:spPr>
          <a:xfrm>
            <a:off x="1427797" y="4953000"/>
            <a:ext cx="10424160" cy="67056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r>
              <a:rPr lang="ru-RU" sz="1600" noProof="1">
                <a:solidFill>
                  <a:schemeClr val="bg1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Распознавать, как четыре вызова фасилитации проявляются по-разному в общем образовании, ПОО и практическом обучении</a:t>
            </a:r>
            <a:endParaRPr lang="ru-RU" sz="1600" noProof="1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2330587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BD46802-0303-97DC-DE8C-C82CB62D93C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C6B2023-CF78-5412-9B6F-1F8375452BA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5317" y="422444"/>
            <a:ext cx="11245663" cy="1080120"/>
          </a:xfrm>
        </p:spPr>
        <p:txBody>
          <a:bodyPr>
            <a:normAutofit/>
          </a:bodyPr>
          <a:lstStyle/>
          <a:p>
            <a:r>
              <a:rPr lang="ru-RU" noProof="1"/>
              <a:t>Бинго-карта профессионального развития педагогов </a:t>
            </a:r>
          </a:p>
        </p:txBody>
      </p:sp>
      <p:sp>
        <p:nvSpPr>
          <p:cNvPr id="3" name="Shape 3">
            <a:extLst>
              <a:ext uri="{FF2B5EF4-FFF2-40B4-BE49-F238E27FC236}">
                <a16:creationId xmlns:a16="http://schemas.microsoft.com/office/drawing/2014/main" id="{CABA453E-E1B8-3E3F-2EDA-18CA11E8F618}"/>
              </a:ext>
            </a:extLst>
          </p:cNvPr>
          <p:cNvSpPr/>
          <p:nvPr/>
        </p:nvSpPr>
        <p:spPr>
          <a:xfrm>
            <a:off x="635315" y="1583140"/>
            <a:ext cx="3826956" cy="1402080"/>
          </a:xfrm>
          <a:prstGeom prst="rect">
            <a:avLst/>
          </a:prstGeom>
          <a:solidFill>
            <a:srgbClr val="F7FAFB"/>
          </a:solidFill>
          <a:ln w="6350">
            <a:solidFill>
              <a:srgbClr val="B2D8DE"/>
            </a:solidFill>
            <a:prstDash val="solid"/>
          </a:ln>
        </p:spPr>
        <p:txBody>
          <a:bodyPr/>
          <a:lstStyle/>
          <a:p>
            <a:pPr defTabSz="1219170">
              <a:defRPr/>
            </a:pPr>
            <a:endParaRPr lang="ru-RU" sz="2667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Text 4">
            <a:extLst>
              <a:ext uri="{FF2B5EF4-FFF2-40B4-BE49-F238E27FC236}">
                <a16:creationId xmlns:a16="http://schemas.microsoft.com/office/drawing/2014/main" id="{6D649E95-43FA-AD15-F226-B8800D52812E}"/>
              </a:ext>
            </a:extLst>
          </p:cNvPr>
          <p:cNvSpPr/>
          <p:nvPr/>
        </p:nvSpPr>
        <p:spPr>
          <a:xfrm>
            <a:off x="732851" y="1644100"/>
            <a:ext cx="432076" cy="30480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333" b="1" noProof="1">
                <a:solidFill>
                  <a:srgbClr val="027A87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1</a:t>
            </a:r>
            <a:endParaRPr lang="ru-RU" sz="1333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Text 5">
            <a:extLst>
              <a:ext uri="{FF2B5EF4-FFF2-40B4-BE49-F238E27FC236}">
                <a16:creationId xmlns:a16="http://schemas.microsoft.com/office/drawing/2014/main" id="{A6837FA9-D603-C135-E308-C347ACBBC18C}"/>
              </a:ext>
            </a:extLst>
          </p:cNvPr>
          <p:cNvSpPr/>
          <p:nvPr/>
        </p:nvSpPr>
        <p:spPr>
          <a:xfrm>
            <a:off x="1045028" y="1636676"/>
            <a:ext cx="3292264" cy="792480"/>
          </a:xfrm>
          <a:prstGeom prst="rect">
            <a:avLst/>
          </a:prstGeom>
          <a:noFill/>
          <a:ln/>
        </p:spPr>
        <p:txBody>
          <a:bodyPr wrap="square" rtlCol="0" anchor="t"/>
          <a:lstStyle/>
          <a:p>
            <a:pPr defTabSz="1219170">
              <a:defRPr/>
            </a:pPr>
            <a:r>
              <a:rPr lang="ru-RU" sz="1333" noProof="1">
                <a:solidFill>
                  <a:srgbClr val="16303A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Сессия была сокращена с полного дня до двух часов в последний момент</a:t>
            </a:r>
            <a:endParaRPr lang="ru-RU" sz="1333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Text 6">
            <a:extLst>
              <a:ext uri="{FF2B5EF4-FFF2-40B4-BE49-F238E27FC236}">
                <a16:creationId xmlns:a16="http://schemas.microsoft.com/office/drawing/2014/main" id="{3D7C75FD-4AD0-4D71-4A19-6CC25CB16FEC}"/>
              </a:ext>
            </a:extLst>
          </p:cNvPr>
          <p:cNvSpPr/>
          <p:nvPr/>
        </p:nvSpPr>
        <p:spPr>
          <a:xfrm>
            <a:off x="1045028" y="2679092"/>
            <a:ext cx="3580056" cy="268224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200" b="1" noProof="1">
                <a:solidFill>
                  <a:srgbClr val="3D6673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ИК: ИК 7 / ИК 2  ·  Уровень: Оба</a:t>
            </a:r>
            <a:endParaRPr lang="ru-RU" sz="1200" b="1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Shape 7">
            <a:extLst>
              <a:ext uri="{FF2B5EF4-FFF2-40B4-BE49-F238E27FC236}">
                <a16:creationId xmlns:a16="http://schemas.microsoft.com/office/drawing/2014/main" id="{2868639E-1D92-4C0F-2151-AF00FE2E9016}"/>
              </a:ext>
            </a:extLst>
          </p:cNvPr>
          <p:cNvSpPr/>
          <p:nvPr/>
        </p:nvSpPr>
        <p:spPr>
          <a:xfrm>
            <a:off x="4500179" y="1583140"/>
            <a:ext cx="3826956" cy="1402080"/>
          </a:xfrm>
          <a:prstGeom prst="rect">
            <a:avLst/>
          </a:prstGeom>
          <a:solidFill>
            <a:srgbClr val="F7FAFB"/>
          </a:solidFill>
          <a:ln w="6350">
            <a:solidFill>
              <a:srgbClr val="B2D8DE"/>
            </a:solidFill>
            <a:prstDash val="solid"/>
          </a:ln>
        </p:spPr>
        <p:txBody>
          <a:bodyPr/>
          <a:lstStyle/>
          <a:p>
            <a:pPr defTabSz="1219170">
              <a:defRPr/>
            </a:pPr>
            <a:endParaRPr lang="ru-RU" sz="2667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Text 8">
            <a:extLst>
              <a:ext uri="{FF2B5EF4-FFF2-40B4-BE49-F238E27FC236}">
                <a16:creationId xmlns:a16="http://schemas.microsoft.com/office/drawing/2014/main" id="{A6727B32-27AA-91DE-126E-3017FFA8FFC2}"/>
              </a:ext>
            </a:extLst>
          </p:cNvPr>
          <p:cNvSpPr/>
          <p:nvPr/>
        </p:nvSpPr>
        <p:spPr>
          <a:xfrm>
            <a:off x="4597715" y="1644100"/>
            <a:ext cx="432076" cy="30480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333" b="1" noProof="1">
                <a:solidFill>
                  <a:srgbClr val="027A87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2</a:t>
            </a:r>
            <a:endParaRPr lang="ru-RU" sz="1333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Text 9">
            <a:extLst>
              <a:ext uri="{FF2B5EF4-FFF2-40B4-BE49-F238E27FC236}">
                <a16:creationId xmlns:a16="http://schemas.microsoft.com/office/drawing/2014/main" id="{A24575DE-E27E-46B3-B8F1-5C3C5DDF2355}"/>
              </a:ext>
            </a:extLst>
          </p:cNvPr>
          <p:cNvSpPr/>
          <p:nvPr/>
        </p:nvSpPr>
        <p:spPr>
          <a:xfrm>
            <a:off x="5029791" y="1652481"/>
            <a:ext cx="3172365" cy="792480"/>
          </a:xfrm>
          <a:prstGeom prst="rect">
            <a:avLst/>
          </a:prstGeom>
          <a:noFill/>
          <a:ln/>
        </p:spPr>
        <p:txBody>
          <a:bodyPr wrap="square" rtlCol="0" anchor="t"/>
          <a:lstStyle/>
          <a:p>
            <a:pPr defTabSz="1219170">
              <a:defRPr/>
            </a:pPr>
            <a:r>
              <a:rPr lang="ru-RU" sz="1333" noProof="1">
                <a:solidFill>
                  <a:srgbClr val="16303A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Участников направил руководитель, и они ясно дали понять, что не хотят здесь быть</a:t>
            </a:r>
            <a:endParaRPr lang="ru-RU" sz="1333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Text 10">
            <a:extLst>
              <a:ext uri="{FF2B5EF4-FFF2-40B4-BE49-F238E27FC236}">
                <a16:creationId xmlns:a16="http://schemas.microsoft.com/office/drawing/2014/main" id="{933DB584-B55B-0E67-046D-744AE3A92C26}"/>
              </a:ext>
            </a:extLst>
          </p:cNvPr>
          <p:cNvSpPr/>
          <p:nvPr/>
        </p:nvSpPr>
        <p:spPr>
          <a:xfrm>
            <a:off x="5029789" y="2681667"/>
            <a:ext cx="3172367" cy="268224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200" b="1" noProof="1">
                <a:solidFill>
                  <a:srgbClr val="3D6673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ИК: ИК 4 / ИК 5  ·  Уровень: Учебное заведение</a:t>
            </a:r>
            <a:endParaRPr lang="ru-RU" sz="1200" b="1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Shape 11">
            <a:extLst>
              <a:ext uri="{FF2B5EF4-FFF2-40B4-BE49-F238E27FC236}">
                <a16:creationId xmlns:a16="http://schemas.microsoft.com/office/drawing/2014/main" id="{0554C036-E9EC-CC36-66B7-30651C9636A1}"/>
              </a:ext>
            </a:extLst>
          </p:cNvPr>
          <p:cNvSpPr/>
          <p:nvPr/>
        </p:nvSpPr>
        <p:spPr>
          <a:xfrm>
            <a:off x="8365043" y="1583140"/>
            <a:ext cx="3826956" cy="1402080"/>
          </a:xfrm>
          <a:prstGeom prst="rect">
            <a:avLst/>
          </a:prstGeom>
          <a:solidFill>
            <a:srgbClr val="F7FAFB"/>
          </a:solidFill>
          <a:ln w="6350">
            <a:solidFill>
              <a:srgbClr val="B2D8DE"/>
            </a:solidFill>
            <a:prstDash val="solid"/>
          </a:ln>
        </p:spPr>
        <p:txBody>
          <a:bodyPr/>
          <a:lstStyle/>
          <a:p>
            <a:pPr defTabSz="1219170">
              <a:defRPr/>
            </a:pPr>
            <a:endParaRPr lang="ru-RU" sz="2667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Text 12">
            <a:extLst>
              <a:ext uri="{FF2B5EF4-FFF2-40B4-BE49-F238E27FC236}">
                <a16:creationId xmlns:a16="http://schemas.microsoft.com/office/drawing/2014/main" id="{1CE588B1-8DC3-09E0-C00F-5A4CE7DAE498}"/>
              </a:ext>
            </a:extLst>
          </p:cNvPr>
          <p:cNvSpPr/>
          <p:nvPr/>
        </p:nvSpPr>
        <p:spPr>
          <a:xfrm>
            <a:off x="8462579" y="1644100"/>
            <a:ext cx="432076" cy="30480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333" b="1" noProof="1">
                <a:solidFill>
                  <a:srgbClr val="027A87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3</a:t>
            </a:r>
            <a:endParaRPr lang="ru-RU" sz="1333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Text 13">
            <a:extLst>
              <a:ext uri="{FF2B5EF4-FFF2-40B4-BE49-F238E27FC236}">
                <a16:creationId xmlns:a16="http://schemas.microsoft.com/office/drawing/2014/main" id="{4665B22C-CEDB-A4FC-B93D-F7EE8A64D6C7}"/>
              </a:ext>
            </a:extLst>
          </p:cNvPr>
          <p:cNvSpPr/>
          <p:nvPr/>
        </p:nvSpPr>
        <p:spPr>
          <a:xfrm>
            <a:off x="8856747" y="1636676"/>
            <a:ext cx="3172365" cy="792480"/>
          </a:xfrm>
          <a:prstGeom prst="rect">
            <a:avLst/>
          </a:prstGeom>
          <a:noFill/>
          <a:ln/>
        </p:spPr>
        <p:txBody>
          <a:bodyPr wrap="square" rtlCol="0" anchor="t"/>
          <a:lstStyle/>
          <a:p>
            <a:pPr defTabSz="1219170">
              <a:defRPr/>
            </a:pPr>
            <a:r>
              <a:rPr lang="ru-RU" sz="1333" noProof="1">
                <a:solidFill>
                  <a:srgbClr val="16303A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Нет времени или структуры для последующей работы после окончания профессионального развития педагогов</a:t>
            </a:r>
            <a:endParaRPr lang="ru-RU" sz="1333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Text 14">
            <a:extLst>
              <a:ext uri="{FF2B5EF4-FFF2-40B4-BE49-F238E27FC236}">
                <a16:creationId xmlns:a16="http://schemas.microsoft.com/office/drawing/2014/main" id="{8E6B20D4-7D60-4C49-9C21-4BC0C8D07257}"/>
              </a:ext>
            </a:extLst>
          </p:cNvPr>
          <p:cNvSpPr/>
          <p:nvPr/>
        </p:nvSpPr>
        <p:spPr>
          <a:xfrm>
            <a:off x="8894653" y="2681667"/>
            <a:ext cx="3172367" cy="316992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200" b="1" noProof="1">
                <a:solidFill>
                  <a:srgbClr val="3D6673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ИК: ИК 2 / ИК 3  ·  Уровень: Оба</a:t>
            </a:r>
            <a:endParaRPr lang="ru-RU" sz="1200" b="1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Shape 15">
            <a:extLst>
              <a:ext uri="{FF2B5EF4-FFF2-40B4-BE49-F238E27FC236}">
                <a16:creationId xmlns:a16="http://schemas.microsoft.com/office/drawing/2014/main" id="{177C54F5-28B6-3FDA-A8EB-BE955892218A}"/>
              </a:ext>
            </a:extLst>
          </p:cNvPr>
          <p:cNvSpPr/>
          <p:nvPr/>
        </p:nvSpPr>
        <p:spPr>
          <a:xfrm>
            <a:off x="635315" y="3070564"/>
            <a:ext cx="3826956" cy="1402080"/>
          </a:xfrm>
          <a:prstGeom prst="rect">
            <a:avLst/>
          </a:prstGeom>
          <a:solidFill>
            <a:srgbClr val="F7FAFB"/>
          </a:solidFill>
          <a:ln w="6350">
            <a:solidFill>
              <a:srgbClr val="B2D8DE"/>
            </a:solidFill>
            <a:prstDash val="solid"/>
          </a:ln>
        </p:spPr>
        <p:txBody>
          <a:bodyPr/>
          <a:lstStyle/>
          <a:p>
            <a:pPr defTabSz="1219170">
              <a:defRPr/>
            </a:pPr>
            <a:endParaRPr lang="ru-RU" sz="2667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Text 16">
            <a:extLst>
              <a:ext uri="{FF2B5EF4-FFF2-40B4-BE49-F238E27FC236}">
                <a16:creationId xmlns:a16="http://schemas.microsoft.com/office/drawing/2014/main" id="{97E91A35-199D-885E-B462-022AFEFF3697}"/>
              </a:ext>
            </a:extLst>
          </p:cNvPr>
          <p:cNvSpPr/>
          <p:nvPr/>
        </p:nvSpPr>
        <p:spPr>
          <a:xfrm>
            <a:off x="732851" y="3131524"/>
            <a:ext cx="432076" cy="30480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333" b="1" noProof="1">
                <a:solidFill>
                  <a:srgbClr val="027A87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4</a:t>
            </a:r>
            <a:endParaRPr lang="ru-RU" sz="1333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Text 17">
            <a:extLst>
              <a:ext uri="{FF2B5EF4-FFF2-40B4-BE49-F238E27FC236}">
                <a16:creationId xmlns:a16="http://schemas.microsoft.com/office/drawing/2014/main" id="{38BD2763-475D-D1D7-AA6B-952685674F6D}"/>
              </a:ext>
            </a:extLst>
          </p:cNvPr>
          <p:cNvSpPr/>
          <p:nvPr/>
        </p:nvSpPr>
        <p:spPr>
          <a:xfrm>
            <a:off x="1164927" y="3099716"/>
            <a:ext cx="3172365" cy="792480"/>
          </a:xfrm>
          <a:prstGeom prst="rect">
            <a:avLst/>
          </a:prstGeom>
          <a:noFill/>
          <a:ln/>
        </p:spPr>
        <p:txBody>
          <a:bodyPr wrap="square" rtlCol="0" anchor="t"/>
          <a:lstStyle/>
          <a:p>
            <a:pPr defTabSz="1219170">
              <a:defRPr/>
            </a:pPr>
            <a:r>
              <a:rPr lang="ru-RU" sz="1333" noProof="1">
                <a:solidFill>
                  <a:srgbClr val="16303A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Содержание профессионального развития педагогов интересно, но не имеет очевидной связи с повседневной преподавательской или тренерской работой участников</a:t>
            </a:r>
            <a:endParaRPr lang="ru-RU" sz="1333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Text 18">
            <a:extLst>
              <a:ext uri="{FF2B5EF4-FFF2-40B4-BE49-F238E27FC236}">
                <a16:creationId xmlns:a16="http://schemas.microsoft.com/office/drawing/2014/main" id="{893F10D1-2FE4-D8AE-DBCA-3ECC77C71292}"/>
              </a:ext>
            </a:extLst>
          </p:cNvPr>
          <p:cNvSpPr/>
          <p:nvPr/>
        </p:nvSpPr>
        <p:spPr>
          <a:xfrm>
            <a:off x="1164927" y="4193973"/>
            <a:ext cx="3172365" cy="316992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200" b="1" noProof="1">
                <a:solidFill>
                  <a:srgbClr val="3D6673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ИК: ИК 1 / ИК 6  ·  Уровень: Оба</a:t>
            </a:r>
            <a:endParaRPr lang="ru-RU" sz="1200" b="1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Shape 19">
            <a:extLst>
              <a:ext uri="{FF2B5EF4-FFF2-40B4-BE49-F238E27FC236}">
                <a16:creationId xmlns:a16="http://schemas.microsoft.com/office/drawing/2014/main" id="{C69BE045-777D-8FA4-CA74-6984CDE2B75E}"/>
              </a:ext>
            </a:extLst>
          </p:cNvPr>
          <p:cNvSpPr/>
          <p:nvPr/>
        </p:nvSpPr>
        <p:spPr>
          <a:xfrm>
            <a:off x="4500179" y="3070564"/>
            <a:ext cx="3826956" cy="1402080"/>
          </a:xfrm>
          <a:prstGeom prst="rect">
            <a:avLst/>
          </a:prstGeom>
          <a:solidFill>
            <a:srgbClr val="F7FAFB"/>
          </a:solidFill>
          <a:ln w="6350">
            <a:solidFill>
              <a:srgbClr val="B2D8DE"/>
            </a:solidFill>
            <a:prstDash val="solid"/>
          </a:ln>
        </p:spPr>
        <p:txBody>
          <a:bodyPr/>
          <a:lstStyle/>
          <a:p>
            <a:pPr defTabSz="1219170">
              <a:defRPr/>
            </a:pPr>
            <a:endParaRPr lang="ru-RU" sz="2667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" name="Text 20">
            <a:extLst>
              <a:ext uri="{FF2B5EF4-FFF2-40B4-BE49-F238E27FC236}">
                <a16:creationId xmlns:a16="http://schemas.microsoft.com/office/drawing/2014/main" id="{35B7D2CB-C5E9-0017-C20A-58427EA770BF}"/>
              </a:ext>
            </a:extLst>
          </p:cNvPr>
          <p:cNvSpPr/>
          <p:nvPr/>
        </p:nvSpPr>
        <p:spPr>
          <a:xfrm>
            <a:off x="4597715" y="3131524"/>
            <a:ext cx="432076" cy="30480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333" b="1" noProof="1">
                <a:solidFill>
                  <a:srgbClr val="027A87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5</a:t>
            </a:r>
            <a:endParaRPr lang="ru-RU" sz="1333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" name="Text 21">
            <a:extLst>
              <a:ext uri="{FF2B5EF4-FFF2-40B4-BE49-F238E27FC236}">
                <a16:creationId xmlns:a16="http://schemas.microsoft.com/office/drawing/2014/main" id="{52792C2E-F6B1-CBFB-981D-62D628E69268}"/>
              </a:ext>
            </a:extLst>
          </p:cNvPr>
          <p:cNvSpPr/>
          <p:nvPr/>
        </p:nvSpPr>
        <p:spPr>
          <a:xfrm>
            <a:off x="4991883" y="3099716"/>
            <a:ext cx="3172368" cy="792480"/>
          </a:xfrm>
          <a:prstGeom prst="rect">
            <a:avLst/>
          </a:prstGeom>
          <a:noFill/>
          <a:ln/>
        </p:spPr>
        <p:txBody>
          <a:bodyPr wrap="square" rtlCol="0" anchor="t"/>
          <a:lstStyle/>
          <a:p>
            <a:pPr defTabSz="1219170">
              <a:defRPr/>
            </a:pPr>
            <a:r>
              <a:rPr lang="ru-RU" sz="1333" noProof="1">
                <a:solidFill>
                  <a:srgbClr val="16303A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Двое участников доминируют в каждом обсуждении; остальные молчат</a:t>
            </a:r>
            <a:endParaRPr lang="ru-RU" sz="1333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2" name="Text 22">
            <a:extLst>
              <a:ext uri="{FF2B5EF4-FFF2-40B4-BE49-F238E27FC236}">
                <a16:creationId xmlns:a16="http://schemas.microsoft.com/office/drawing/2014/main" id="{BE45C8CE-A2D1-47A3-2708-A51C3212FC13}"/>
              </a:ext>
            </a:extLst>
          </p:cNvPr>
          <p:cNvSpPr/>
          <p:nvPr/>
        </p:nvSpPr>
        <p:spPr>
          <a:xfrm>
            <a:off x="5029786" y="4156649"/>
            <a:ext cx="3172369" cy="268224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200" b="1" noProof="1">
                <a:solidFill>
                  <a:srgbClr val="3D6673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ИК: ИК 4 / ИК 5  ·  Уровень: Учебное заведение</a:t>
            </a:r>
            <a:endParaRPr lang="ru-RU" sz="1200" b="1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3" name="Shape 23">
            <a:extLst>
              <a:ext uri="{FF2B5EF4-FFF2-40B4-BE49-F238E27FC236}">
                <a16:creationId xmlns:a16="http://schemas.microsoft.com/office/drawing/2014/main" id="{397E7D4F-7B5C-4C40-F83F-8DA6A089F8C0}"/>
              </a:ext>
            </a:extLst>
          </p:cNvPr>
          <p:cNvSpPr/>
          <p:nvPr/>
        </p:nvSpPr>
        <p:spPr>
          <a:xfrm>
            <a:off x="8365043" y="3070564"/>
            <a:ext cx="3826956" cy="1402080"/>
          </a:xfrm>
          <a:prstGeom prst="rect">
            <a:avLst/>
          </a:prstGeom>
          <a:solidFill>
            <a:srgbClr val="F7FAFB"/>
          </a:solidFill>
          <a:ln w="6350">
            <a:solidFill>
              <a:srgbClr val="B2D8DE"/>
            </a:solidFill>
            <a:prstDash val="solid"/>
          </a:ln>
        </p:spPr>
        <p:txBody>
          <a:bodyPr/>
          <a:lstStyle/>
          <a:p>
            <a:pPr defTabSz="1219170">
              <a:defRPr/>
            </a:pPr>
            <a:endParaRPr lang="ru-RU" sz="2667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4" name="Text 24">
            <a:extLst>
              <a:ext uri="{FF2B5EF4-FFF2-40B4-BE49-F238E27FC236}">
                <a16:creationId xmlns:a16="http://schemas.microsoft.com/office/drawing/2014/main" id="{83ED73C6-755D-29C6-D72D-60D550B753F6}"/>
              </a:ext>
            </a:extLst>
          </p:cNvPr>
          <p:cNvSpPr/>
          <p:nvPr/>
        </p:nvSpPr>
        <p:spPr>
          <a:xfrm>
            <a:off x="8462579" y="3131524"/>
            <a:ext cx="432076" cy="30480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333" b="1" noProof="1">
                <a:solidFill>
                  <a:srgbClr val="027A87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6</a:t>
            </a:r>
            <a:endParaRPr lang="ru-RU" sz="1333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5" name="Text 25">
            <a:extLst>
              <a:ext uri="{FF2B5EF4-FFF2-40B4-BE49-F238E27FC236}">
                <a16:creationId xmlns:a16="http://schemas.microsoft.com/office/drawing/2014/main" id="{5FD31D9C-C90E-3201-1E9E-45ED72F0FB4B}"/>
              </a:ext>
            </a:extLst>
          </p:cNvPr>
          <p:cNvSpPr/>
          <p:nvPr/>
        </p:nvSpPr>
        <p:spPr>
          <a:xfrm>
            <a:off x="8856741" y="3139548"/>
            <a:ext cx="3210279" cy="1016104"/>
          </a:xfrm>
          <a:prstGeom prst="rect">
            <a:avLst/>
          </a:prstGeom>
          <a:noFill/>
          <a:ln/>
        </p:spPr>
        <p:txBody>
          <a:bodyPr wrap="square" rtlCol="0" anchor="t"/>
          <a:lstStyle/>
          <a:p>
            <a:pPr defTabSz="1219170">
              <a:defRPr/>
            </a:pPr>
            <a:r>
              <a:rPr lang="ru-RU" sz="1200" noProof="1">
                <a:solidFill>
                  <a:srgbClr val="16303A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Руководство одобрило профессиональное развитие педагогов, но с тех пор не вовлекалось в него, не присутствовало и не интересовалось им</a:t>
            </a:r>
            <a:endParaRPr lang="ru-RU" sz="12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6" name="Text 26">
            <a:extLst>
              <a:ext uri="{FF2B5EF4-FFF2-40B4-BE49-F238E27FC236}">
                <a16:creationId xmlns:a16="http://schemas.microsoft.com/office/drawing/2014/main" id="{CC41C29E-2BD4-C19C-63EF-F7F220C5D92B}"/>
              </a:ext>
            </a:extLst>
          </p:cNvPr>
          <p:cNvSpPr/>
          <p:nvPr/>
        </p:nvSpPr>
        <p:spPr>
          <a:xfrm>
            <a:off x="8894652" y="4181531"/>
            <a:ext cx="3172368" cy="316992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200" b="1" noProof="1">
                <a:solidFill>
                  <a:srgbClr val="3D6673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ИК: ИК 7  ·  Уровень: Системный</a:t>
            </a:r>
            <a:endParaRPr lang="ru-RU" sz="1200" b="1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7" name="Shape 27">
            <a:extLst>
              <a:ext uri="{FF2B5EF4-FFF2-40B4-BE49-F238E27FC236}">
                <a16:creationId xmlns:a16="http://schemas.microsoft.com/office/drawing/2014/main" id="{83BFCE7C-A257-75DC-1398-6E5A838D04C7}"/>
              </a:ext>
            </a:extLst>
          </p:cNvPr>
          <p:cNvSpPr/>
          <p:nvPr/>
        </p:nvSpPr>
        <p:spPr>
          <a:xfrm>
            <a:off x="635315" y="4557988"/>
            <a:ext cx="3826956" cy="1402080"/>
          </a:xfrm>
          <a:prstGeom prst="rect">
            <a:avLst/>
          </a:prstGeom>
          <a:solidFill>
            <a:srgbClr val="F7FAFB"/>
          </a:solidFill>
          <a:ln w="6350">
            <a:solidFill>
              <a:srgbClr val="B2D8DE"/>
            </a:solidFill>
            <a:prstDash val="solid"/>
          </a:ln>
        </p:spPr>
        <p:txBody>
          <a:bodyPr/>
          <a:lstStyle/>
          <a:p>
            <a:pPr defTabSz="1219170">
              <a:defRPr/>
            </a:pPr>
            <a:endParaRPr lang="ru-RU" sz="2667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8" name="Text 28">
            <a:extLst>
              <a:ext uri="{FF2B5EF4-FFF2-40B4-BE49-F238E27FC236}">
                <a16:creationId xmlns:a16="http://schemas.microsoft.com/office/drawing/2014/main" id="{07E36E63-21D4-E4D1-D7CC-22D0F31398CB}"/>
              </a:ext>
            </a:extLst>
          </p:cNvPr>
          <p:cNvSpPr/>
          <p:nvPr/>
        </p:nvSpPr>
        <p:spPr>
          <a:xfrm>
            <a:off x="732851" y="4618948"/>
            <a:ext cx="432076" cy="30480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333" b="1" noProof="1">
                <a:solidFill>
                  <a:srgbClr val="027A87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7</a:t>
            </a:r>
            <a:endParaRPr lang="ru-RU" sz="1333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9" name="Text 29">
            <a:extLst>
              <a:ext uri="{FF2B5EF4-FFF2-40B4-BE49-F238E27FC236}">
                <a16:creationId xmlns:a16="http://schemas.microsoft.com/office/drawing/2014/main" id="{62A617DC-11B5-7596-6C86-984F83EC6D5E}"/>
              </a:ext>
            </a:extLst>
          </p:cNvPr>
          <p:cNvSpPr/>
          <p:nvPr/>
        </p:nvSpPr>
        <p:spPr>
          <a:xfrm>
            <a:off x="1189313" y="4596309"/>
            <a:ext cx="3147980" cy="792480"/>
          </a:xfrm>
          <a:prstGeom prst="rect">
            <a:avLst/>
          </a:prstGeom>
          <a:noFill/>
          <a:ln/>
        </p:spPr>
        <p:txBody>
          <a:bodyPr wrap="square" rtlCol="0" anchor="t"/>
          <a:lstStyle/>
          <a:p>
            <a:pPr defTabSz="1219170">
              <a:defRPr/>
            </a:pPr>
            <a:r>
              <a:rPr lang="ru-RU" sz="1333" noProof="1">
                <a:solidFill>
                  <a:srgbClr val="16303A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Профессиональное развитие педагогов реализуется три года с тем же содержанием, и никто не оценивал, работает ли оно</a:t>
            </a:r>
            <a:endParaRPr lang="ru-RU" sz="1333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0" name="Text 30">
            <a:extLst>
              <a:ext uri="{FF2B5EF4-FFF2-40B4-BE49-F238E27FC236}">
                <a16:creationId xmlns:a16="http://schemas.microsoft.com/office/drawing/2014/main" id="{60A4FCA6-D8F6-2904-50E2-411D6D56F7E0}"/>
              </a:ext>
            </a:extLst>
          </p:cNvPr>
          <p:cNvSpPr/>
          <p:nvPr/>
        </p:nvSpPr>
        <p:spPr>
          <a:xfrm>
            <a:off x="1189312" y="5691844"/>
            <a:ext cx="3074829" cy="268224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200" b="1" noProof="1">
                <a:solidFill>
                  <a:srgbClr val="3D6673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ИК: ИК 8 / ИК 6  ·  Уровень: Оба</a:t>
            </a:r>
            <a:endParaRPr lang="ru-RU" sz="1200" b="1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1" name="Shape 31">
            <a:extLst>
              <a:ext uri="{FF2B5EF4-FFF2-40B4-BE49-F238E27FC236}">
                <a16:creationId xmlns:a16="http://schemas.microsoft.com/office/drawing/2014/main" id="{D0C5C102-5A64-650C-19EB-385830CFED6C}"/>
              </a:ext>
            </a:extLst>
          </p:cNvPr>
          <p:cNvSpPr/>
          <p:nvPr/>
        </p:nvSpPr>
        <p:spPr>
          <a:xfrm>
            <a:off x="4500179" y="4557988"/>
            <a:ext cx="3826956" cy="1402080"/>
          </a:xfrm>
          <a:prstGeom prst="rect">
            <a:avLst/>
          </a:prstGeom>
          <a:solidFill>
            <a:srgbClr val="F7FAFB"/>
          </a:solidFill>
          <a:ln w="6350">
            <a:solidFill>
              <a:srgbClr val="B2D8DE"/>
            </a:solidFill>
            <a:prstDash val="solid"/>
          </a:ln>
        </p:spPr>
        <p:txBody>
          <a:bodyPr/>
          <a:lstStyle/>
          <a:p>
            <a:pPr defTabSz="1219170">
              <a:defRPr/>
            </a:pPr>
            <a:endParaRPr lang="ru-RU" sz="2667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2" name="Text 32">
            <a:extLst>
              <a:ext uri="{FF2B5EF4-FFF2-40B4-BE49-F238E27FC236}">
                <a16:creationId xmlns:a16="http://schemas.microsoft.com/office/drawing/2014/main" id="{359D6685-7AAA-9A7C-8967-69B1D78367B4}"/>
              </a:ext>
            </a:extLst>
          </p:cNvPr>
          <p:cNvSpPr/>
          <p:nvPr/>
        </p:nvSpPr>
        <p:spPr>
          <a:xfrm>
            <a:off x="4597715" y="4618948"/>
            <a:ext cx="432076" cy="30480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333" b="1" noProof="1">
                <a:solidFill>
                  <a:srgbClr val="027A87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8</a:t>
            </a:r>
            <a:endParaRPr lang="ru-RU" sz="1333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3" name="Text 33">
            <a:extLst>
              <a:ext uri="{FF2B5EF4-FFF2-40B4-BE49-F238E27FC236}">
                <a16:creationId xmlns:a16="http://schemas.microsoft.com/office/drawing/2014/main" id="{518F7D2B-30B1-CE31-A531-33B3E6CF99AE}"/>
              </a:ext>
            </a:extLst>
          </p:cNvPr>
          <p:cNvSpPr/>
          <p:nvPr/>
        </p:nvSpPr>
        <p:spPr>
          <a:xfrm>
            <a:off x="5029785" y="4592993"/>
            <a:ext cx="3172371" cy="792480"/>
          </a:xfrm>
          <a:prstGeom prst="rect">
            <a:avLst/>
          </a:prstGeom>
          <a:noFill/>
          <a:ln/>
        </p:spPr>
        <p:txBody>
          <a:bodyPr wrap="square" rtlCol="0" anchor="t"/>
          <a:lstStyle/>
          <a:p>
            <a:pPr defTabSz="1219170">
              <a:defRPr/>
            </a:pPr>
            <a:r>
              <a:rPr lang="ru-RU" sz="1333" noProof="1">
                <a:solidFill>
                  <a:srgbClr val="16303A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Нет бюджета для проведения профессионального развития педагогов более одного раза</a:t>
            </a:r>
            <a:endParaRPr lang="ru-RU" sz="1333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4" name="Text 34">
            <a:extLst>
              <a:ext uri="{FF2B5EF4-FFF2-40B4-BE49-F238E27FC236}">
                <a16:creationId xmlns:a16="http://schemas.microsoft.com/office/drawing/2014/main" id="{39D2CE0A-CC69-073E-41E8-BF6A3AF973AD}"/>
              </a:ext>
            </a:extLst>
          </p:cNvPr>
          <p:cNvSpPr/>
          <p:nvPr/>
        </p:nvSpPr>
        <p:spPr>
          <a:xfrm>
            <a:off x="5029785" y="5681396"/>
            <a:ext cx="3172371" cy="268224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200" b="1" noProof="1">
                <a:solidFill>
                  <a:srgbClr val="3D6673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ИК: ИК 2 / ИК 7  ·  Уровень: Системный</a:t>
            </a:r>
            <a:endParaRPr lang="ru-RU" sz="1200" b="1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5" name="Shape 35">
            <a:extLst>
              <a:ext uri="{FF2B5EF4-FFF2-40B4-BE49-F238E27FC236}">
                <a16:creationId xmlns:a16="http://schemas.microsoft.com/office/drawing/2014/main" id="{02DAAD56-7FD0-E030-7AFB-643C019EFDCB}"/>
              </a:ext>
            </a:extLst>
          </p:cNvPr>
          <p:cNvSpPr/>
          <p:nvPr/>
        </p:nvSpPr>
        <p:spPr>
          <a:xfrm>
            <a:off x="8365043" y="4557988"/>
            <a:ext cx="3826956" cy="1402080"/>
          </a:xfrm>
          <a:prstGeom prst="rect">
            <a:avLst/>
          </a:prstGeom>
          <a:solidFill>
            <a:srgbClr val="FDF3DC"/>
          </a:solidFill>
          <a:ln w="19050">
            <a:solidFill>
              <a:srgbClr val="E8940A"/>
            </a:solidFill>
            <a:prstDash val="dash"/>
          </a:ln>
        </p:spPr>
        <p:txBody>
          <a:bodyPr/>
          <a:lstStyle/>
          <a:p>
            <a:pPr defTabSz="1219170">
              <a:defRPr/>
            </a:pPr>
            <a:endParaRPr lang="ru-RU" sz="2667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6" name="Text 36">
            <a:extLst>
              <a:ext uri="{FF2B5EF4-FFF2-40B4-BE49-F238E27FC236}">
                <a16:creationId xmlns:a16="http://schemas.microsoft.com/office/drawing/2014/main" id="{44E30CC3-79F4-5314-8DD7-91039A9F8B1D}"/>
              </a:ext>
            </a:extLst>
          </p:cNvPr>
          <p:cNvSpPr/>
          <p:nvPr/>
        </p:nvSpPr>
        <p:spPr>
          <a:xfrm>
            <a:off x="8462579" y="4618948"/>
            <a:ext cx="432076" cy="30480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333" b="1" noProof="1">
                <a:solidFill>
                  <a:srgbClr val="E8940A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9</a:t>
            </a:r>
            <a:endParaRPr lang="ru-RU" sz="1333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7" name="Text 37">
            <a:extLst>
              <a:ext uri="{FF2B5EF4-FFF2-40B4-BE49-F238E27FC236}">
                <a16:creationId xmlns:a16="http://schemas.microsoft.com/office/drawing/2014/main" id="{19DDF151-9451-9B1F-D0F4-C04B71F70104}"/>
              </a:ext>
            </a:extLst>
          </p:cNvPr>
          <p:cNvSpPr/>
          <p:nvPr/>
        </p:nvSpPr>
        <p:spPr>
          <a:xfrm>
            <a:off x="8932562" y="4642260"/>
            <a:ext cx="3134457" cy="792480"/>
          </a:xfrm>
          <a:prstGeom prst="rect">
            <a:avLst/>
          </a:prstGeom>
          <a:noFill/>
          <a:ln/>
        </p:spPr>
        <p:txBody>
          <a:bodyPr wrap="square" rtlCol="0" anchor="t"/>
          <a:lstStyle/>
          <a:p>
            <a:pPr defTabSz="1219170">
              <a:defRPr/>
            </a:pPr>
            <a:r>
              <a:rPr lang="ru-RU" sz="1333" b="1" i="1" noProof="1">
                <a:solidFill>
                  <a:srgbClr val="16303A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ВАШ ВЫЗОВ — запишите вызов, специфичный для вашего уровня, роли или национального контекста</a:t>
            </a:r>
            <a:endParaRPr lang="ru-RU" sz="1333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8" name="Text 38">
            <a:extLst>
              <a:ext uri="{FF2B5EF4-FFF2-40B4-BE49-F238E27FC236}">
                <a16:creationId xmlns:a16="http://schemas.microsoft.com/office/drawing/2014/main" id="{602EBCA4-D7A3-3B2C-F6D6-DCF7CC770641}"/>
              </a:ext>
            </a:extLst>
          </p:cNvPr>
          <p:cNvSpPr/>
          <p:nvPr/>
        </p:nvSpPr>
        <p:spPr>
          <a:xfrm>
            <a:off x="9069354" y="5594308"/>
            <a:ext cx="2997665" cy="355312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200" b="1" noProof="1">
                <a:solidFill>
                  <a:srgbClr val="E8940A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ИК: ___  ·  Уровень: ___</a:t>
            </a:r>
            <a:endParaRPr lang="ru-RU" sz="12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9" name="Text 39">
            <a:extLst>
              <a:ext uri="{FF2B5EF4-FFF2-40B4-BE49-F238E27FC236}">
                <a16:creationId xmlns:a16="http://schemas.microsoft.com/office/drawing/2014/main" id="{D65A2AAC-5E95-FB5C-EEE4-AA7BA342C526}"/>
              </a:ext>
            </a:extLst>
          </p:cNvPr>
          <p:cNvSpPr/>
          <p:nvPr/>
        </p:nvSpPr>
        <p:spPr>
          <a:xfrm>
            <a:off x="635315" y="6255991"/>
            <a:ext cx="11604319" cy="341376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467" i="1" noProof="1">
                <a:solidFill>
                  <a:schemeClr val="bg1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Подсказки по ИК — отправная точка. Ваш стол определяет основную первопричину.  ·  Первый стол, заполнивший все девять, вызывает бинго.</a:t>
            </a:r>
            <a:endParaRPr lang="ru-RU" sz="1467" noProof="1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0724152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4C04A5A-6CB5-C6A4-CF8A-AF8C71BC0E2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5317" y="233649"/>
            <a:ext cx="10689175" cy="1080120"/>
          </a:xfrm>
        </p:spPr>
        <p:txBody>
          <a:bodyPr/>
          <a:lstStyle/>
          <a:p>
            <a:r>
              <a:rPr lang="ru-RU" noProof="1"/>
              <a:t>Ролевая игра</a:t>
            </a:r>
          </a:p>
        </p:txBody>
      </p:sp>
      <p:sp>
        <p:nvSpPr>
          <p:cNvPr id="3" name="Text 4">
            <a:extLst>
              <a:ext uri="{FF2B5EF4-FFF2-40B4-BE49-F238E27FC236}">
                <a16:creationId xmlns:a16="http://schemas.microsoft.com/office/drawing/2014/main" id="{93AB93E9-DFFD-89D2-ED85-82CA2CAB523E}"/>
              </a:ext>
            </a:extLst>
          </p:cNvPr>
          <p:cNvSpPr/>
          <p:nvPr/>
        </p:nvSpPr>
        <p:spPr>
          <a:xfrm>
            <a:off x="635317" y="1240436"/>
            <a:ext cx="8534400" cy="42672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r>
              <a:rPr lang="ru-RU" sz="1467" i="1" noProof="1">
                <a:solidFill>
                  <a:schemeClr val="bg1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Все четыре проявляются в общем образовании, ПОО и практическом обучении — в разных формах.</a:t>
            </a:r>
            <a:endParaRPr lang="ru-RU" sz="1467" noProof="1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Shape 5">
            <a:extLst>
              <a:ext uri="{FF2B5EF4-FFF2-40B4-BE49-F238E27FC236}">
                <a16:creationId xmlns:a16="http://schemas.microsoft.com/office/drawing/2014/main" id="{FAC81116-C2F5-0191-7E62-C42DFA31711A}"/>
              </a:ext>
            </a:extLst>
          </p:cNvPr>
          <p:cNvSpPr/>
          <p:nvPr/>
        </p:nvSpPr>
        <p:spPr>
          <a:xfrm>
            <a:off x="635317" y="1874419"/>
            <a:ext cx="11460480" cy="4749931"/>
          </a:xfrm>
          <a:prstGeom prst="rect">
            <a:avLst/>
          </a:prstGeom>
          <a:solidFill>
            <a:srgbClr val="F7FAFB"/>
          </a:solidFill>
          <a:ln w="5080">
            <a:solidFill>
              <a:srgbClr val="B2D8DE"/>
            </a:solidFill>
            <a:prstDash val="solid"/>
          </a:ln>
        </p:spPr>
        <p:txBody>
          <a:bodyPr/>
          <a:lstStyle/>
          <a:p>
            <a:endParaRPr lang="ru-RU" sz="2400" noProof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Shape 6">
            <a:extLst>
              <a:ext uri="{FF2B5EF4-FFF2-40B4-BE49-F238E27FC236}">
                <a16:creationId xmlns:a16="http://schemas.microsoft.com/office/drawing/2014/main" id="{4E35CC1B-6CCE-9655-154B-BF822AAE297C}"/>
              </a:ext>
            </a:extLst>
          </p:cNvPr>
          <p:cNvSpPr/>
          <p:nvPr/>
        </p:nvSpPr>
        <p:spPr>
          <a:xfrm>
            <a:off x="940117" y="3865617"/>
            <a:ext cx="512064" cy="512064"/>
          </a:xfrm>
          <a:prstGeom prst="ellipse">
            <a:avLst/>
          </a:prstGeom>
          <a:solidFill>
            <a:srgbClr val="027A87"/>
          </a:solidFill>
          <a:ln w="12700">
            <a:solidFill>
              <a:srgbClr val="027A87"/>
            </a:solidFill>
            <a:prstDash val="solid"/>
          </a:ln>
        </p:spPr>
        <p:txBody>
          <a:bodyPr/>
          <a:lstStyle/>
          <a:p>
            <a:endParaRPr lang="ru-RU" sz="2400" noProof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Text 7">
            <a:extLst>
              <a:ext uri="{FF2B5EF4-FFF2-40B4-BE49-F238E27FC236}">
                <a16:creationId xmlns:a16="http://schemas.microsoft.com/office/drawing/2014/main" id="{32EAB001-0D26-21AC-58D3-B6A03400AB53}"/>
              </a:ext>
            </a:extLst>
          </p:cNvPr>
          <p:cNvSpPr/>
          <p:nvPr/>
        </p:nvSpPr>
        <p:spPr>
          <a:xfrm>
            <a:off x="940117" y="3865617"/>
            <a:ext cx="512064" cy="512064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algn="ctr"/>
            <a:r>
              <a:rPr lang="ru-RU" sz="2000" b="1" noProof="1">
                <a:solidFill>
                  <a:srgbClr val="FFFFFF"/>
                </a:solidFill>
                <a:latin typeface="Arial" panose="020B0604020202020204" pitchFamily="34" charset="0"/>
                <a:ea typeface="Trebuchet MS" pitchFamily="34" charset="-122"/>
                <a:cs typeface="Arial" panose="020B0604020202020204" pitchFamily="34" charset="0"/>
              </a:rPr>
              <a:t>1</a:t>
            </a:r>
            <a:endParaRPr lang="ru-RU" sz="2000" noProof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Text 8">
            <a:extLst>
              <a:ext uri="{FF2B5EF4-FFF2-40B4-BE49-F238E27FC236}">
                <a16:creationId xmlns:a16="http://schemas.microsoft.com/office/drawing/2014/main" id="{C629DB9B-B645-33FA-B742-94CE82BEBF2D}"/>
              </a:ext>
            </a:extLst>
          </p:cNvPr>
          <p:cNvSpPr/>
          <p:nvPr/>
        </p:nvSpPr>
        <p:spPr>
          <a:xfrm>
            <a:off x="1756981" y="3241436"/>
            <a:ext cx="4240065" cy="36576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r>
              <a:rPr lang="ru-RU" sz="2400" b="1" noProof="1">
                <a:solidFill>
                  <a:srgbClr val="16303A"/>
                </a:solidFill>
                <a:latin typeface="Arial" panose="020B0604020202020204" pitchFamily="34" charset="0"/>
                <a:ea typeface="Trebuchet MS" pitchFamily="34" charset="-122"/>
                <a:cs typeface="Arial" panose="020B0604020202020204" pitchFamily="34" charset="0"/>
              </a:rPr>
              <a:t>Авторитет и экспертиза в аудитории</a:t>
            </a:r>
            <a:endParaRPr lang="ru-RU" sz="2400" noProof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Text 9">
            <a:extLst>
              <a:ext uri="{FF2B5EF4-FFF2-40B4-BE49-F238E27FC236}">
                <a16:creationId xmlns:a16="http://schemas.microsoft.com/office/drawing/2014/main" id="{96CCEE06-2B55-753E-5372-5D442083CE9A}"/>
              </a:ext>
            </a:extLst>
          </p:cNvPr>
          <p:cNvSpPr/>
          <p:nvPr/>
        </p:nvSpPr>
        <p:spPr>
          <a:xfrm>
            <a:off x="1739839" y="3908999"/>
            <a:ext cx="4240065" cy="609600"/>
          </a:xfrm>
          <a:prstGeom prst="rect">
            <a:avLst/>
          </a:prstGeom>
          <a:noFill/>
          <a:ln/>
        </p:spPr>
        <p:txBody>
          <a:bodyPr wrap="square" rtlCol="0" anchor="t"/>
          <a:lstStyle/>
          <a:p>
            <a:r>
              <a:rPr lang="ru-RU" sz="2400" noProof="1">
                <a:solidFill>
                  <a:schemeClr val="accent2">
                    <a:lumMod val="50000"/>
                  </a:schemeClr>
                </a:solidFill>
              </a:rPr>
              <a:t>«Мне не нужно это обучение. Я преподаю уже 20 лет. У меня есть степень магистра.»</a:t>
            </a:r>
          </a:p>
        </p:txBody>
      </p:sp>
      <p:sp>
        <p:nvSpPr>
          <p:cNvPr id="9" name="Shape 10">
            <a:extLst>
              <a:ext uri="{FF2B5EF4-FFF2-40B4-BE49-F238E27FC236}">
                <a16:creationId xmlns:a16="http://schemas.microsoft.com/office/drawing/2014/main" id="{B34026E5-CFC4-A0DF-C45C-A6D30BC22854}"/>
              </a:ext>
            </a:extLst>
          </p:cNvPr>
          <p:cNvSpPr/>
          <p:nvPr/>
        </p:nvSpPr>
        <p:spPr>
          <a:xfrm>
            <a:off x="6096000" y="1963987"/>
            <a:ext cx="45719" cy="4458077"/>
          </a:xfrm>
          <a:prstGeom prst="rect">
            <a:avLst/>
          </a:prstGeom>
          <a:solidFill>
            <a:srgbClr val="E8940A"/>
          </a:solidFill>
          <a:ln w="12700">
            <a:solidFill>
              <a:srgbClr val="E8940A"/>
            </a:solidFill>
            <a:prstDash val="solid"/>
          </a:ln>
        </p:spPr>
        <p:txBody>
          <a:bodyPr/>
          <a:lstStyle/>
          <a:p>
            <a:endParaRPr lang="ru-RU" sz="2400" noProof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Text 11">
            <a:extLst>
              <a:ext uri="{FF2B5EF4-FFF2-40B4-BE49-F238E27FC236}">
                <a16:creationId xmlns:a16="http://schemas.microsoft.com/office/drawing/2014/main" id="{29171BDF-60FE-F515-B1F0-A2E0B8D05679}"/>
              </a:ext>
            </a:extLst>
          </p:cNvPr>
          <p:cNvSpPr/>
          <p:nvPr/>
        </p:nvSpPr>
        <p:spPr>
          <a:xfrm>
            <a:off x="6440691" y="1935380"/>
            <a:ext cx="5533186" cy="385176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r>
              <a:rPr lang="ru-RU" sz="2000" b="1" kern="0" spc="200" noProof="1">
                <a:solidFill>
                  <a:srgbClr val="E8940A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ОТВЕТ</a:t>
            </a:r>
            <a:endParaRPr lang="ru-RU" sz="2000" noProof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Rectangle 1">
            <a:extLst>
              <a:ext uri="{FF2B5EF4-FFF2-40B4-BE49-F238E27FC236}">
                <a16:creationId xmlns:a16="http://schemas.microsoft.com/office/drawing/2014/main" id="{AD41306F-21C6-D071-0E41-2F827192B8A1}"/>
              </a:ext>
            </a:extLst>
          </p:cNvPr>
          <p:cNvSpPr>
            <a:spLocks noChangeArrowheads="1"/>
          </p:cNvSpPr>
          <p:nvPr/>
        </p:nvSpPr>
        <p:spPr bwMode="auto">
          <a:xfrm>
            <a:off x="6267562" y="2041002"/>
            <a:ext cx="5849300" cy="452431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342900" marR="0" lvl="0" indent="-34290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+mj-lt"/>
              <a:buAutoNum type="arabicPeriod"/>
              <a:tabLst/>
            </a:pPr>
            <a:endParaRPr kumimoji="0" lang="ru-RU" sz="1800" b="0" i="0" u="none" strike="noStrike" cap="none" normalizeH="0" baseline="0" noProof="1">
              <a:ln>
                <a:noFill/>
              </a:ln>
              <a:solidFill>
                <a:schemeClr val="accent2">
                  <a:lumMod val="50000"/>
                </a:schemeClr>
              </a:solidFill>
              <a:effectLst/>
              <a:latin typeface="Arial" panose="020B0604020202020204" pitchFamily="34" charset="0"/>
            </a:endParaRPr>
          </a:p>
          <a:p>
            <a:pPr marL="342900" marR="0" lvl="0" indent="-34290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+mj-lt"/>
              <a:buAutoNum type="arabicPeriod"/>
              <a:tabLst/>
            </a:pPr>
            <a:r>
              <a:rPr kumimoji="0" lang="ru-RU" sz="1800" b="0" i="0" u="none" strike="noStrike" cap="none" normalizeH="0" baseline="0" noProof="1">
                <a:ln>
                  <a:noFill/>
                </a:ln>
                <a:solidFill>
                  <a:schemeClr val="accent2">
                    <a:lumMod val="50000"/>
                  </a:schemeClr>
                </a:solidFill>
                <a:effectLst/>
                <a:latin typeface="Arial" panose="020B0604020202020204" pitchFamily="34" charset="0"/>
              </a:rPr>
              <a:t>Ваш опыт и квалификация заслуживают уважения.</a:t>
            </a:r>
          </a:p>
          <a:p>
            <a:pPr marL="342900" marR="0" lvl="0" indent="-34290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+mj-lt"/>
              <a:buAutoNum type="arabicPeriod"/>
              <a:tabLst/>
            </a:pPr>
            <a:r>
              <a:rPr kumimoji="0" lang="ru-RU" sz="1800" b="0" i="0" u="none" strike="noStrike" cap="none" normalizeH="0" baseline="0" noProof="1">
                <a:ln>
                  <a:noFill/>
                </a:ln>
                <a:solidFill>
                  <a:schemeClr val="accent2">
                    <a:lumMod val="50000"/>
                  </a:schemeClr>
                </a:solidFill>
                <a:effectLst/>
                <a:latin typeface="Arial" panose="020B0604020202020204" pitchFamily="34" charset="0"/>
              </a:rPr>
              <a:t>Мы не будем учить вас как преподавать или сомневаться в вашем профессионализме.</a:t>
            </a:r>
          </a:p>
          <a:p>
            <a:pPr marL="342900" marR="0" lvl="0" indent="-34290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+mj-lt"/>
              <a:buAutoNum type="arabicPeriod"/>
              <a:tabLst/>
            </a:pPr>
            <a:r>
              <a:rPr kumimoji="0" lang="ru-RU" sz="1800" b="0" i="0" u="none" strike="noStrike" cap="none" normalizeH="0" baseline="0" noProof="1">
                <a:ln>
                  <a:noFill/>
                </a:ln>
                <a:solidFill>
                  <a:schemeClr val="accent2">
                    <a:lumMod val="50000"/>
                  </a:schemeClr>
                </a:solidFill>
                <a:effectLst/>
                <a:latin typeface="Arial" panose="020B0604020202020204" pitchFamily="34" charset="0"/>
              </a:rPr>
              <a:t>За вашими плечами 20 лет работы и магистерская степень - именно поэтому ваш взгляд здесь особенно ценен. Такие встречи проходят продуктивнее, когда опытные педагоги делятся своей практикой, а не чувствуют себя слушателями курсов.</a:t>
            </a:r>
          </a:p>
          <a:p>
            <a:pPr marL="342900" marR="0" lvl="0" indent="-34290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+mj-lt"/>
              <a:buAutoNum type="arabicPeriod"/>
              <a:tabLst/>
            </a:pPr>
            <a:r>
              <a:rPr kumimoji="0" lang="ru-RU" sz="1800" b="0" i="0" u="none" strike="noStrike" cap="none" normalizeH="0" baseline="0" noProof="1">
                <a:ln>
                  <a:noFill/>
                </a:ln>
                <a:solidFill>
                  <a:schemeClr val="accent2">
                    <a:lumMod val="50000"/>
                  </a:schemeClr>
                </a:solidFill>
                <a:effectLst/>
                <a:latin typeface="Arial" panose="020B0604020202020204" pitchFamily="34" charset="0"/>
              </a:rPr>
              <a:t>Наша задача - дать опытным профессионалам пространство для размышления над своей практикой, сравнить подходы и взять что-то полезное для себя. Или просто убедиться, что ваши приёмы и так работают.</a:t>
            </a:r>
          </a:p>
        </p:txBody>
      </p:sp>
    </p:spTree>
    <p:extLst>
      <p:ext uri="{BB962C8B-B14F-4D97-AF65-F5344CB8AC3E}">
        <p14:creationId xmlns:p14="http://schemas.microsoft.com/office/powerpoint/2010/main" val="214110814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AE48866C-C57D-AAD8-6C16-A795393D27F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DB84476-BC29-4407-9D57-B2E562B8968B}" type="slidenum">
              <a:rPr lang="ru-RU" noProof="1" smtClean="0"/>
              <a:pPr/>
              <a:t>169</a:t>
            </a:fld>
            <a:endParaRPr lang="ru-RU" noProof="1"/>
          </a:p>
        </p:txBody>
      </p:sp>
      <p:sp>
        <p:nvSpPr>
          <p:cNvPr id="5" name="Rectangle 2">
            <a:extLst>
              <a:ext uri="{FF2B5EF4-FFF2-40B4-BE49-F238E27FC236}">
                <a16:creationId xmlns:a16="http://schemas.microsoft.com/office/drawing/2014/main" id="{BB16A573-3A4A-ED8F-D67F-643B6F29BC67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635317" y="454672"/>
            <a:ext cx="10765186" cy="10156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b="1" i="0" u="none" strike="noStrike" cap="none" normalizeH="0" baseline="0" noProof="1">
                <a:ln>
                  <a:noFill/>
                </a:ln>
                <a:effectLst/>
                <a:latin typeface="Arial" panose="020B0604020202020204" pitchFamily="34" charset="0"/>
              </a:rPr>
              <a:t>Как реагировать, проявляя социально-эмоциональные навыки </a:t>
            </a:r>
            <a:endParaRPr kumimoji="0" lang="ru-RU" b="0" i="0" u="none" strike="noStrike" cap="none" normalizeH="0" baseline="0" noProof="1">
              <a:ln>
                <a:noFill/>
              </a:ln>
              <a:effectLst/>
              <a:latin typeface="Arial" panose="020B0604020202020204" pitchFamily="34" charset="0"/>
            </a:endParaRPr>
          </a:p>
        </p:txBody>
      </p:sp>
      <p:sp>
        <p:nvSpPr>
          <p:cNvPr id="6" name="Shape 5">
            <a:extLst>
              <a:ext uri="{FF2B5EF4-FFF2-40B4-BE49-F238E27FC236}">
                <a16:creationId xmlns:a16="http://schemas.microsoft.com/office/drawing/2014/main" id="{A5DA0813-F363-FAE4-6753-7465D431652C}"/>
              </a:ext>
            </a:extLst>
          </p:cNvPr>
          <p:cNvSpPr/>
          <p:nvPr/>
        </p:nvSpPr>
        <p:spPr>
          <a:xfrm>
            <a:off x="635317" y="1874420"/>
            <a:ext cx="10645259" cy="1048512"/>
          </a:xfrm>
          <a:prstGeom prst="rect">
            <a:avLst/>
          </a:prstGeom>
          <a:solidFill>
            <a:srgbClr val="F7FAFB"/>
          </a:solidFill>
          <a:ln w="5080">
            <a:solidFill>
              <a:srgbClr val="B2D8DE"/>
            </a:solidFill>
            <a:prstDash val="solid"/>
          </a:ln>
        </p:spPr>
        <p:txBody>
          <a:bodyPr/>
          <a:lstStyle/>
          <a:p>
            <a:endParaRPr lang="ru-RU" sz="2400" noProof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Shape 6">
            <a:extLst>
              <a:ext uri="{FF2B5EF4-FFF2-40B4-BE49-F238E27FC236}">
                <a16:creationId xmlns:a16="http://schemas.microsoft.com/office/drawing/2014/main" id="{68854406-189D-8060-982D-EDFBBD3863B8}"/>
              </a:ext>
            </a:extLst>
          </p:cNvPr>
          <p:cNvSpPr/>
          <p:nvPr/>
        </p:nvSpPr>
        <p:spPr>
          <a:xfrm>
            <a:off x="818197" y="2142644"/>
            <a:ext cx="475639" cy="512064"/>
          </a:xfrm>
          <a:prstGeom prst="ellipse">
            <a:avLst/>
          </a:prstGeom>
          <a:solidFill>
            <a:srgbClr val="027A87"/>
          </a:solidFill>
          <a:ln w="12700">
            <a:solidFill>
              <a:srgbClr val="027A87"/>
            </a:solidFill>
            <a:prstDash val="solid"/>
          </a:ln>
        </p:spPr>
        <p:txBody>
          <a:bodyPr/>
          <a:lstStyle/>
          <a:p>
            <a:endParaRPr lang="ru-RU" sz="2400" noProof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Text 7">
            <a:extLst>
              <a:ext uri="{FF2B5EF4-FFF2-40B4-BE49-F238E27FC236}">
                <a16:creationId xmlns:a16="http://schemas.microsoft.com/office/drawing/2014/main" id="{E6BE6580-1EA9-7EAB-5937-855EF387A497}"/>
              </a:ext>
            </a:extLst>
          </p:cNvPr>
          <p:cNvSpPr/>
          <p:nvPr/>
        </p:nvSpPr>
        <p:spPr>
          <a:xfrm>
            <a:off x="818197" y="2142644"/>
            <a:ext cx="475639" cy="512064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algn="ctr"/>
            <a:r>
              <a:rPr lang="ru-RU" sz="2000" b="1" noProof="1">
                <a:solidFill>
                  <a:srgbClr val="FFFFFF"/>
                </a:solidFill>
                <a:latin typeface="Arial" panose="020B0604020202020204" pitchFamily="34" charset="0"/>
                <a:ea typeface="Trebuchet MS" pitchFamily="34" charset="-122"/>
                <a:cs typeface="Arial" panose="020B0604020202020204" pitchFamily="34" charset="0"/>
              </a:rPr>
              <a:t>1</a:t>
            </a:r>
            <a:endParaRPr lang="ru-RU" sz="2000" noProof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Text 8">
            <a:extLst>
              <a:ext uri="{FF2B5EF4-FFF2-40B4-BE49-F238E27FC236}">
                <a16:creationId xmlns:a16="http://schemas.microsoft.com/office/drawing/2014/main" id="{E28E097D-60CF-29CC-4E39-5C09A55BDFAF}"/>
              </a:ext>
            </a:extLst>
          </p:cNvPr>
          <p:cNvSpPr/>
          <p:nvPr/>
        </p:nvSpPr>
        <p:spPr>
          <a:xfrm>
            <a:off x="1549717" y="2211632"/>
            <a:ext cx="4869640" cy="36576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r>
              <a:rPr lang="ru-RU" sz="2400" b="1" noProof="1">
                <a:solidFill>
                  <a:srgbClr val="16303A"/>
                </a:solidFill>
                <a:latin typeface="Arial" panose="020B0604020202020204" pitchFamily="34" charset="0"/>
                <a:ea typeface="Trebuchet MS" pitchFamily="34" charset="-122"/>
                <a:cs typeface="Arial" panose="020B0604020202020204" pitchFamily="34" charset="0"/>
              </a:rPr>
              <a:t>Признание</a:t>
            </a:r>
            <a:endParaRPr lang="ru-RU" sz="2400" noProof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Shape 13">
            <a:extLst>
              <a:ext uri="{FF2B5EF4-FFF2-40B4-BE49-F238E27FC236}">
                <a16:creationId xmlns:a16="http://schemas.microsoft.com/office/drawing/2014/main" id="{23EBB94D-D2F3-41BC-275B-3C06913B2216}"/>
              </a:ext>
            </a:extLst>
          </p:cNvPr>
          <p:cNvSpPr/>
          <p:nvPr/>
        </p:nvSpPr>
        <p:spPr>
          <a:xfrm>
            <a:off x="635317" y="2971700"/>
            <a:ext cx="10645259" cy="1241500"/>
          </a:xfrm>
          <a:prstGeom prst="rect">
            <a:avLst/>
          </a:prstGeom>
          <a:solidFill>
            <a:srgbClr val="D6F0F3"/>
          </a:solidFill>
          <a:ln w="5080">
            <a:solidFill>
              <a:srgbClr val="B2D8DE"/>
            </a:solidFill>
            <a:prstDash val="solid"/>
          </a:ln>
        </p:spPr>
        <p:txBody>
          <a:bodyPr/>
          <a:lstStyle/>
          <a:p>
            <a:endParaRPr lang="ru-RU" sz="2400" noProof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Shape 14">
            <a:extLst>
              <a:ext uri="{FF2B5EF4-FFF2-40B4-BE49-F238E27FC236}">
                <a16:creationId xmlns:a16="http://schemas.microsoft.com/office/drawing/2014/main" id="{29B07351-DB8C-B007-3494-52E635E51589}"/>
              </a:ext>
            </a:extLst>
          </p:cNvPr>
          <p:cNvSpPr/>
          <p:nvPr/>
        </p:nvSpPr>
        <p:spPr>
          <a:xfrm>
            <a:off x="818197" y="3239924"/>
            <a:ext cx="475639" cy="512064"/>
          </a:xfrm>
          <a:prstGeom prst="ellipse">
            <a:avLst/>
          </a:prstGeom>
          <a:solidFill>
            <a:srgbClr val="027A87"/>
          </a:solidFill>
          <a:ln w="12700">
            <a:solidFill>
              <a:srgbClr val="027A87"/>
            </a:solidFill>
            <a:prstDash val="solid"/>
          </a:ln>
        </p:spPr>
        <p:txBody>
          <a:bodyPr/>
          <a:lstStyle/>
          <a:p>
            <a:endParaRPr lang="ru-RU" sz="2400" noProof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Text 15">
            <a:extLst>
              <a:ext uri="{FF2B5EF4-FFF2-40B4-BE49-F238E27FC236}">
                <a16:creationId xmlns:a16="http://schemas.microsoft.com/office/drawing/2014/main" id="{6C4EC214-4DFF-9184-C4F1-9B68B1A9BBF2}"/>
              </a:ext>
            </a:extLst>
          </p:cNvPr>
          <p:cNvSpPr/>
          <p:nvPr/>
        </p:nvSpPr>
        <p:spPr>
          <a:xfrm>
            <a:off x="818197" y="3239924"/>
            <a:ext cx="475639" cy="512064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algn="ctr"/>
            <a:r>
              <a:rPr lang="ru-RU" sz="2000" b="1" noProof="1">
                <a:solidFill>
                  <a:srgbClr val="FFFFFF"/>
                </a:solidFill>
                <a:latin typeface="Arial" panose="020B0604020202020204" pitchFamily="34" charset="0"/>
                <a:ea typeface="Trebuchet MS" pitchFamily="34" charset="-122"/>
                <a:cs typeface="Arial" panose="020B0604020202020204" pitchFamily="34" charset="0"/>
              </a:rPr>
              <a:t>2</a:t>
            </a:r>
            <a:endParaRPr lang="ru-RU" sz="2000" noProof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Shape 21">
            <a:extLst>
              <a:ext uri="{FF2B5EF4-FFF2-40B4-BE49-F238E27FC236}">
                <a16:creationId xmlns:a16="http://schemas.microsoft.com/office/drawing/2014/main" id="{24066F70-81A3-6188-BC06-501406B88145}"/>
              </a:ext>
            </a:extLst>
          </p:cNvPr>
          <p:cNvSpPr/>
          <p:nvPr/>
        </p:nvSpPr>
        <p:spPr>
          <a:xfrm>
            <a:off x="635317" y="4281630"/>
            <a:ext cx="10645259" cy="1048512"/>
          </a:xfrm>
          <a:prstGeom prst="rect">
            <a:avLst/>
          </a:prstGeom>
          <a:solidFill>
            <a:srgbClr val="F7FAFB"/>
          </a:solidFill>
          <a:ln w="5080">
            <a:solidFill>
              <a:srgbClr val="B2D8DE"/>
            </a:solidFill>
            <a:prstDash val="solid"/>
          </a:ln>
        </p:spPr>
        <p:txBody>
          <a:bodyPr/>
          <a:lstStyle/>
          <a:p>
            <a:endParaRPr lang="ru-RU" sz="2400" noProof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Text 23">
            <a:extLst>
              <a:ext uri="{FF2B5EF4-FFF2-40B4-BE49-F238E27FC236}">
                <a16:creationId xmlns:a16="http://schemas.microsoft.com/office/drawing/2014/main" id="{19F5AAF3-1A56-47C3-9F92-21E271B95166}"/>
              </a:ext>
            </a:extLst>
          </p:cNvPr>
          <p:cNvSpPr/>
          <p:nvPr/>
        </p:nvSpPr>
        <p:spPr>
          <a:xfrm>
            <a:off x="818197" y="4549854"/>
            <a:ext cx="475639" cy="512064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algn="ctr"/>
            <a:r>
              <a:rPr lang="ru-RU" sz="2000" b="1" noProof="1">
                <a:solidFill>
                  <a:srgbClr val="FFFFFF"/>
                </a:solidFill>
                <a:latin typeface="Arial" panose="020B0604020202020204" pitchFamily="34" charset="0"/>
                <a:ea typeface="Trebuchet MS" pitchFamily="34" charset="-122"/>
                <a:cs typeface="Arial" panose="020B0604020202020204" pitchFamily="34" charset="0"/>
              </a:rPr>
              <a:t>3</a:t>
            </a:r>
            <a:endParaRPr lang="ru-RU" sz="2000" noProof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Shape 29">
            <a:extLst>
              <a:ext uri="{FF2B5EF4-FFF2-40B4-BE49-F238E27FC236}">
                <a16:creationId xmlns:a16="http://schemas.microsoft.com/office/drawing/2014/main" id="{FE601494-1A09-7CCB-0C09-FB2FF89F6CF1}"/>
              </a:ext>
            </a:extLst>
          </p:cNvPr>
          <p:cNvSpPr/>
          <p:nvPr/>
        </p:nvSpPr>
        <p:spPr>
          <a:xfrm>
            <a:off x="635317" y="5378910"/>
            <a:ext cx="10645259" cy="1024418"/>
          </a:xfrm>
          <a:prstGeom prst="rect">
            <a:avLst/>
          </a:prstGeom>
          <a:solidFill>
            <a:srgbClr val="D6F0F3"/>
          </a:solidFill>
          <a:ln w="5080">
            <a:solidFill>
              <a:srgbClr val="B2D8DE"/>
            </a:solidFill>
            <a:prstDash val="solid"/>
          </a:ln>
        </p:spPr>
        <p:txBody>
          <a:bodyPr/>
          <a:lstStyle/>
          <a:p>
            <a:endParaRPr lang="ru-RU" sz="2400" noProof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Text 31">
            <a:extLst>
              <a:ext uri="{FF2B5EF4-FFF2-40B4-BE49-F238E27FC236}">
                <a16:creationId xmlns:a16="http://schemas.microsoft.com/office/drawing/2014/main" id="{D1B1D751-A4ED-1692-C1EB-6197D340638A}"/>
              </a:ext>
            </a:extLst>
          </p:cNvPr>
          <p:cNvSpPr/>
          <p:nvPr/>
        </p:nvSpPr>
        <p:spPr>
          <a:xfrm>
            <a:off x="818197" y="5647134"/>
            <a:ext cx="475639" cy="512064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algn="ctr"/>
            <a:r>
              <a:rPr lang="ru-RU" sz="2000" b="1" noProof="1">
                <a:solidFill>
                  <a:srgbClr val="FFFFFF"/>
                </a:solidFill>
                <a:latin typeface="Arial" panose="020B0604020202020204" pitchFamily="34" charset="0"/>
                <a:ea typeface="Trebuchet MS" pitchFamily="34" charset="-122"/>
                <a:cs typeface="Arial" panose="020B0604020202020204" pitchFamily="34" charset="0"/>
              </a:rPr>
              <a:t>4</a:t>
            </a:r>
            <a:endParaRPr lang="ru-RU" sz="2000" noProof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" name="Text 8">
            <a:extLst>
              <a:ext uri="{FF2B5EF4-FFF2-40B4-BE49-F238E27FC236}">
                <a16:creationId xmlns:a16="http://schemas.microsoft.com/office/drawing/2014/main" id="{99F453F0-7C4F-546C-37DF-4EB32795C8F7}"/>
              </a:ext>
            </a:extLst>
          </p:cNvPr>
          <p:cNvSpPr/>
          <p:nvPr/>
        </p:nvSpPr>
        <p:spPr>
          <a:xfrm>
            <a:off x="1549717" y="3313076"/>
            <a:ext cx="4869640" cy="36576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r>
              <a:rPr lang="ru-RU" sz="2400" b="1" noProof="1">
                <a:solidFill>
                  <a:srgbClr val="16303A"/>
                </a:solidFill>
                <a:latin typeface="Arial" panose="020B0604020202020204" pitchFamily="34" charset="0"/>
                <a:ea typeface="Trebuchet MS" pitchFamily="34" charset="-122"/>
                <a:cs typeface="Arial" panose="020B0604020202020204" pitchFamily="34" charset="0"/>
              </a:rPr>
              <a:t>Переосмысление</a:t>
            </a:r>
            <a:endParaRPr lang="ru-RU" sz="2400" noProof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3" name="Shape 30">
            <a:extLst>
              <a:ext uri="{FF2B5EF4-FFF2-40B4-BE49-F238E27FC236}">
                <a16:creationId xmlns:a16="http://schemas.microsoft.com/office/drawing/2014/main" id="{CCDE9EC4-EACB-699A-366A-489077CFD778}"/>
              </a:ext>
            </a:extLst>
          </p:cNvPr>
          <p:cNvSpPr/>
          <p:nvPr/>
        </p:nvSpPr>
        <p:spPr>
          <a:xfrm>
            <a:off x="818197" y="5647134"/>
            <a:ext cx="512064" cy="512064"/>
          </a:xfrm>
          <a:prstGeom prst="ellipse">
            <a:avLst/>
          </a:prstGeom>
          <a:solidFill>
            <a:srgbClr val="027A87"/>
          </a:solidFill>
          <a:ln w="12700">
            <a:solidFill>
              <a:srgbClr val="027A87"/>
            </a:solidFill>
            <a:prstDash val="solid"/>
          </a:ln>
        </p:spPr>
        <p:txBody>
          <a:bodyPr/>
          <a:lstStyle/>
          <a:p>
            <a:endParaRPr lang="ru-RU" sz="2400" noProof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4" name="Text 31">
            <a:extLst>
              <a:ext uri="{FF2B5EF4-FFF2-40B4-BE49-F238E27FC236}">
                <a16:creationId xmlns:a16="http://schemas.microsoft.com/office/drawing/2014/main" id="{B1E73294-20C1-4696-49AF-D7ADC8C97911}"/>
              </a:ext>
            </a:extLst>
          </p:cNvPr>
          <p:cNvSpPr/>
          <p:nvPr/>
        </p:nvSpPr>
        <p:spPr>
          <a:xfrm>
            <a:off x="818197" y="5647134"/>
            <a:ext cx="512064" cy="512064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algn="ctr"/>
            <a:r>
              <a:rPr lang="ru-RU" sz="2000" b="1" noProof="1">
                <a:solidFill>
                  <a:srgbClr val="FFFFFF"/>
                </a:solidFill>
                <a:latin typeface="Arial" panose="020B0604020202020204" pitchFamily="34" charset="0"/>
                <a:ea typeface="Trebuchet MS" pitchFamily="34" charset="-122"/>
                <a:cs typeface="Arial" panose="020B0604020202020204" pitchFamily="34" charset="0"/>
              </a:rPr>
              <a:t>4</a:t>
            </a:r>
            <a:endParaRPr lang="ru-RU" sz="2000" noProof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7" name="Shape 14">
            <a:extLst>
              <a:ext uri="{FF2B5EF4-FFF2-40B4-BE49-F238E27FC236}">
                <a16:creationId xmlns:a16="http://schemas.microsoft.com/office/drawing/2014/main" id="{1C2E1A10-3D97-FAC7-FE58-F9006A1EEDE8}"/>
              </a:ext>
            </a:extLst>
          </p:cNvPr>
          <p:cNvSpPr/>
          <p:nvPr/>
        </p:nvSpPr>
        <p:spPr>
          <a:xfrm>
            <a:off x="821103" y="4549854"/>
            <a:ext cx="475639" cy="512064"/>
          </a:xfrm>
          <a:prstGeom prst="ellipse">
            <a:avLst/>
          </a:prstGeom>
          <a:solidFill>
            <a:srgbClr val="027A87"/>
          </a:solidFill>
          <a:ln w="12700">
            <a:solidFill>
              <a:srgbClr val="027A87"/>
            </a:solidFill>
            <a:prstDash val="solid"/>
          </a:ln>
        </p:spPr>
        <p:txBody>
          <a:bodyPr/>
          <a:lstStyle/>
          <a:p>
            <a:endParaRPr lang="ru-RU" sz="2400" noProof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8" name="Text 15">
            <a:extLst>
              <a:ext uri="{FF2B5EF4-FFF2-40B4-BE49-F238E27FC236}">
                <a16:creationId xmlns:a16="http://schemas.microsoft.com/office/drawing/2014/main" id="{0F79FF31-2D2D-CDE2-C9C8-5C74EE73A084}"/>
              </a:ext>
            </a:extLst>
          </p:cNvPr>
          <p:cNvSpPr/>
          <p:nvPr/>
        </p:nvSpPr>
        <p:spPr>
          <a:xfrm>
            <a:off x="821103" y="4549854"/>
            <a:ext cx="475639" cy="512064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algn="ctr"/>
            <a:r>
              <a:rPr lang="ru-RU" sz="2000" b="1" noProof="1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</a:t>
            </a:r>
            <a:endParaRPr lang="ru-RU" sz="2000" noProof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0" name="Text 8">
            <a:extLst>
              <a:ext uri="{FF2B5EF4-FFF2-40B4-BE49-F238E27FC236}">
                <a16:creationId xmlns:a16="http://schemas.microsoft.com/office/drawing/2014/main" id="{1543D1CB-7171-418D-1D3A-2B7DA05D058C}"/>
              </a:ext>
            </a:extLst>
          </p:cNvPr>
          <p:cNvSpPr/>
          <p:nvPr/>
        </p:nvSpPr>
        <p:spPr>
          <a:xfrm>
            <a:off x="1549717" y="4623006"/>
            <a:ext cx="8685664" cy="36576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r>
              <a:rPr lang="ru-RU" sz="2400" b="1" noProof="1">
                <a:solidFill>
                  <a:srgbClr val="16303A"/>
                </a:solidFill>
                <a:latin typeface="Arial" panose="020B0604020202020204" pitchFamily="34" charset="0"/>
                <a:ea typeface="Trebuchet MS" pitchFamily="34" charset="-122"/>
                <a:cs typeface="Arial" panose="020B0604020202020204" pitchFamily="34" charset="0"/>
              </a:rPr>
              <a:t>Относитесь к ним как к соавторам, а не получателям</a:t>
            </a:r>
            <a:endParaRPr lang="ru-RU" sz="2400" noProof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2" name="Text 8">
            <a:extLst>
              <a:ext uri="{FF2B5EF4-FFF2-40B4-BE49-F238E27FC236}">
                <a16:creationId xmlns:a16="http://schemas.microsoft.com/office/drawing/2014/main" id="{82FEC182-7172-D269-21ED-42CB75F080A3}"/>
              </a:ext>
            </a:extLst>
          </p:cNvPr>
          <p:cNvSpPr/>
          <p:nvPr/>
        </p:nvSpPr>
        <p:spPr>
          <a:xfrm>
            <a:off x="1549717" y="5686266"/>
            <a:ext cx="8685664" cy="36576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r>
              <a:rPr lang="ru-RU" sz="2400" b="1" noProof="1">
                <a:solidFill>
                  <a:srgbClr val="16303A"/>
                </a:solidFill>
                <a:latin typeface="Arial" panose="020B0604020202020204" pitchFamily="34" charset="0"/>
                <a:ea typeface="Trebuchet MS" pitchFamily="34" charset="-122"/>
                <a:cs typeface="Arial" panose="020B0604020202020204" pitchFamily="34" charset="0"/>
              </a:rPr>
              <a:t>Акцент на обучении, а не на оценивании</a:t>
            </a:r>
            <a:endParaRPr lang="ru-RU" sz="2400" noProof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7089454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F3A49DA-8038-CF3B-F282-1A662CE15E4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DB84476-BC29-4407-9D57-B2E562B8968B}" type="slidenum">
              <a:rPr lang="ru-RU" noProof="1" smtClean="0"/>
              <a:pPr/>
              <a:t>17</a:t>
            </a:fld>
            <a:endParaRPr lang="ru-RU" noProof="1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FD927B79-DF10-39BF-1E00-727CA44980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noProof="1"/>
              <a:t>Мини пленарная сессия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AEEDA3E-8F0B-E3EA-69B6-BBC3E047E743}"/>
              </a:ext>
            </a:extLst>
          </p:cNvPr>
          <p:cNvSpPr txBox="1"/>
          <p:nvPr/>
        </p:nvSpPr>
        <p:spPr>
          <a:xfrm>
            <a:off x="635317" y="1413064"/>
            <a:ext cx="8626670" cy="1631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lvl="0" indent="-28575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endParaRPr lang="ru-RU" sz="2500" noProof="1">
              <a:solidFill>
                <a:schemeClr val="bg1"/>
              </a:solidFill>
              <a:latin typeface="Arial" panose="020B0604020202020204" pitchFamily="34" charset="0"/>
            </a:endParaRPr>
          </a:p>
          <a:p>
            <a:pPr marL="285750" lvl="0" indent="-28575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ru-RU" sz="2500" noProof="1">
                <a:solidFill>
                  <a:schemeClr val="bg1"/>
                </a:solidFill>
                <a:latin typeface="Arial" panose="020B0604020202020204" pitchFamily="34" charset="0"/>
              </a:rPr>
              <a:t>Где ваша группа согласилась с данными? </a:t>
            </a:r>
          </a:p>
          <a:p>
            <a:pPr marL="285750" lvl="0" indent="-28575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ru-RU" sz="2500" noProof="1">
                <a:solidFill>
                  <a:schemeClr val="bg1"/>
                </a:solidFill>
                <a:latin typeface="Arial" panose="020B0604020202020204" pitchFamily="34" charset="0"/>
              </a:rPr>
              <a:t>Где вы не согласились? </a:t>
            </a:r>
          </a:p>
          <a:p>
            <a:pPr marL="285750" lvl="0" indent="-28575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ru-RU" sz="2500" noProof="1">
                <a:solidFill>
                  <a:schemeClr val="bg1"/>
                </a:solidFill>
                <a:latin typeface="Arial" panose="020B0604020202020204" pitchFamily="34" charset="0"/>
              </a:rPr>
              <a:t>Что вас удивило?</a:t>
            </a:r>
          </a:p>
        </p:txBody>
      </p:sp>
    </p:spTree>
    <p:extLst>
      <p:ext uri="{BB962C8B-B14F-4D97-AF65-F5344CB8AC3E}">
        <p14:creationId xmlns:p14="http://schemas.microsoft.com/office/powerpoint/2010/main" val="27716887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0C5336E-D7A5-5F86-D41D-51597454EE8D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DB84476-BC29-4407-9D57-B2E562B8968B}" type="slidenum">
              <a:rPr lang="ru-RU" noProof="1" smtClean="0"/>
              <a:pPr/>
              <a:t>170</a:t>
            </a:fld>
            <a:endParaRPr lang="ru-RU" noProof="1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5544C79B-3EB0-62E4-ACB0-3F131C5CE7D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070017" y="297712"/>
            <a:ext cx="4051966" cy="63609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6486063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E5DC941-BB8B-977C-40BA-862DE7701DE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C99F121-3C23-87DB-4F1E-E5EC5B9C19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5317" y="233649"/>
            <a:ext cx="10689175" cy="1080120"/>
          </a:xfrm>
        </p:spPr>
        <p:txBody>
          <a:bodyPr/>
          <a:lstStyle/>
          <a:p>
            <a:r>
              <a:rPr lang="ru-RU" noProof="1"/>
              <a:t>Ролевая игра</a:t>
            </a:r>
          </a:p>
        </p:txBody>
      </p:sp>
      <p:sp>
        <p:nvSpPr>
          <p:cNvPr id="3" name="Text 4">
            <a:extLst>
              <a:ext uri="{FF2B5EF4-FFF2-40B4-BE49-F238E27FC236}">
                <a16:creationId xmlns:a16="http://schemas.microsoft.com/office/drawing/2014/main" id="{79122F36-230C-18FB-8FD4-AB271A95E5B7}"/>
              </a:ext>
            </a:extLst>
          </p:cNvPr>
          <p:cNvSpPr/>
          <p:nvPr/>
        </p:nvSpPr>
        <p:spPr>
          <a:xfrm>
            <a:off x="635317" y="1240436"/>
            <a:ext cx="8534400" cy="42672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r>
              <a:rPr lang="ru-RU" sz="1467" i="1" noProof="1">
                <a:solidFill>
                  <a:schemeClr val="bg1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Все четыре проявляются в общем образовании, ПОО и практическом обучении — в разных формах.</a:t>
            </a:r>
            <a:endParaRPr lang="ru-RU" sz="1467" noProof="1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Shape 5">
            <a:extLst>
              <a:ext uri="{FF2B5EF4-FFF2-40B4-BE49-F238E27FC236}">
                <a16:creationId xmlns:a16="http://schemas.microsoft.com/office/drawing/2014/main" id="{492771A6-9C07-BD29-135B-455CCCBEED94}"/>
              </a:ext>
            </a:extLst>
          </p:cNvPr>
          <p:cNvSpPr/>
          <p:nvPr/>
        </p:nvSpPr>
        <p:spPr>
          <a:xfrm>
            <a:off x="635317" y="1874420"/>
            <a:ext cx="11460480" cy="1048512"/>
          </a:xfrm>
          <a:prstGeom prst="rect">
            <a:avLst/>
          </a:prstGeom>
          <a:solidFill>
            <a:srgbClr val="F7FAFB"/>
          </a:solidFill>
          <a:ln w="5080">
            <a:solidFill>
              <a:srgbClr val="B2D8DE"/>
            </a:solidFill>
            <a:prstDash val="solid"/>
          </a:ln>
        </p:spPr>
        <p:txBody>
          <a:bodyPr/>
          <a:lstStyle/>
          <a:p>
            <a:endParaRPr lang="ru-RU" sz="2400" noProof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Shape 6">
            <a:extLst>
              <a:ext uri="{FF2B5EF4-FFF2-40B4-BE49-F238E27FC236}">
                <a16:creationId xmlns:a16="http://schemas.microsoft.com/office/drawing/2014/main" id="{065E9933-7203-DE17-5F0E-3B8B908A1F7C}"/>
              </a:ext>
            </a:extLst>
          </p:cNvPr>
          <p:cNvSpPr/>
          <p:nvPr/>
        </p:nvSpPr>
        <p:spPr>
          <a:xfrm>
            <a:off x="818197" y="2142644"/>
            <a:ext cx="512064" cy="512064"/>
          </a:xfrm>
          <a:prstGeom prst="ellipse">
            <a:avLst/>
          </a:prstGeom>
          <a:solidFill>
            <a:srgbClr val="027A87"/>
          </a:solidFill>
          <a:ln w="12700">
            <a:solidFill>
              <a:srgbClr val="027A87"/>
            </a:solidFill>
            <a:prstDash val="solid"/>
          </a:ln>
        </p:spPr>
        <p:txBody>
          <a:bodyPr/>
          <a:lstStyle/>
          <a:p>
            <a:endParaRPr lang="ru-RU" sz="2400" noProof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Text 7">
            <a:extLst>
              <a:ext uri="{FF2B5EF4-FFF2-40B4-BE49-F238E27FC236}">
                <a16:creationId xmlns:a16="http://schemas.microsoft.com/office/drawing/2014/main" id="{E73CACE5-2C00-7C78-6EC2-77F409430295}"/>
              </a:ext>
            </a:extLst>
          </p:cNvPr>
          <p:cNvSpPr/>
          <p:nvPr/>
        </p:nvSpPr>
        <p:spPr>
          <a:xfrm>
            <a:off x="818197" y="2142644"/>
            <a:ext cx="512064" cy="512064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algn="ctr"/>
            <a:r>
              <a:rPr lang="ru-RU" sz="2000" b="1" noProof="1">
                <a:solidFill>
                  <a:srgbClr val="FFFFFF"/>
                </a:solidFill>
                <a:latin typeface="Arial" panose="020B0604020202020204" pitchFamily="34" charset="0"/>
                <a:ea typeface="Trebuchet MS" pitchFamily="34" charset="-122"/>
                <a:cs typeface="Arial" panose="020B0604020202020204" pitchFamily="34" charset="0"/>
              </a:rPr>
              <a:t>1</a:t>
            </a:r>
            <a:endParaRPr lang="ru-RU" sz="2000" noProof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Text 8">
            <a:extLst>
              <a:ext uri="{FF2B5EF4-FFF2-40B4-BE49-F238E27FC236}">
                <a16:creationId xmlns:a16="http://schemas.microsoft.com/office/drawing/2014/main" id="{4C33FB8E-930C-D469-856B-3FCF4881AB8A}"/>
              </a:ext>
            </a:extLst>
          </p:cNvPr>
          <p:cNvSpPr/>
          <p:nvPr/>
        </p:nvSpPr>
        <p:spPr>
          <a:xfrm>
            <a:off x="1580197" y="1921307"/>
            <a:ext cx="5242560" cy="36576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r>
              <a:rPr lang="ru-RU" sz="1600" b="1" noProof="1">
                <a:solidFill>
                  <a:srgbClr val="16303A"/>
                </a:solidFill>
                <a:latin typeface="Arial" panose="020B0604020202020204" pitchFamily="34" charset="0"/>
                <a:ea typeface="Trebuchet MS" pitchFamily="34" charset="-122"/>
                <a:cs typeface="Arial" panose="020B0604020202020204" pitchFamily="34" charset="0"/>
              </a:rPr>
              <a:t>Авторитет и экспертиза в аудитории</a:t>
            </a:r>
            <a:endParaRPr lang="ru-RU" sz="1600" noProof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Text 9">
            <a:extLst>
              <a:ext uri="{FF2B5EF4-FFF2-40B4-BE49-F238E27FC236}">
                <a16:creationId xmlns:a16="http://schemas.microsoft.com/office/drawing/2014/main" id="{4553A45D-3739-0701-B8B8-11C3147F46C6}"/>
              </a:ext>
            </a:extLst>
          </p:cNvPr>
          <p:cNvSpPr/>
          <p:nvPr/>
        </p:nvSpPr>
        <p:spPr>
          <a:xfrm>
            <a:off x="1549717" y="2235302"/>
            <a:ext cx="5242560" cy="609600"/>
          </a:xfrm>
          <a:prstGeom prst="rect">
            <a:avLst/>
          </a:prstGeom>
          <a:noFill/>
          <a:ln/>
        </p:spPr>
        <p:txBody>
          <a:bodyPr wrap="square" rtlCol="0" anchor="t"/>
          <a:lstStyle/>
          <a:p>
            <a:r>
              <a:rPr lang="ru-RU" sz="1400" noProof="1">
                <a:solidFill>
                  <a:schemeClr val="accent2">
                    <a:lumMod val="50000"/>
                  </a:schemeClr>
                </a:solidFill>
              </a:rPr>
              <a:t>«Мне не нужно это обучение. Я преподаю уже 20 лет. У меня есть степень магистра.»</a:t>
            </a:r>
          </a:p>
        </p:txBody>
      </p:sp>
      <p:sp>
        <p:nvSpPr>
          <p:cNvPr id="9" name="Shape 10">
            <a:extLst>
              <a:ext uri="{FF2B5EF4-FFF2-40B4-BE49-F238E27FC236}">
                <a16:creationId xmlns:a16="http://schemas.microsoft.com/office/drawing/2014/main" id="{5AD80739-1AFC-E6E8-E912-6E4A08E55681}"/>
              </a:ext>
            </a:extLst>
          </p:cNvPr>
          <p:cNvSpPr/>
          <p:nvPr/>
        </p:nvSpPr>
        <p:spPr>
          <a:xfrm>
            <a:off x="6914197" y="1971956"/>
            <a:ext cx="60960" cy="853440"/>
          </a:xfrm>
          <a:prstGeom prst="rect">
            <a:avLst/>
          </a:prstGeom>
          <a:solidFill>
            <a:srgbClr val="E8940A"/>
          </a:solidFill>
          <a:ln w="12700">
            <a:solidFill>
              <a:srgbClr val="E8940A"/>
            </a:solidFill>
            <a:prstDash val="solid"/>
          </a:ln>
        </p:spPr>
        <p:txBody>
          <a:bodyPr/>
          <a:lstStyle/>
          <a:p>
            <a:endParaRPr lang="ru-RU" sz="2400" noProof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Text 11">
            <a:extLst>
              <a:ext uri="{FF2B5EF4-FFF2-40B4-BE49-F238E27FC236}">
                <a16:creationId xmlns:a16="http://schemas.microsoft.com/office/drawing/2014/main" id="{14D64B83-910C-3DAC-6BA3-DAE9B6A3282D}"/>
              </a:ext>
            </a:extLst>
          </p:cNvPr>
          <p:cNvSpPr/>
          <p:nvPr/>
        </p:nvSpPr>
        <p:spPr>
          <a:xfrm>
            <a:off x="7097077" y="1935380"/>
            <a:ext cx="4876800" cy="30480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r>
              <a:rPr lang="ru-RU" sz="1067" b="1" kern="0" spc="200" noProof="1">
                <a:solidFill>
                  <a:srgbClr val="E8940A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ОТВЕТ</a:t>
            </a:r>
            <a:endParaRPr lang="ru-RU" sz="1067" noProof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Shape 13">
            <a:extLst>
              <a:ext uri="{FF2B5EF4-FFF2-40B4-BE49-F238E27FC236}">
                <a16:creationId xmlns:a16="http://schemas.microsoft.com/office/drawing/2014/main" id="{49ECAAC4-C8DC-CFC0-3540-44E284F78B95}"/>
              </a:ext>
            </a:extLst>
          </p:cNvPr>
          <p:cNvSpPr/>
          <p:nvPr/>
        </p:nvSpPr>
        <p:spPr>
          <a:xfrm>
            <a:off x="635317" y="2971700"/>
            <a:ext cx="11460480" cy="1241500"/>
          </a:xfrm>
          <a:prstGeom prst="rect">
            <a:avLst/>
          </a:prstGeom>
          <a:solidFill>
            <a:srgbClr val="D6F0F3"/>
          </a:solidFill>
          <a:ln w="5080">
            <a:solidFill>
              <a:srgbClr val="B2D8DE"/>
            </a:solidFill>
            <a:prstDash val="solid"/>
          </a:ln>
        </p:spPr>
        <p:txBody>
          <a:bodyPr/>
          <a:lstStyle/>
          <a:p>
            <a:endParaRPr lang="ru-RU" sz="2400" noProof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Shape 14">
            <a:extLst>
              <a:ext uri="{FF2B5EF4-FFF2-40B4-BE49-F238E27FC236}">
                <a16:creationId xmlns:a16="http://schemas.microsoft.com/office/drawing/2014/main" id="{26EE44E7-CEAD-204E-0B89-F80201C61839}"/>
              </a:ext>
            </a:extLst>
          </p:cNvPr>
          <p:cNvSpPr/>
          <p:nvPr/>
        </p:nvSpPr>
        <p:spPr>
          <a:xfrm>
            <a:off x="818197" y="3239924"/>
            <a:ext cx="512064" cy="512064"/>
          </a:xfrm>
          <a:prstGeom prst="ellipse">
            <a:avLst/>
          </a:prstGeom>
          <a:solidFill>
            <a:srgbClr val="027A87"/>
          </a:solidFill>
          <a:ln w="12700">
            <a:solidFill>
              <a:srgbClr val="027A87"/>
            </a:solidFill>
            <a:prstDash val="solid"/>
          </a:ln>
        </p:spPr>
        <p:txBody>
          <a:bodyPr/>
          <a:lstStyle/>
          <a:p>
            <a:endParaRPr lang="ru-RU" sz="2400" noProof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Text 15">
            <a:extLst>
              <a:ext uri="{FF2B5EF4-FFF2-40B4-BE49-F238E27FC236}">
                <a16:creationId xmlns:a16="http://schemas.microsoft.com/office/drawing/2014/main" id="{4272DFED-6275-D645-CAE0-0DB3DFB5D7B8}"/>
              </a:ext>
            </a:extLst>
          </p:cNvPr>
          <p:cNvSpPr/>
          <p:nvPr/>
        </p:nvSpPr>
        <p:spPr>
          <a:xfrm>
            <a:off x="818197" y="3239924"/>
            <a:ext cx="512064" cy="512064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algn="ctr"/>
            <a:r>
              <a:rPr lang="ru-RU" sz="2000" b="1" noProof="1">
                <a:solidFill>
                  <a:srgbClr val="FFFFFF"/>
                </a:solidFill>
                <a:latin typeface="Arial" panose="020B0604020202020204" pitchFamily="34" charset="0"/>
                <a:ea typeface="Trebuchet MS" pitchFamily="34" charset="-122"/>
                <a:cs typeface="Arial" panose="020B0604020202020204" pitchFamily="34" charset="0"/>
              </a:rPr>
              <a:t>2</a:t>
            </a:r>
            <a:endParaRPr lang="ru-RU" sz="2000" noProof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Text 16">
            <a:extLst>
              <a:ext uri="{FF2B5EF4-FFF2-40B4-BE49-F238E27FC236}">
                <a16:creationId xmlns:a16="http://schemas.microsoft.com/office/drawing/2014/main" id="{92CEA7FF-A847-6399-D29B-0225C3348CCB}"/>
              </a:ext>
            </a:extLst>
          </p:cNvPr>
          <p:cNvSpPr/>
          <p:nvPr/>
        </p:nvSpPr>
        <p:spPr>
          <a:xfrm>
            <a:off x="1549717" y="2990130"/>
            <a:ext cx="5242560" cy="36576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r>
              <a:rPr lang="ru-RU" sz="1600" b="1" noProof="1">
                <a:solidFill>
                  <a:srgbClr val="16303A"/>
                </a:solidFill>
                <a:latin typeface="Arial" panose="020B0604020202020204" pitchFamily="34" charset="0"/>
                <a:ea typeface="Trebuchet MS" pitchFamily="34" charset="-122"/>
                <a:cs typeface="Arial" panose="020B0604020202020204" pitchFamily="34" charset="0"/>
              </a:rPr>
              <a:t>Скептицизм по поводу новых методов</a:t>
            </a:r>
            <a:endParaRPr lang="ru-RU" sz="1600" noProof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Text 17">
            <a:extLst>
              <a:ext uri="{FF2B5EF4-FFF2-40B4-BE49-F238E27FC236}">
                <a16:creationId xmlns:a16="http://schemas.microsoft.com/office/drawing/2014/main" id="{F5A40CF4-D103-B3CE-0107-9E568DDD9978}"/>
              </a:ext>
            </a:extLst>
          </p:cNvPr>
          <p:cNvSpPr/>
          <p:nvPr/>
        </p:nvSpPr>
        <p:spPr>
          <a:xfrm>
            <a:off x="1549717" y="3276792"/>
            <a:ext cx="5242560" cy="609600"/>
          </a:xfrm>
          <a:prstGeom prst="rect">
            <a:avLst/>
          </a:prstGeom>
          <a:noFill/>
          <a:ln/>
        </p:spPr>
        <p:txBody>
          <a:bodyPr wrap="square" rtlCol="0" anchor="t"/>
          <a:lstStyle/>
          <a:p>
            <a:r>
              <a:rPr lang="ru-RU" sz="1400" noProof="1">
                <a:solidFill>
                  <a:srgbClr val="3D6673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«Три года назад мы пробовали групповую работу — она не сработала.» «Мои коллеги не поддержат это.» «Наши руководители хотят результатов, а не активностей.» Скептицизм реален — и обоснован.</a:t>
            </a:r>
            <a:endParaRPr lang="ru-RU" sz="1400" noProof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Shape 18">
            <a:extLst>
              <a:ext uri="{FF2B5EF4-FFF2-40B4-BE49-F238E27FC236}">
                <a16:creationId xmlns:a16="http://schemas.microsoft.com/office/drawing/2014/main" id="{73608BE1-F967-EB0A-B9B5-5025BDFF756B}"/>
              </a:ext>
            </a:extLst>
          </p:cNvPr>
          <p:cNvSpPr/>
          <p:nvPr/>
        </p:nvSpPr>
        <p:spPr>
          <a:xfrm>
            <a:off x="6914197" y="3069236"/>
            <a:ext cx="60960" cy="853440"/>
          </a:xfrm>
          <a:prstGeom prst="rect">
            <a:avLst/>
          </a:prstGeom>
          <a:solidFill>
            <a:srgbClr val="E8940A"/>
          </a:solidFill>
          <a:ln w="12700">
            <a:solidFill>
              <a:srgbClr val="E8940A"/>
            </a:solidFill>
            <a:prstDash val="solid"/>
          </a:ln>
        </p:spPr>
        <p:txBody>
          <a:bodyPr/>
          <a:lstStyle/>
          <a:p>
            <a:endParaRPr lang="ru-RU" sz="2400" noProof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Text 19">
            <a:extLst>
              <a:ext uri="{FF2B5EF4-FFF2-40B4-BE49-F238E27FC236}">
                <a16:creationId xmlns:a16="http://schemas.microsoft.com/office/drawing/2014/main" id="{0FD8E8CC-150C-7F33-C551-97965A253E5E}"/>
              </a:ext>
            </a:extLst>
          </p:cNvPr>
          <p:cNvSpPr/>
          <p:nvPr/>
        </p:nvSpPr>
        <p:spPr>
          <a:xfrm>
            <a:off x="7097077" y="3032660"/>
            <a:ext cx="4876800" cy="30480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r>
              <a:rPr lang="ru-RU" sz="1067" b="1" kern="0" spc="200" noProof="1">
                <a:solidFill>
                  <a:srgbClr val="E8940A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ОТВЕТ</a:t>
            </a:r>
            <a:endParaRPr lang="ru-RU" sz="1067" noProof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" name="Shape 21">
            <a:extLst>
              <a:ext uri="{FF2B5EF4-FFF2-40B4-BE49-F238E27FC236}">
                <a16:creationId xmlns:a16="http://schemas.microsoft.com/office/drawing/2014/main" id="{DAE41228-BE2F-6AEC-1F48-C040915BE3AA}"/>
              </a:ext>
            </a:extLst>
          </p:cNvPr>
          <p:cNvSpPr/>
          <p:nvPr/>
        </p:nvSpPr>
        <p:spPr>
          <a:xfrm>
            <a:off x="635317" y="4281630"/>
            <a:ext cx="11460480" cy="1048512"/>
          </a:xfrm>
          <a:prstGeom prst="rect">
            <a:avLst/>
          </a:prstGeom>
          <a:solidFill>
            <a:srgbClr val="F7FAFB"/>
          </a:solidFill>
          <a:ln w="5080">
            <a:solidFill>
              <a:srgbClr val="B2D8DE"/>
            </a:solidFill>
            <a:prstDash val="solid"/>
          </a:ln>
        </p:spPr>
        <p:txBody>
          <a:bodyPr/>
          <a:lstStyle/>
          <a:p>
            <a:endParaRPr lang="ru-RU" sz="2400" noProof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" name="Shape 22">
            <a:extLst>
              <a:ext uri="{FF2B5EF4-FFF2-40B4-BE49-F238E27FC236}">
                <a16:creationId xmlns:a16="http://schemas.microsoft.com/office/drawing/2014/main" id="{E379891E-F6AB-EA69-4144-60ED30599DE7}"/>
              </a:ext>
            </a:extLst>
          </p:cNvPr>
          <p:cNvSpPr/>
          <p:nvPr/>
        </p:nvSpPr>
        <p:spPr>
          <a:xfrm>
            <a:off x="818197" y="4549854"/>
            <a:ext cx="512064" cy="512064"/>
          </a:xfrm>
          <a:prstGeom prst="ellipse">
            <a:avLst/>
          </a:prstGeom>
          <a:solidFill>
            <a:srgbClr val="027A87"/>
          </a:solidFill>
          <a:ln w="12700">
            <a:solidFill>
              <a:srgbClr val="027A87"/>
            </a:solidFill>
            <a:prstDash val="solid"/>
          </a:ln>
        </p:spPr>
        <p:txBody>
          <a:bodyPr/>
          <a:lstStyle/>
          <a:p>
            <a:endParaRPr lang="ru-RU" sz="2400" noProof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2" name="Text 23">
            <a:extLst>
              <a:ext uri="{FF2B5EF4-FFF2-40B4-BE49-F238E27FC236}">
                <a16:creationId xmlns:a16="http://schemas.microsoft.com/office/drawing/2014/main" id="{FFE8157A-F83E-F98A-38FF-27833BBE1884}"/>
              </a:ext>
            </a:extLst>
          </p:cNvPr>
          <p:cNvSpPr/>
          <p:nvPr/>
        </p:nvSpPr>
        <p:spPr>
          <a:xfrm>
            <a:off x="818197" y="4549854"/>
            <a:ext cx="512064" cy="512064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algn="ctr"/>
            <a:r>
              <a:rPr lang="ru-RU" sz="2000" b="1" noProof="1">
                <a:solidFill>
                  <a:srgbClr val="FFFFFF"/>
                </a:solidFill>
                <a:latin typeface="Arial" panose="020B0604020202020204" pitchFamily="34" charset="0"/>
                <a:ea typeface="Trebuchet MS" pitchFamily="34" charset="-122"/>
                <a:cs typeface="Arial" panose="020B0604020202020204" pitchFamily="34" charset="0"/>
              </a:rPr>
              <a:t>3</a:t>
            </a:r>
            <a:endParaRPr lang="ru-RU" sz="2000" noProof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3" name="Text 24">
            <a:extLst>
              <a:ext uri="{FF2B5EF4-FFF2-40B4-BE49-F238E27FC236}">
                <a16:creationId xmlns:a16="http://schemas.microsoft.com/office/drawing/2014/main" id="{6E2D6897-887F-7EFC-316D-96D7795729FB}"/>
              </a:ext>
            </a:extLst>
          </p:cNvPr>
          <p:cNvSpPr/>
          <p:nvPr/>
        </p:nvSpPr>
        <p:spPr>
          <a:xfrm>
            <a:off x="1549717" y="4387194"/>
            <a:ext cx="5242560" cy="36576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r>
              <a:rPr lang="ru-RU" sz="1600" b="1" noProof="1">
                <a:solidFill>
                  <a:srgbClr val="16303A"/>
                </a:solidFill>
                <a:latin typeface="Arial" panose="020B0604020202020204" pitchFamily="34" charset="0"/>
                <a:ea typeface="Trebuchet MS" pitchFamily="34" charset="-122"/>
                <a:cs typeface="Arial" panose="020B0604020202020204" pitchFamily="34" charset="0"/>
              </a:rPr>
              <a:t>Давление времени и реальность учебного заведения</a:t>
            </a:r>
            <a:endParaRPr lang="ru-RU" sz="1600" noProof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4" name="Text 25">
            <a:extLst>
              <a:ext uri="{FF2B5EF4-FFF2-40B4-BE49-F238E27FC236}">
                <a16:creationId xmlns:a16="http://schemas.microsoft.com/office/drawing/2014/main" id="{CF76EB61-C313-5E98-253F-BB4FABFAF06C}"/>
              </a:ext>
            </a:extLst>
          </p:cNvPr>
          <p:cNvSpPr/>
          <p:nvPr/>
        </p:nvSpPr>
        <p:spPr>
          <a:xfrm>
            <a:off x="1549717" y="4813914"/>
            <a:ext cx="5242560" cy="609600"/>
          </a:xfrm>
          <a:prstGeom prst="rect">
            <a:avLst/>
          </a:prstGeom>
          <a:noFill/>
          <a:ln/>
        </p:spPr>
        <p:txBody>
          <a:bodyPr wrap="square" rtlCol="0" anchor="t"/>
          <a:lstStyle/>
          <a:p>
            <a:r>
              <a:rPr lang="ru-RU" sz="1400" noProof="1">
                <a:solidFill>
                  <a:srgbClr val="3D6673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«Нет времени на рефлексию» — это правда в школах, в колледжах ПОО и в мастерских. Условия разные; структурная реальность одна.</a:t>
            </a:r>
            <a:endParaRPr lang="ru-RU" sz="1400" noProof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5" name="Shape 26">
            <a:extLst>
              <a:ext uri="{FF2B5EF4-FFF2-40B4-BE49-F238E27FC236}">
                <a16:creationId xmlns:a16="http://schemas.microsoft.com/office/drawing/2014/main" id="{AC881870-8FA5-5DA7-2C50-4B588AC68742}"/>
              </a:ext>
            </a:extLst>
          </p:cNvPr>
          <p:cNvSpPr/>
          <p:nvPr/>
        </p:nvSpPr>
        <p:spPr>
          <a:xfrm>
            <a:off x="6914197" y="4379166"/>
            <a:ext cx="60960" cy="853440"/>
          </a:xfrm>
          <a:prstGeom prst="rect">
            <a:avLst/>
          </a:prstGeom>
          <a:solidFill>
            <a:srgbClr val="E8940A"/>
          </a:solidFill>
          <a:ln w="12700">
            <a:solidFill>
              <a:srgbClr val="E8940A"/>
            </a:solidFill>
            <a:prstDash val="solid"/>
          </a:ln>
        </p:spPr>
        <p:txBody>
          <a:bodyPr/>
          <a:lstStyle/>
          <a:p>
            <a:endParaRPr lang="ru-RU" sz="2400" noProof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6" name="Text 27">
            <a:extLst>
              <a:ext uri="{FF2B5EF4-FFF2-40B4-BE49-F238E27FC236}">
                <a16:creationId xmlns:a16="http://schemas.microsoft.com/office/drawing/2014/main" id="{9BF2D0C2-208D-C712-BD5E-F6350BFAFC88}"/>
              </a:ext>
            </a:extLst>
          </p:cNvPr>
          <p:cNvSpPr/>
          <p:nvPr/>
        </p:nvSpPr>
        <p:spPr>
          <a:xfrm>
            <a:off x="7097077" y="4342590"/>
            <a:ext cx="4876800" cy="30480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r>
              <a:rPr lang="ru-RU" sz="1067" b="1" kern="0" spc="200" noProof="1">
                <a:solidFill>
                  <a:srgbClr val="E8940A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ОТВЕТ</a:t>
            </a:r>
            <a:endParaRPr lang="ru-RU" sz="1067" noProof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8" name="Shape 29">
            <a:extLst>
              <a:ext uri="{FF2B5EF4-FFF2-40B4-BE49-F238E27FC236}">
                <a16:creationId xmlns:a16="http://schemas.microsoft.com/office/drawing/2014/main" id="{53E00273-47B2-C205-8085-7A9407C33B26}"/>
              </a:ext>
            </a:extLst>
          </p:cNvPr>
          <p:cNvSpPr/>
          <p:nvPr/>
        </p:nvSpPr>
        <p:spPr>
          <a:xfrm>
            <a:off x="635317" y="5378910"/>
            <a:ext cx="11460480" cy="1435262"/>
          </a:xfrm>
          <a:prstGeom prst="rect">
            <a:avLst/>
          </a:prstGeom>
          <a:solidFill>
            <a:srgbClr val="D6F0F3"/>
          </a:solidFill>
          <a:ln w="5080">
            <a:solidFill>
              <a:srgbClr val="B2D8DE"/>
            </a:solidFill>
            <a:prstDash val="solid"/>
          </a:ln>
        </p:spPr>
        <p:txBody>
          <a:bodyPr/>
          <a:lstStyle/>
          <a:p>
            <a:endParaRPr lang="ru-RU" sz="2400" noProof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9" name="Shape 30">
            <a:extLst>
              <a:ext uri="{FF2B5EF4-FFF2-40B4-BE49-F238E27FC236}">
                <a16:creationId xmlns:a16="http://schemas.microsoft.com/office/drawing/2014/main" id="{A528AFCB-6167-C1C0-ECB7-AD8B5DEF1E6D}"/>
              </a:ext>
            </a:extLst>
          </p:cNvPr>
          <p:cNvSpPr/>
          <p:nvPr/>
        </p:nvSpPr>
        <p:spPr>
          <a:xfrm>
            <a:off x="818197" y="5647134"/>
            <a:ext cx="512064" cy="512064"/>
          </a:xfrm>
          <a:prstGeom prst="ellipse">
            <a:avLst/>
          </a:prstGeom>
          <a:solidFill>
            <a:srgbClr val="027A87"/>
          </a:solidFill>
          <a:ln w="12700">
            <a:solidFill>
              <a:srgbClr val="027A87"/>
            </a:solidFill>
            <a:prstDash val="solid"/>
          </a:ln>
        </p:spPr>
        <p:txBody>
          <a:bodyPr/>
          <a:lstStyle/>
          <a:p>
            <a:endParaRPr lang="ru-RU" sz="2400" noProof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0" name="Text 31">
            <a:extLst>
              <a:ext uri="{FF2B5EF4-FFF2-40B4-BE49-F238E27FC236}">
                <a16:creationId xmlns:a16="http://schemas.microsoft.com/office/drawing/2014/main" id="{71A62738-8B15-6D8A-C30E-D99FC47DFABE}"/>
              </a:ext>
            </a:extLst>
          </p:cNvPr>
          <p:cNvSpPr/>
          <p:nvPr/>
        </p:nvSpPr>
        <p:spPr>
          <a:xfrm>
            <a:off x="818197" y="5647134"/>
            <a:ext cx="512064" cy="512064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algn="ctr"/>
            <a:r>
              <a:rPr lang="ru-RU" sz="2000" b="1" noProof="1">
                <a:solidFill>
                  <a:srgbClr val="FFFFFF"/>
                </a:solidFill>
                <a:latin typeface="Arial" panose="020B0604020202020204" pitchFamily="34" charset="0"/>
                <a:ea typeface="Trebuchet MS" pitchFamily="34" charset="-122"/>
                <a:cs typeface="Arial" panose="020B0604020202020204" pitchFamily="34" charset="0"/>
              </a:rPr>
              <a:t>4</a:t>
            </a:r>
            <a:endParaRPr lang="ru-RU" sz="2000" noProof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1" name="Text 32">
            <a:extLst>
              <a:ext uri="{FF2B5EF4-FFF2-40B4-BE49-F238E27FC236}">
                <a16:creationId xmlns:a16="http://schemas.microsoft.com/office/drawing/2014/main" id="{80858CE8-69F1-0A9F-1724-20CD72615548}"/>
              </a:ext>
            </a:extLst>
          </p:cNvPr>
          <p:cNvSpPr/>
          <p:nvPr/>
        </p:nvSpPr>
        <p:spPr>
          <a:xfrm>
            <a:off x="1549717" y="5439870"/>
            <a:ext cx="5242560" cy="36576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r>
              <a:rPr lang="ru-RU" sz="1600" b="1" noProof="1">
                <a:solidFill>
                  <a:srgbClr val="16303A"/>
                </a:solidFill>
                <a:latin typeface="Arial" panose="020B0604020202020204" pitchFamily="34" charset="0"/>
                <a:ea typeface="Trebuchet MS" pitchFamily="34" charset="-122"/>
                <a:cs typeface="Arial" panose="020B0604020202020204" pitchFamily="34" charset="0"/>
              </a:rPr>
              <a:t>Политика учебного заведения и руководство</a:t>
            </a:r>
            <a:endParaRPr lang="ru-RU" sz="1600" noProof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2" name="Text 33">
            <a:extLst>
              <a:ext uri="{FF2B5EF4-FFF2-40B4-BE49-F238E27FC236}">
                <a16:creationId xmlns:a16="http://schemas.microsoft.com/office/drawing/2014/main" id="{95C329DE-C104-C5A0-4FCF-52BB6B8B5BD2}"/>
              </a:ext>
            </a:extLst>
          </p:cNvPr>
          <p:cNvSpPr/>
          <p:nvPr/>
        </p:nvSpPr>
        <p:spPr>
          <a:xfrm>
            <a:off x="1549717" y="5793438"/>
            <a:ext cx="5242560" cy="609600"/>
          </a:xfrm>
          <a:prstGeom prst="rect">
            <a:avLst/>
          </a:prstGeom>
          <a:noFill/>
          <a:ln/>
        </p:spPr>
        <p:txBody>
          <a:bodyPr wrap="square" rtlCol="0" anchor="t"/>
          <a:lstStyle/>
          <a:p>
            <a:r>
              <a:rPr lang="ru-RU" sz="1400" noProof="1">
                <a:solidFill>
                  <a:srgbClr val="3D6673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«Мой директор никогда не поддержит это.» «Методический центр определяет нашу программу.» «Директор мастерской решает, что считать обучением.» Разные органы власти, одна и та же закономерность.</a:t>
            </a:r>
            <a:endParaRPr lang="ru-RU" sz="1400" noProof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3" name="Shape 34">
            <a:extLst>
              <a:ext uri="{FF2B5EF4-FFF2-40B4-BE49-F238E27FC236}">
                <a16:creationId xmlns:a16="http://schemas.microsoft.com/office/drawing/2014/main" id="{BC95E70A-1A59-A27B-13DB-767F3BDB5B7E}"/>
              </a:ext>
            </a:extLst>
          </p:cNvPr>
          <p:cNvSpPr/>
          <p:nvPr/>
        </p:nvSpPr>
        <p:spPr>
          <a:xfrm>
            <a:off x="6914197" y="5476446"/>
            <a:ext cx="60960" cy="1171760"/>
          </a:xfrm>
          <a:prstGeom prst="rect">
            <a:avLst/>
          </a:prstGeom>
          <a:solidFill>
            <a:srgbClr val="E8940A"/>
          </a:solidFill>
          <a:ln w="12700">
            <a:solidFill>
              <a:srgbClr val="E8940A"/>
            </a:solidFill>
            <a:prstDash val="solid"/>
          </a:ln>
        </p:spPr>
        <p:txBody>
          <a:bodyPr/>
          <a:lstStyle/>
          <a:p>
            <a:endParaRPr lang="ru-RU" sz="2400" noProof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4" name="Text 35">
            <a:extLst>
              <a:ext uri="{FF2B5EF4-FFF2-40B4-BE49-F238E27FC236}">
                <a16:creationId xmlns:a16="http://schemas.microsoft.com/office/drawing/2014/main" id="{0DF1B7B7-274F-406A-1C78-3F5A215C11A4}"/>
              </a:ext>
            </a:extLst>
          </p:cNvPr>
          <p:cNvSpPr/>
          <p:nvPr/>
        </p:nvSpPr>
        <p:spPr>
          <a:xfrm>
            <a:off x="7097077" y="5439870"/>
            <a:ext cx="4876800" cy="30480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r>
              <a:rPr lang="ru-RU" sz="1067" b="1" kern="0" spc="200" noProof="1">
                <a:solidFill>
                  <a:srgbClr val="E8940A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ОТВЕТ</a:t>
            </a:r>
            <a:endParaRPr lang="ru-RU" sz="1067" noProof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7343412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13B77DC-8227-03B6-14BE-04A5CB650A7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9D1203AB-09BF-1718-6A77-01FE6A943B91}"/>
              </a:ext>
            </a:extLst>
          </p:cNvPr>
          <p:cNvSpPr/>
          <p:nvPr/>
        </p:nvSpPr>
        <p:spPr>
          <a:xfrm>
            <a:off x="552450" y="219075"/>
            <a:ext cx="1943100" cy="12287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noProof="1"/>
          </a:p>
        </p:txBody>
      </p:sp>
      <p:pic>
        <p:nvPicPr>
          <p:cNvPr id="10" name="Picture 9" descr="A blue flag with yellow stars&#10;&#10;AI-generated content may be incorrect.">
            <a:extLst>
              <a:ext uri="{FF2B5EF4-FFF2-40B4-BE49-F238E27FC236}">
                <a16:creationId xmlns:a16="http://schemas.microsoft.com/office/drawing/2014/main" id="{CCB3FA22-DFC5-BE92-9C5C-F8069FE1AA7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67" r="-524" b="5181"/>
          <a:stretch>
            <a:fillRect/>
          </a:stretch>
        </p:blipFill>
        <p:spPr bwMode="auto">
          <a:xfrm>
            <a:off x="10242394" y="85444"/>
            <a:ext cx="1783073" cy="1715333"/>
          </a:xfrm>
          <a:prstGeom prst="rect">
            <a:avLst/>
          </a:prstGeom>
          <a:noFill/>
        </p:spPr>
      </p:pic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C30E906E-EFFD-C49F-5916-E3A3F2698A0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/>
        <p:txBody>
          <a:bodyPr/>
          <a:lstStyle/>
          <a:p>
            <a:endParaRPr lang="ru-RU" noProof="1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79AC4929-EF55-D985-12F9-A4151D74531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ru-RU" noProof="1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83BBA893-8843-D85B-1034-3D260ABBE23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ru-RU" noProof="1"/>
          </a:p>
        </p:txBody>
      </p:sp>
      <p:pic>
        <p:nvPicPr>
          <p:cNvPr id="12" name="Picture 11" descr="A blue text on a black background&#10;&#10;AI-generated content may be incorrect.">
            <a:extLst>
              <a:ext uri="{FF2B5EF4-FFF2-40B4-BE49-F238E27FC236}">
                <a16:creationId xmlns:a16="http://schemas.microsoft.com/office/drawing/2014/main" id="{C482DE87-6B91-0187-A1C8-AC067DE8B8C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5293" y="89083"/>
            <a:ext cx="2030830" cy="1224303"/>
          </a:xfrm>
          <a:prstGeom prst="rect">
            <a:avLst/>
          </a:prstGeom>
          <a:noFill/>
        </p:spPr>
      </p:pic>
      <p:pic>
        <p:nvPicPr>
          <p:cNvPr id="15" name="Picture 14" descr="A logo with stars and text&#10;&#10;AI-generated content may be incorrect.">
            <a:extLst>
              <a:ext uri="{FF2B5EF4-FFF2-40B4-BE49-F238E27FC236}">
                <a16:creationId xmlns:a16="http://schemas.microsoft.com/office/drawing/2014/main" id="{0A4CDCD6-0044-BDDA-956F-61D9C364B2B2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81196" y="5210046"/>
            <a:ext cx="2111127" cy="1713490"/>
          </a:xfrm>
          <a:prstGeom prst="rect">
            <a:avLst/>
          </a:prstGeom>
        </p:spPr>
      </p:pic>
      <p:sp>
        <p:nvSpPr>
          <p:cNvPr id="2" name="TextBox 2">
            <a:extLst>
              <a:ext uri="{FF2B5EF4-FFF2-40B4-BE49-F238E27FC236}">
                <a16:creationId xmlns:a16="http://schemas.microsoft.com/office/drawing/2014/main" id="{99834722-1E68-2CFF-970A-552738F04CCC}"/>
              </a:ext>
            </a:extLst>
          </p:cNvPr>
          <p:cNvSpPr txBox="1"/>
          <p:nvPr/>
        </p:nvSpPr>
        <p:spPr>
          <a:xfrm>
            <a:off x="176045" y="2020180"/>
            <a:ext cx="7361854" cy="3427861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>
            <a:defPPr>
              <a:defRPr lang="en-GB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ru-RU" sz="3600" b="1" kern="100" noProof="1">
                <a:solidFill>
                  <a:schemeClr val="tx1">
                    <a:lumMod val="65000"/>
                    <a:lumOff val="35000"/>
                  </a:schemeClr>
                </a:solidFill>
                <a:ea typeface="+mn-lt"/>
                <a:cs typeface="+mn-lt"/>
              </a:rPr>
              <a:t>Перерыв на кофе</a:t>
            </a:r>
            <a:endParaRPr lang="ru-RU" sz="3600" b="1" noProof="1">
              <a:solidFill>
                <a:schemeClr val="tx1">
                  <a:lumMod val="65000"/>
                  <a:lumOff val="35000"/>
                </a:schemeClr>
              </a:solidFill>
              <a:cs typeface="Arial"/>
            </a:endParaRPr>
          </a:p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ru-RU" sz="3600" b="1" kern="100" noProof="1">
                <a:solidFill>
                  <a:schemeClr val="tx1">
                    <a:lumMod val="65000"/>
                    <a:lumOff val="35000"/>
                  </a:schemeClr>
                </a:solidFill>
                <a:cs typeface="Arial"/>
              </a:rPr>
              <a:t>10:30 – 10:55 </a:t>
            </a:r>
          </a:p>
          <a:p>
            <a:pPr algn="ctr">
              <a:lnSpc>
                <a:spcPct val="107000"/>
              </a:lnSpc>
              <a:spcAft>
                <a:spcPts val="800"/>
              </a:spcAft>
            </a:pPr>
            <a:endParaRPr lang="ru-RU" sz="3600" b="1" kern="100" noProof="1">
              <a:solidFill>
                <a:schemeClr val="tx1">
                  <a:lumMod val="65000"/>
                  <a:lumOff val="35000"/>
                </a:schemeClr>
              </a:solidFill>
              <a:cs typeface="Arial"/>
            </a:endParaRPr>
          </a:p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ru-RU" sz="3600" b="1" kern="100" noProof="1">
                <a:solidFill>
                  <a:schemeClr val="tx1">
                    <a:lumMod val="65000"/>
                    <a:lumOff val="35000"/>
                  </a:schemeClr>
                </a:solidFill>
                <a:cs typeface="Arial"/>
              </a:rPr>
              <a:t>Coffee break</a:t>
            </a:r>
          </a:p>
          <a:p>
            <a:pPr algn="ctr"/>
            <a:r>
              <a:rPr lang="ru-RU" sz="3600" b="1" kern="100" noProof="1">
                <a:solidFill>
                  <a:schemeClr val="tx1">
                    <a:lumMod val="65000"/>
                    <a:lumOff val="35000"/>
                  </a:schemeClr>
                </a:solidFill>
                <a:cs typeface="Arial"/>
              </a:rPr>
              <a:t>10:30 – 10:55 </a:t>
            </a:r>
            <a:endParaRPr lang="ru-RU" sz="3200" b="1" noProof="1">
              <a:cs typeface="Arial" panose="020B0604020202020204"/>
            </a:endParaRPr>
          </a:p>
        </p:txBody>
      </p:sp>
    </p:spTree>
    <p:extLst>
      <p:ext uri="{BB962C8B-B14F-4D97-AF65-F5344CB8AC3E}">
        <p14:creationId xmlns:p14="http://schemas.microsoft.com/office/powerpoint/2010/main" val="345164688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2F26DC9-4A51-A58D-97E3-28B02DA03E8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87" y="546564"/>
            <a:ext cx="10944225" cy="1080120"/>
          </a:xfrm>
        </p:spPr>
        <p:txBody>
          <a:bodyPr/>
          <a:lstStyle/>
          <a:p>
            <a:r>
              <a:rPr lang="ru-RU" noProof="1"/>
              <a:t>Учебный обход 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9F40423-9D8B-57D7-6A45-536407697BA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DB84476-BC29-4407-9D57-B2E562B8968B}" type="slidenum">
              <a:rPr lang="ru-RU" noProof="1" smtClean="0"/>
              <a:pPr/>
              <a:t>173</a:t>
            </a:fld>
            <a:endParaRPr lang="ru-RU" noProof="1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0975917F-9E2D-01C9-E1EF-9BA26907BFE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21959" y="850306"/>
            <a:ext cx="4070041" cy="4070041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21E0C759-6EA4-D167-3833-AB478B92663F}"/>
              </a:ext>
            </a:extLst>
          </p:cNvPr>
          <p:cNvSpPr txBox="1"/>
          <p:nvPr/>
        </p:nvSpPr>
        <p:spPr>
          <a:xfrm>
            <a:off x="623887" y="1626684"/>
            <a:ext cx="7260304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noProof="1">
                <a:solidFill>
                  <a:schemeClr val="bg1"/>
                </a:solidFill>
              </a:rPr>
              <a:t>Вот QR-код, который поможет вам вспомнить то, что вы узнали вчера.</a:t>
            </a:r>
          </a:p>
          <a:p>
            <a:endParaRPr lang="ru-RU" sz="2000" noProof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9025499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0BB47C6-1931-6252-1BE6-AD9D7A8ED46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028A980-1470-257B-4C20-E89A5684207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87" y="546564"/>
            <a:ext cx="10944225" cy="1080120"/>
          </a:xfrm>
        </p:spPr>
        <p:txBody>
          <a:bodyPr/>
          <a:lstStyle/>
          <a:p>
            <a:r>
              <a:rPr lang="ru-RU" noProof="1"/>
              <a:t>Учебный обход 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55E0C2A-38C5-4CD7-5BF9-C341F8D5A31D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DB84476-BC29-4407-9D57-B2E562B8968B}" type="slidenum">
              <a:rPr lang="ru-RU" noProof="1" smtClean="0"/>
              <a:pPr/>
              <a:t>174</a:t>
            </a:fld>
            <a:endParaRPr lang="ru-RU" noProof="1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BB7FFB59-723B-D6B0-8736-6398B09AD9A4}"/>
              </a:ext>
            </a:extLst>
          </p:cNvPr>
          <p:cNvSpPr txBox="1"/>
          <p:nvPr/>
        </p:nvSpPr>
        <p:spPr>
          <a:xfrm>
            <a:off x="623886" y="1626684"/>
            <a:ext cx="10656689" cy="393954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500" noProof="1">
                <a:solidFill>
                  <a:schemeClr val="bg1"/>
                </a:solidFill>
              </a:rPr>
              <a:t>Создайте двухминутное видео для публикации в Telegram-группе DARYA SCAFFOLD – в чате Алматы ПРП 2026, в котором опишите, что ваш дизайн обучения делает для развития: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ru-RU" sz="2500" noProof="1">
                <a:solidFill>
                  <a:schemeClr val="bg1"/>
                </a:solidFill>
              </a:rPr>
              <a:t>18 преподавателей предметов ПОО из трёх разных колледжей (технологии, экономика, агрономия)</a:t>
            </a:r>
          </a:p>
          <a:p>
            <a:r>
              <a:rPr lang="ru-RU" sz="2500" noProof="1">
                <a:solidFill>
                  <a:schemeClr val="bg1"/>
                </a:solidFill>
              </a:rPr>
              <a:t>или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ru-RU" sz="2500" noProof="1">
                <a:solidFill>
                  <a:schemeClr val="bg1"/>
                </a:solidFill>
              </a:rPr>
              <a:t>15 мастеров производственного обучения и практических тренеров из колледжей ПОО и корпоративных учебных центров</a:t>
            </a:r>
          </a:p>
          <a:p>
            <a:r>
              <a:rPr lang="ru-RU" sz="2500" noProof="1">
                <a:solidFill>
                  <a:schemeClr val="bg1"/>
                </a:solidFill>
              </a:rPr>
              <a:t>Что они будут делать в ходе сессии и что узнают, поймут и улучшат в результате.</a:t>
            </a:r>
          </a:p>
        </p:txBody>
      </p:sp>
    </p:spTree>
    <p:extLst>
      <p:ext uri="{BB962C8B-B14F-4D97-AF65-F5344CB8AC3E}">
        <p14:creationId xmlns:p14="http://schemas.microsoft.com/office/powerpoint/2010/main" val="144201227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AEB29C5-13D7-BF6D-EE63-5DD89B0546B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noProof="1"/>
              <a:t>Инструкции по созданию видео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6AFD937-B341-9892-06C7-EA9C750C3DC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DB84476-BC29-4407-9D57-B2E562B8968B}" type="slidenum">
              <a:rPr lang="ru-RU" noProof="1" smtClean="0"/>
              <a:pPr/>
              <a:t>175</a:t>
            </a:fld>
            <a:endParaRPr lang="ru-RU" noProof="1"/>
          </a:p>
        </p:txBody>
      </p:sp>
      <p:sp>
        <p:nvSpPr>
          <p:cNvPr id="5" name="Rectangle 1">
            <a:extLst>
              <a:ext uri="{FF2B5EF4-FFF2-40B4-BE49-F238E27FC236}">
                <a16:creationId xmlns:a16="http://schemas.microsoft.com/office/drawing/2014/main" id="{D1FBEC69-0BC3-B672-4E7C-4309777B84E8}"/>
              </a:ext>
            </a:extLst>
          </p:cNvPr>
          <p:cNvSpPr>
            <a:spLocks noChangeArrowheads="1"/>
          </p:cNvSpPr>
          <p:nvPr/>
        </p:nvSpPr>
        <p:spPr bwMode="auto">
          <a:xfrm>
            <a:off x="612458" y="1412777"/>
            <a:ext cx="6858017" cy="278537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2500" b="1" i="0" u="none" strike="noStrike" cap="none" normalizeH="0" baseline="0" noProof="1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Критерии видео:</a:t>
            </a:r>
            <a:endParaRPr kumimoji="0" lang="ru-RU" sz="2500" b="0" i="0" u="none" strike="noStrike" cap="none" normalizeH="0" baseline="0" noProof="1">
              <a:ln>
                <a:noFill/>
              </a:ln>
              <a:solidFill>
                <a:schemeClr val="bg1"/>
              </a:solidFill>
              <a:effectLst/>
              <a:latin typeface="Arial" panose="020B0604020202020204" pitchFamily="34" charset="0"/>
            </a:endParaRPr>
          </a:p>
          <a:p>
            <a:pPr marL="342900" marR="0" lvl="0" indent="-34290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kumimoji="0" lang="ru-RU" sz="2500" b="0" i="0" u="none" strike="noStrike" cap="none" normalizeH="0" baseline="0" noProof="1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Не более 2 минут</a:t>
            </a:r>
          </a:p>
          <a:p>
            <a:pPr marL="342900" marR="0" lvl="0" indent="-34290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kumimoji="0" lang="ru-RU" sz="2500" b="0" i="0" u="none" strike="noStrike" cap="none" normalizeH="0" baseline="0" noProof="1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Сосредоточено на результатах обучения (знания, навыки и понимание, полученные участником)</a:t>
            </a:r>
          </a:p>
          <a:p>
            <a:pPr marL="342900" marR="0" lvl="0" indent="-34290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kumimoji="0" lang="ru-RU" sz="2500" b="0" i="0" u="none" strike="noStrike" cap="none" normalizeH="0" baseline="0" noProof="1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Коммуникация</a:t>
            </a:r>
          </a:p>
          <a:p>
            <a:pPr marL="342900" marR="0" lvl="0" indent="-34290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kumimoji="0" lang="ru-RU" sz="2500" b="0" i="0" u="none" strike="noStrike" cap="none" normalizeH="0" baseline="0" noProof="1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Вовлечённость</a:t>
            </a:r>
          </a:p>
        </p:txBody>
      </p:sp>
    </p:spTree>
    <p:extLst>
      <p:ext uri="{BB962C8B-B14F-4D97-AF65-F5344CB8AC3E}">
        <p14:creationId xmlns:p14="http://schemas.microsoft.com/office/powerpoint/2010/main" val="192962980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3">
            <a:extLst>
              <a:ext uri="{FF2B5EF4-FFF2-40B4-BE49-F238E27FC236}">
                <a16:creationId xmlns:a16="http://schemas.microsoft.com/office/drawing/2014/main" id="{3731E4A4-867F-1DB8-D32F-378665C3A700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635317" y="685505"/>
            <a:ext cx="9587433" cy="55399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i="0" u="none" strike="noStrike" cap="none" normalizeH="0" baseline="0" noProof="1">
                <a:ln>
                  <a:noFill/>
                </a:ln>
                <a:effectLst/>
                <a:latin typeface="Arial" panose="020B0604020202020204" pitchFamily="34" charset="0"/>
              </a:rPr>
              <a:t>Критерии оценки презентации: впечатлите жюри</a:t>
            </a:r>
          </a:p>
        </p:txBody>
      </p:sp>
      <p:sp>
        <p:nvSpPr>
          <p:cNvPr id="6" name="Rectangle 4">
            <a:extLst>
              <a:ext uri="{FF2B5EF4-FFF2-40B4-BE49-F238E27FC236}">
                <a16:creationId xmlns:a16="http://schemas.microsoft.com/office/drawing/2014/main" id="{303C899D-08CC-2F0B-3A1C-D4A99D08B46D}"/>
              </a:ext>
            </a:extLst>
          </p:cNvPr>
          <p:cNvSpPr>
            <a:spLocks noChangeArrowheads="1"/>
          </p:cNvSpPr>
          <p:nvPr/>
        </p:nvSpPr>
        <p:spPr bwMode="auto">
          <a:xfrm>
            <a:off x="635317" y="1655626"/>
            <a:ext cx="10358748" cy="3939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457200" marR="0" lvl="0" indent="-45720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AutoNum type="arabicPeriod"/>
              <a:tabLst/>
            </a:pPr>
            <a:r>
              <a:rPr kumimoji="0" lang="ru-RU" sz="2500" b="1" i="0" u="none" strike="noStrike" cap="none" normalizeH="0" baseline="0" noProof="1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Целевая аудитория</a:t>
            </a:r>
            <a:r>
              <a:rPr lang="ru-RU" sz="2500" noProof="1">
                <a:solidFill>
                  <a:schemeClr val="bg1"/>
                </a:solidFill>
              </a:rPr>
              <a:t>. </a:t>
            </a:r>
            <a:r>
              <a:rPr kumimoji="0" lang="ru-RU" sz="2500" b="0" i="0" u="none" strike="noStrike" cap="none" normalizeH="0" baseline="0" noProof="1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Соответствует потребностям профессионального развития целевой аудитории. С их точки зрения чётко отвечает на вопрос: «Я понимаю, почему это важно для меня, и знаю, что получу от участия».</a:t>
            </a:r>
          </a:p>
          <a:p>
            <a:pPr marL="457200" marR="0" lvl="0" indent="-45720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AutoNum type="arabicPeriod"/>
              <a:tabLst/>
            </a:pPr>
            <a:endParaRPr kumimoji="0" lang="ru-RU" sz="2500" b="0" i="0" u="none" strike="noStrike" cap="none" normalizeH="0" baseline="0" noProof="1">
              <a:ln>
                <a:noFill/>
              </a:ln>
              <a:solidFill>
                <a:schemeClr val="bg1"/>
              </a:solidFill>
              <a:effectLst/>
              <a:latin typeface="Arial" panose="020B0604020202020204" pitchFamily="34" charset="0"/>
            </a:endParaRPr>
          </a:p>
          <a:p>
            <a:pPr marL="457200" marR="0" lvl="0" indent="-45720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AutoNum type="arabicPeriod"/>
              <a:tabLst/>
            </a:pPr>
            <a:r>
              <a:rPr kumimoji="0" lang="ru-RU" sz="2500" b="1" i="0" u="none" strike="noStrike" cap="none" normalizeH="0" baseline="0" noProof="1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Качество</a:t>
            </a:r>
            <a:r>
              <a:rPr lang="ru-RU" sz="2500" noProof="1">
                <a:solidFill>
                  <a:schemeClr val="bg1"/>
                </a:solidFill>
              </a:rPr>
              <a:t>. </a:t>
            </a:r>
            <a:r>
              <a:rPr kumimoji="0" lang="ru-RU" sz="2500" b="0" i="0" u="none" strike="noStrike" cap="none" normalizeH="0" baseline="0" noProof="1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Чётко демонстрирует не менее 3 индикаторов качества.</a:t>
            </a:r>
          </a:p>
          <a:p>
            <a:pPr marL="457200" marR="0" lvl="0" indent="-45720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AutoNum type="arabicPeriod"/>
              <a:tabLst/>
            </a:pPr>
            <a:endParaRPr kumimoji="0" lang="ru-RU" sz="2500" b="0" i="0" u="none" strike="noStrike" cap="none" normalizeH="0" baseline="0" noProof="1">
              <a:ln>
                <a:noFill/>
              </a:ln>
              <a:solidFill>
                <a:schemeClr val="bg1"/>
              </a:solidFill>
              <a:effectLst/>
              <a:latin typeface="Arial" panose="020B0604020202020204" pitchFamily="34" charset="0"/>
            </a:endParaRPr>
          </a:p>
          <a:p>
            <a:pPr marL="457200" marR="0" lvl="0" indent="-45720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AutoNum type="arabicPeriod"/>
              <a:tabLst/>
            </a:pPr>
            <a:r>
              <a:rPr kumimoji="0" lang="ru-RU" sz="2500" b="1" i="0" u="none" strike="noStrike" cap="none" normalizeH="0" baseline="0" noProof="1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Подача, организация и коммуникация</a:t>
            </a:r>
            <a:r>
              <a:rPr kumimoji="0" lang="ru-RU" sz="2500" b="0" i="0" u="none" strike="noStrike" cap="none" normalizeH="0" baseline="0" noProof="1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 Убедительный питч, ясно представленные материалы, соблюдение регламента.</a:t>
            </a:r>
          </a:p>
        </p:txBody>
      </p:sp>
    </p:spTree>
    <p:extLst>
      <p:ext uri="{BB962C8B-B14F-4D97-AF65-F5344CB8AC3E}">
        <p14:creationId xmlns:p14="http://schemas.microsoft.com/office/powerpoint/2010/main" val="297925487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7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1">
            <a:extLst>
              <a:ext uri="{FF2B5EF4-FFF2-40B4-BE49-F238E27FC236}">
                <a16:creationId xmlns:a16="http://schemas.microsoft.com/office/drawing/2014/main" id="{B98A02EA-485C-ECCC-D163-A24AB4196FB5}"/>
              </a:ext>
            </a:extLst>
          </p:cNvPr>
          <p:cNvSpPr/>
          <p:nvPr/>
        </p:nvSpPr>
        <p:spPr>
          <a:xfrm>
            <a:off x="670560" y="792480"/>
            <a:ext cx="10972800" cy="42672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r>
              <a:rPr lang="ru-RU" sz="1467" b="1" kern="0" spc="267" noProof="1">
                <a:solidFill>
                  <a:schemeClr val="bg1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ОДНО, ЧТО ОБЪЕДИНЯЕТ ВСЕ ТРИ ГРУППЫ ПЕДАГОГОВ</a:t>
            </a:r>
            <a:endParaRPr lang="ru-RU" sz="1467" noProof="1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Text 2">
            <a:extLst>
              <a:ext uri="{FF2B5EF4-FFF2-40B4-BE49-F238E27FC236}">
                <a16:creationId xmlns:a16="http://schemas.microsoft.com/office/drawing/2014/main" id="{C859E9CD-E7BF-F310-F912-9217EFBDA2E6}"/>
              </a:ext>
            </a:extLst>
          </p:cNvPr>
          <p:cNvSpPr/>
          <p:nvPr/>
        </p:nvSpPr>
        <p:spPr>
          <a:xfrm>
            <a:off x="924026" y="1584713"/>
            <a:ext cx="10719335" cy="67056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r>
              <a:rPr lang="ru-RU" sz="2933" b="1" i="1" noProof="1">
                <a:solidFill>
                  <a:srgbClr val="039AAA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Все они приходят с одним обоснованным подозрением:</a:t>
            </a:r>
            <a:endParaRPr lang="ru-RU" sz="2933" b="1" noProof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Text 3">
            <a:extLst>
              <a:ext uri="{FF2B5EF4-FFF2-40B4-BE49-F238E27FC236}">
                <a16:creationId xmlns:a16="http://schemas.microsoft.com/office/drawing/2014/main" id="{8BAF2416-7ABB-B386-4C8A-EB149C614E58}"/>
              </a:ext>
            </a:extLst>
          </p:cNvPr>
          <p:cNvSpPr/>
          <p:nvPr/>
        </p:nvSpPr>
        <p:spPr>
          <a:xfrm>
            <a:off x="924026" y="2438153"/>
            <a:ext cx="10719335" cy="85344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r>
              <a:rPr lang="ru-RU" sz="3467" b="1" noProof="1">
                <a:solidFill>
                  <a:srgbClr val="FFFFFF"/>
                </a:solidFill>
                <a:latin typeface="Arial" panose="020B0604020202020204" pitchFamily="34" charset="0"/>
                <a:ea typeface="Trebuchet MS" pitchFamily="34" charset="-122"/>
                <a:cs typeface="Arial" panose="020B0604020202020204" pitchFamily="34" charset="0"/>
              </a:rPr>
              <a:t>что это профессиональное развитие педагогов будет как предыдущее,</a:t>
            </a:r>
            <a:endParaRPr lang="ru-RU" sz="3467" noProof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Text 6">
            <a:extLst>
              <a:ext uri="{FF2B5EF4-FFF2-40B4-BE49-F238E27FC236}">
                <a16:creationId xmlns:a16="http://schemas.microsoft.com/office/drawing/2014/main" id="{DAABD5A5-FB58-5240-6F1D-0F3428212254}"/>
              </a:ext>
            </a:extLst>
          </p:cNvPr>
          <p:cNvSpPr/>
          <p:nvPr/>
        </p:nvSpPr>
        <p:spPr>
          <a:xfrm>
            <a:off x="924026" y="3809753"/>
            <a:ext cx="10719335" cy="1219200"/>
          </a:xfrm>
          <a:prstGeom prst="rect">
            <a:avLst/>
          </a:prstGeom>
          <a:noFill/>
          <a:ln/>
        </p:spPr>
        <p:txBody>
          <a:bodyPr wrap="square" rtlCol="0" anchor="t"/>
          <a:lstStyle/>
          <a:p>
            <a:r>
              <a:rPr lang="ru-RU" sz="1867" noProof="1">
                <a:solidFill>
                  <a:srgbClr val="D6F0F3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Ваша задача в первые пять минут — разрушить это подозрение — не заявляя о своей непохожести, а будучи демонстративно иными с самого первого задания.</a:t>
            </a:r>
            <a:endParaRPr lang="ru-RU" sz="1867" noProof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Shape 1">
            <a:extLst>
              <a:ext uri="{FF2B5EF4-FFF2-40B4-BE49-F238E27FC236}">
                <a16:creationId xmlns:a16="http://schemas.microsoft.com/office/drawing/2014/main" id="{E912C65B-1B22-A5C9-D99E-6939B85CFABF}"/>
              </a:ext>
            </a:extLst>
          </p:cNvPr>
          <p:cNvSpPr/>
          <p:nvPr/>
        </p:nvSpPr>
        <p:spPr>
          <a:xfrm>
            <a:off x="654178" y="1584714"/>
            <a:ext cx="128677" cy="2894244"/>
          </a:xfrm>
          <a:prstGeom prst="rect">
            <a:avLst/>
          </a:prstGeom>
          <a:solidFill>
            <a:srgbClr val="FFDC00"/>
          </a:solidFill>
          <a:ln w="12700">
            <a:solidFill>
              <a:srgbClr val="FFDC00"/>
            </a:solidFill>
            <a:prstDash val="solid"/>
          </a:ln>
        </p:spPr>
        <p:txBody>
          <a:bodyPr/>
          <a:lstStyle/>
          <a:p>
            <a:endParaRPr lang="ru-RU" sz="2400" noProof="1"/>
          </a:p>
        </p:txBody>
      </p:sp>
    </p:spTree>
    <p:extLst>
      <p:ext uri="{BB962C8B-B14F-4D97-AF65-F5344CB8AC3E}">
        <p14:creationId xmlns:p14="http://schemas.microsoft.com/office/powerpoint/2010/main" val="302215554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7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00C82E5F-ACF8-AE6E-460B-9CBC082DDF4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5317" y="178604"/>
            <a:ext cx="7815651" cy="1080120"/>
          </a:xfrm>
        </p:spPr>
        <p:txBody>
          <a:bodyPr/>
          <a:lstStyle/>
          <a:p>
            <a:r>
              <a:rPr lang="ru-RU" noProof="1"/>
              <a:t>Ролевая игра по стоп-кадром</a:t>
            </a:r>
          </a:p>
        </p:txBody>
      </p:sp>
      <p:sp>
        <p:nvSpPr>
          <p:cNvPr id="8" name="Shape 6">
            <a:extLst>
              <a:ext uri="{FF2B5EF4-FFF2-40B4-BE49-F238E27FC236}">
                <a16:creationId xmlns:a16="http://schemas.microsoft.com/office/drawing/2014/main" id="{BE4E2C8D-5F23-5E0A-46E9-DF60B7E2E426}"/>
              </a:ext>
            </a:extLst>
          </p:cNvPr>
          <p:cNvSpPr/>
          <p:nvPr/>
        </p:nvSpPr>
        <p:spPr>
          <a:xfrm>
            <a:off x="635317" y="1418409"/>
            <a:ext cx="5547360" cy="1584960"/>
          </a:xfrm>
          <a:prstGeom prst="rect">
            <a:avLst/>
          </a:prstGeom>
          <a:solidFill>
            <a:srgbClr val="D6F0F3"/>
          </a:solidFill>
          <a:ln w="10160">
            <a:solidFill>
              <a:srgbClr val="027A87"/>
            </a:solidFill>
            <a:prstDash val="solid"/>
          </a:ln>
        </p:spPr>
        <p:txBody>
          <a:bodyPr/>
          <a:lstStyle/>
          <a:p>
            <a:endParaRPr lang="ru-RU" sz="2400" noProof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Text 7">
            <a:extLst>
              <a:ext uri="{FF2B5EF4-FFF2-40B4-BE49-F238E27FC236}">
                <a16:creationId xmlns:a16="http://schemas.microsoft.com/office/drawing/2014/main" id="{7C4D20BD-6465-D283-704A-26958BC7B1AE}"/>
              </a:ext>
            </a:extLst>
          </p:cNvPr>
          <p:cNvSpPr/>
          <p:nvPr/>
        </p:nvSpPr>
        <p:spPr>
          <a:xfrm>
            <a:off x="879157" y="1540329"/>
            <a:ext cx="5120640" cy="36576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r>
              <a:rPr lang="ru-RU" sz="1333" b="1" kern="0" spc="267" noProof="1">
                <a:solidFill>
                  <a:srgbClr val="027A87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ПЕРЕЖИВИТЕ ЭТО</a:t>
            </a:r>
            <a:endParaRPr lang="ru-RU" sz="1333" noProof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Text 8">
            <a:extLst>
              <a:ext uri="{FF2B5EF4-FFF2-40B4-BE49-F238E27FC236}">
                <a16:creationId xmlns:a16="http://schemas.microsoft.com/office/drawing/2014/main" id="{99B0F2BC-9E8F-8F6D-9AB3-55C1AB16593D}"/>
              </a:ext>
            </a:extLst>
          </p:cNvPr>
          <p:cNvSpPr/>
          <p:nvPr/>
        </p:nvSpPr>
        <p:spPr>
          <a:xfrm>
            <a:off x="879157" y="1906089"/>
            <a:ext cx="5120640" cy="36576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r>
              <a:rPr lang="ru-RU" sz="1867" b="1" noProof="1">
                <a:solidFill>
                  <a:srgbClr val="16303A"/>
                </a:solidFill>
                <a:latin typeface="Arial" panose="020B0604020202020204" pitchFamily="34" charset="0"/>
                <a:ea typeface="Trebuchet MS" pitchFamily="34" charset="-122"/>
                <a:cs typeface="Arial" panose="020B0604020202020204" pitchFamily="34" charset="0"/>
              </a:rPr>
              <a:t>Как участник</a:t>
            </a:r>
            <a:endParaRPr lang="ru-RU" sz="1867" noProof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Text 9">
            <a:extLst>
              <a:ext uri="{FF2B5EF4-FFF2-40B4-BE49-F238E27FC236}">
                <a16:creationId xmlns:a16="http://schemas.microsoft.com/office/drawing/2014/main" id="{63482523-C069-386F-EA9E-88148371FB67}"/>
              </a:ext>
            </a:extLst>
          </p:cNvPr>
          <p:cNvSpPr/>
          <p:nvPr/>
        </p:nvSpPr>
        <p:spPr>
          <a:xfrm>
            <a:off x="879157" y="2332809"/>
            <a:ext cx="5120640" cy="609600"/>
          </a:xfrm>
          <a:prstGeom prst="rect">
            <a:avLst/>
          </a:prstGeom>
          <a:noFill/>
          <a:ln/>
        </p:spPr>
        <p:txBody>
          <a:bodyPr wrap="square" rtlCol="0" anchor="t"/>
          <a:lstStyle/>
          <a:p>
            <a:r>
              <a:rPr lang="ru-RU" sz="1467" noProof="1">
                <a:solidFill>
                  <a:srgbClr val="3D6673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Обратите внимание на то, что вы чувствуете, чему сопротивляетесь, что вас привлекает.</a:t>
            </a:r>
            <a:endParaRPr lang="ru-RU" sz="1467" noProof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Shape 10">
            <a:extLst>
              <a:ext uri="{FF2B5EF4-FFF2-40B4-BE49-F238E27FC236}">
                <a16:creationId xmlns:a16="http://schemas.microsoft.com/office/drawing/2014/main" id="{5C4ABFC1-3843-E428-F97B-CF03AF02BB1D}"/>
              </a:ext>
            </a:extLst>
          </p:cNvPr>
          <p:cNvSpPr/>
          <p:nvPr/>
        </p:nvSpPr>
        <p:spPr>
          <a:xfrm>
            <a:off x="6548437" y="1418409"/>
            <a:ext cx="5547360" cy="1584960"/>
          </a:xfrm>
          <a:prstGeom prst="rect">
            <a:avLst/>
          </a:prstGeom>
          <a:solidFill>
            <a:srgbClr val="FDF3DC"/>
          </a:solidFill>
          <a:ln w="10160">
            <a:solidFill>
              <a:srgbClr val="E8940A"/>
            </a:solidFill>
            <a:prstDash val="solid"/>
          </a:ln>
        </p:spPr>
        <p:txBody>
          <a:bodyPr/>
          <a:lstStyle/>
          <a:p>
            <a:endParaRPr lang="ru-RU" sz="2400" noProof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Text 11">
            <a:extLst>
              <a:ext uri="{FF2B5EF4-FFF2-40B4-BE49-F238E27FC236}">
                <a16:creationId xmlns:a16="http://schemas.microsoft.com/office/drawing/2014/main" id="{95192087-704E-1342-39E3-DA9A38CF78D1}"/>
              </a:ext>
            </a:extLst>
          </p:cNvPr>
          <p:cNvSpPr/>
          <p:nvPr/>
        </p:nvSpPr>
        <p:spPr>
          <a:xfrm>
            <a:off x="6792277" y="1437662"/>
            <a:ext cx="5120640" cy="36576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r>
              <a:rPr lang="ru-RU" sz="1333" b="1" kern="0" spc="267" noProof="1">
                <a:solidFill>
                  <a:srgbClr val="E8940A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НАБЛЮДАЙТЕ ЗА ЭТИМ</a:t>
            </a:r>
            <a:endParaRPr lang="ru-RU" sz="1333" noProof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Text 12">
            <a:extLst>
              <a:ext uri="{FF2B5EF4-FFF2-40B4-BE49-F238E27FC236}">
                <a16:creationId xmlns:a16="http://schemas.microsoft.com/office/drawing/2014/main" id="{AD777B76-5FE6-9372-5D59-F46F38694DCD}"/>
              </a:ext>
            </a:extLst>
          </p:cNvPr>
          <p:cNvSpPr/>
          <p:nvPr/>
        </p:nvSpPr>
        <p:spPr>
          <a:xfrm>
            <a:off x="6792277" y="1803422"/>
            <a:ext cx="5120640" cy="36576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r>
              <a:rPr lang="ru-RU" sz="1867" b="1" noProof="1">
                <a:solidFill>
                  <a:srgbClr val="16303A"/>
                </a:solidFill>
                <a:latin typeface="Arial" panose="020B0604020202020204" pitchFamily="34" charset="0"/>
                <a:ea typeface="Trebuchet MS" pitchFamily="34" charset="-122"/>
                <a:cs typeface="Arial" panose="020B0604020202020204" pitchFamily="34" charset="0"/>
              </a:rPr>
              <a:t>Как фасилитатор</a:t>
            </a:r>
            <a:endParaRPr lang="ru-RU" sz="1867" noProof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Text 13">
            <a:extLst>
              <a:ext uri="{FF2B5EF4-FFF2-40B4-BE49-F238E27FC236}">
                <a16:creationId xmlns:a16="http://schemas.microsoft.com/office/drawing/2014/main" id="{C1E25BEC-046A-15E9-C3D3-13872990A301}"/>
              </a:ext>
            </a:extLst>
          </p:cNvPr>
          <p:cNvSpPr/>
          <p:nvPr/>
        </p:nvSpPr>
        <p:spPr>
          <a:xfrm>
            <a:off x="6792277" y="2230142"/>
            <a:ext cx="5120640" cy="609600"/>
          </a:xfrm>
          <a:prstGeom prst="rect">
            <a:avLst/>
          </a:prstGeom>
          <a:noFill/>
          <a:ln/>
        </p:spPr>
        <p:txBody>
          <a:bodyPr wrap="square" rtlCol="0" anchor="t"/>
          <a:lstStyle/>
          <a:p>
            <a:r>
              <a:rPr lang="ru-RU" sz="1467" noProof="1">
                <a:solidFill>
                  <a:srgbClr val="3D6673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Обратите внимание на решения фасилитатора — и какой принцип или карточку SCAFFOLD каждое из них отражает.</a:t>
            </a:r>
            <a:endParaRPr lang="ru-RU" sz="1467" noProof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Shape 14">
            <a:extLst>
              <a:ext uri="{FF2B5EF4-FFF2-40B4-BE49-F238E27FC236}">
                <a16:creationId xmlns:a16="http://schemas.microsoft.com/office/drawing/2014/main" id="{D3D84092-E60F-FD1C-F39C-141B32EAB668}"/>
              </a:ext>
            </a:extLst>
          </p:cNvPr>
          <p:cNvSpPr/>
          <p:nvPr/>
        </p:nvSpPr>
        <p:spPr>
          <a:xfrm>
            <a:off x="635317" y="3247209"/>
            <a:ext cx="11460480" cy="1889760"/>
          </a:xfrm>
          <a:prstGeom prst="rect">
            <a:avLst/>
          </a:prstGeom>
          <a:solidFill>
            <a:srgbClr val="F7FAFB"/>
          </a:solidFill>
          <a:ln w="6350">
            <a:solidFill>
              <a:srgbClr val="B2D8DE"/>
            </a:solidFill>
            <a:prstDash val="solid"/>
          </a:ln>
        </p:spPr>
        <p:txBody>
          <a:bodyPr/>
          <a:lstStyle/>
          <a:p>
            <a:endParaRPr lang="ru-RU" sz="2400" noProof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Text 15">
            <a:extLst>
              <a:ext uri="{FF2B5EF4-FFF2-40B4-BE49-F238E27FC236}">
                <a16:creationId xmlns:a16="http://schemas.microsoft.com/office/drawing/2014/main" id="{B85DD822-6B2F-AE58-18DF-3539DDC7DA65}"/>
              </a:ext>
            </a:extLst>
          </p:cNvPr>
          <p:cNvSpPr/>
          <p:nvPr/>
        </p:nvSpPr>
        <p:spPr>
          <a:xfrm>
            <a:off x="879157" y="3280737"/>
            <a:ext cx="10972800" cy="36576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r>
              <a:rPr lang="ru-RU" sz="1333" b="1" kern="0" spc="267" noProof="1">
                <a:solidFill>
                  <a:srgbClr val="5C7A84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ВАША КАРТОЧКА НАБЛЮДЕНИЯ — пять вопросов</a:t>
            </a:r>
            <a:endParaRPr lang="ru-RU" sz="1333" noProof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Text 16">
            <a:extLst>
              <a:ext uri="{FF2B5EF4-FFF2-40B4-BE49-F238E27FC236}">
                <a16:creationId xmlns:a16="http://schemas.microsoft.com/office/drawing/2014/main" id="{33300432-F31E-CF1C-919C-4E96DB186299}"/>
              </a:ext>
            </a:extLst>
          </p:cNvPr>
          <p:cNvSpPr/>
          <p:nvPr/>
        </p:nvSpPr>
        <p:spPr>
          <a:xfrm>
            <a:off x="940117" y="3759273"/>
            <a:ext cx="365760" cy="268224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r>
              <a:rPr lang="ru-RU" sz="1267" b="1" noProof="1">
                <a:solidFill>
                  <a:srgbClr val="027A87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1.</a:t>
            </a:r>
            <a:endParaRPr lang="ru-RU" sz="1267" noProof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Text 17">
            <a:extLst>
              <a:ext uri="{FF2B5EF4-FFF2-40B4-BE49-F238E27FC236}">
                <a16:creationId xmlns:a16="http://schemas.microsoft.com/office/drawing/2014/main" id="{7F0451A1-489C-F010-FF57-D6A07A4C6C23}"/>
              </a:ext>
            </a:extLst>
          </p:cNvPr>
          <p:cNvSpPr/>
          <p:nvPr/>
        </p:nvSpPr>
        <p:spPr>
          <a:xfrm>
            <a:off x="1366837" y="3701361"/>
            <a:ext cx="10607040" cy="268224"/>
          </a:xfrm>
          <a:prstGeom prst="rect">
            <a:avLst/>
          </a:prstGeom>
          <a:noFill/>
          <a:ln/>
        </p:spPr>
        <p:txBody>
          <a:bodyPr wrap="square" rtlCol="0" anchor="t"/>
          <a:lstStyle/>
          <a:p>
            <a:r>
              <a:rPr lang="ru-RU" sz="1467" noProof="1">
                <a:solidFill>
                  <a:srgbClr val="3D6673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Что делает фасилитатор в первые 3 минуты? Какой принцип активен?</a:t>
            </a:r>
            <a:endParaRPr lang="ru-RU" sz="1467" noProof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" name="Text 18">
            <a:extLst>
              <a:ext uri="{FF2B5EF4-FFF2-40B4-BE49-F238E27FC236}">
                <a16:creationId xmlns:a16="http://schemas.microsoft.com/office/drawing/2014/main" id="{F2A7AB64-E51B-18EC-C070-F80CF8F8DF81}"/>
              </a:ext>
            </a:extLst>
          </p:cNvPr>
          <p:cNvSpPr/>
          <p:nvPr/>
        </p:nvSpPr>
        <p:spPr>
          <a:xfrm>
            <a:off x="940117" y="4027497"/>
            <a:ext cx="365760" cy="268224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r>
              <a:rPr lang="ru-RU" sz="1267" b="1" noProof="1">
                <a:solidFill>
                  <a:srgbClr val="027A87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2.</a:t>
            </a:r>
            <a:endParaRPr lang="ru-RU" sz="1267" noProof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" name="Text 19">
            <a:extLst>
              <a:ext uri="{FF2B5EF4-FFF2-40B4-BE49-F238E27FC236}">
                <a16:creationId xmlns:a16="http://schemas.microsoft.com/office/drawing/2014/main" id="{8320BDF9-6275-7F85-6A5B-80D19169AF06}"/>
              </a:ext>
            </a:extLst>
          </p:cNvPr>
          <p:cNvSpPr/>
          <p:nvPr/>
        </p:nvSpPr>
        <p:spPr>
          <a:xfrm>
            <a:off x="1366837" y="3969585"/>
            <a:ext cx="10607040" cy="268224"/>
          </a:xfrm>
          <a:prstGeom prst="rect">
            <a:avLst/>
          </a:prstGeom>
          <a:noFill/>
          <a:ln/>
        </p:spPr>
        <p:txBody>
          <a:bodyPr wrap="square" rtlCol="0" anchor="t"/>
          <a:lstStyle/>
          <a:p>
            <a:r>
              <a:rPr lang="ru-RU" sz="1467" noProof="1">
                <a:solidFill>
                  <a:srgbClr val="3D6673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Каково первое активное задание? Какой индикатор качества оно адресует?</a:t>
            </a:r>
            <a:endParaRPr lang="ru-RU" sz="1467" noProof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2" name="Text 20">
            <a:extLst>
              <a:ext uri="{FF2B5EF4-FFF2-40B4-BE49-F238E27FC236}">
                <a16:creationId xmlns:a16="http://schemas.microsoft.com/office/drawing/2014/main" id="{34E1D261-B623-DCE6-0F3A-9C3DA96979CB}"/>
              </a:ext>
            </a:extLst>
          </p:cNvPr>
          <p:cNvSpPr/>
          <p:nvPr/>
        </p:nvSpPr>
        <p:spPr>
          <a:xfrm>
            <a:off x="940117" y="4295721"/>
            <a:ext cx="365760" cy="268224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r>
              <a:rPr lang="ru-RU" sz="1267" b="1" noProof="1">
                <a:solidFill>
                  <a:srgbClr val="027A87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3.</a:t>
            </a:r>
            <a:endParaRPr lang="ru-RU" sz="1267" noProof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3" name="Text 21">
            <a:extLst>
              <a:ext uri="{FF2B5EF4-FFF2-40B4-BE49-F238E27FC236}">
                <a16:creationId xmlns:a16="http://schemas.microsoft.com/office/drawing/2014/main" id="{1FA357F1-1529-B66C-0D91-2C054F73229E}"/>
              </a:ext>
            </a:extLst>
          </p:cNvPr>
          <p:cNvSpPr/>
          <p:nvPr/>
        </p:nvSpPr>
        <p:spPr>
          <a:xfrm>
            <a:off x="1366837" y="4237809"/>
            <a:ext cx="10607040" cy="268224"/>
          </a:xfrm>
          <a:prstGeom prst="rect">
            <a:avLst/>
          </a:prstGeom>
          <a:noFill/>
          <a:ln/>
        </p:spPr>
        <p:txBody>
          <a:bodyPr wrap="square" rtlCol="0" anchor="t"/>
          <a:lstStyle/>
          <a:p>
            <a:r>
              <a:rPr lang="ru-RU" sz="1467" noProof="1">
                <a:solidFill>
                  <a:srgbClr val="3D6673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Где фасилитация ощущается плавной — и почему?</a:t>
            </a:r>
            <a:endParaRPr lang="ru-RU" sz="1467" noProof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4" name="Text 22">
            <a:extLst>
              <a:ext uri="{FF2B5EF4-FFF2-40B4-BE49-F238E27FC236}">
                <a16:creationId xmlns:a16="http://schemas.microsoft.com/office/drawing/2014/main" id="{94F13394-7616-40FB-E120-08DF4642E6C3}"/>
              </a:ext>
            </a:extLst>
          </p:cNvPr>
          <p:cNvSpPr/>
          <p:nvPr/>
        </p:nvSpPr>
        <p:spPr>
          <a:xfrm>
            <a:off x="940117" y="4563945"/>
            <a:ext cx="365760" cy="268224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r>
              <a:rPr lang="ru-RU" sz="1267" b="1" noProof="1">
                <a:solidFill>
                  <a:srgbClr val="027A87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4.</a:t>
            </a:r>
            <a:endParaRPr lang="ru-RU" sz="1267" noProof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5" name="Text 23">
            <a:extLst>
              <a:ext uri="{FF2B5EF4-FFF2-40B4-BE49-F238E27FC236}">
                <a16:creationId xmlns:a16="http://schemas.microsoft.com/office/drawing/2014/main" id="{49062E9D-2A2A-53D0-25F9-AEC7144D30F7}"/>
              </a:ext>
            </a:extLst>
          </p:cNvPr>
          <p:cNvSpPr/>
          <p:nvPr/>
        </p:nvSpPr>
        <p:spPr>
          <a:xfrm>
            <a:off x="1366837" y="4506033"/>
            <a:ext cx="10607040" cy="268224"/>
          </a:xfrm>
          <a:prstGeom prst="rect">
            <a:avLst/>
          </a:prstGeom>
          <a:noFill/>
          <a:ln/>
        </p:spPr>
        <p:txBody>
          <a:bodyPr wrap="square" rtlCol="0" anchor="t"/>
          <a:lstStyle/>
          <a:p>
            <a:r>
              <a:rPr lang="ru-RU" sz="1467" noProof="1">
                <a:solidFill>
                  <a:srgbClr val="3D6673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Где что-то не вполне срабатывает — и что бы вы сделали иначе?</a:t>
            </a:r>
            <a:endParaRPr lang="ru-RU" sz="1467" noProof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6" name="Text 24">
            <a:extLst>
              <a:ext uri="{FF2B5EF4-FFF2-40B4-BE49-F238E27FC236}">
                <a16:creationId xmlns:a16="http://schemas.microsoft.com/office/drawing/2014/main" id="{2C23EF4C-2373-0981-47CF-4E89EA773AFA}"/>
              </a:ext>
            </a:extLst>
          </p:cNvPr>
          <p:cNvSpPr/>
          <p:nvPr/>
        </p:nvSpPr>
        <p:spPr>
          <a:xfrm>
            <a:off x="940117" y="4832169"/>
            <a:ext cx="365760" cy="268224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r>
              <a:rPr lang="ru-RU" sz="1267" b="1" noProof="1">
                <a:solidFill>
                  <a:srgbClr val="E8940A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5.</a:t>
            </a:r>
            <a:endParaRPr lang="ru-RU" sz="1267" noProof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7" name="Text 25">
            <a:extLst>
              <a:ext uri="{FF2B5EF4-FFF2-40B4-BE49-F238E27FC236}">
                <a16:creationId xmlns:a16="http://schemas.microsoft.com/office/drawing/2014/main" id="{595D92FB-0F36-FF4A-C446-B7A7CB63DC1F}"/>
              </a:ext>
            </a:extLst>
          </p:cNvPr>
          <p:cNvSpPr/>
          <p:nvPr/>
        </p:nvSpPr>
        <p:spPr>
          <a:xfrm>
            <a:off x="1366837" y="4774257"/>
            <a:ext cx="10607040" cy="268224"/>
          </a:xfrm>
          <a:prstGeom prst="rect">
            <a:avLst/>
          </a:prstGeom>
          <a:noFill/>
          <a:ln/>
        </p:spPr>
        <p:txBody>
          <a:bodyPr wrap="square" rtlCol="0" anchor="t"/>
          <a:lstStyle/>
          <a:p>
            <a:r>
              <a:rPr lang="ru-RU" sz="1467" b="1" noProof="1">
                <a:solidFill>
                  <a:srgbClr val="16303A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Как этот вызов выглядел бы по-другому для группы педагогов в ВАШЕМ задании?</a:t>
            </a:r>
            <a:endParaRPr lang="ru-RU" sz="1467" noProof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2546208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7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7A12A950-0BC5-5DD3-4478-1ADEFE9122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88" y="1099793"/>
            <a:ext cx="10944225" cy="1080120"/>
          </a:xfrm>
        </p:spPr>
        <p:txBody>
          <a:bodyPr>
            <a:normAutofit/>
          </a:bodyPr>
          <a:lstStyle/>
          <a:p>
            <a:r>
              <a:rPr lang="ru-RU" sz="4000" noProof="1"/>
              <a:t>Переживайте это. Наблюдайте за этим.</a:t>
            </a:r>
          </a:p>
        </p:txBody>
      </p:sp>
      <p:sp>
        <p:nvSpPr>
          <p:cNvPr id="4" name="Text 5">
            <a:extLst>
              <a:ext uri="{FF2B5EF4-FFF2-40B4-BE49-F238E27FC236}">
                <a16:creationId xmlns:a16="http://schemas.microsoft.com/office/drawing/2014/main" id="{8D75B392-0C6C-153E-AF9D-3A2C0470AA5F}"/>
              </a:ext>
            </a:extLst>
          </p:cNvPr>
          <p:cNvSpPr/>
          <p:nvPr/>
        </p:nvSpPr>
        <p:spPr>
          <a:xfrm>
            <a:off x="595312" y="2403468"/>
            <a:ext cx="10972800" cy="54864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r>
              <a:rPr lang="ru-RU" sz="3200" b="1" noProof="1">
                <a:solidFill>
                  <a:srgbClr val="039AAA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Метод обучения 4.4  ·  Кооперативное обучение</a:t>
            </a:r>
            <a:endParaRPr lang="ru-RU" sz="3200" b="1" noProof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Text 6">
            <a:extLst>
              <a:ext uri="{FF2B5EF4-FFF2-40B4-BE49-F238E27FC236}">
                <a16:creationId xmlns:a16="http://schemas.microsoft.com/office/drawing/2014/main" id="{78BA8B74-8157-8140-2511-A67A396D348B}"/>
              </a:ext>
            </a:extLst>
          </p:cNvPr>
          <p:cNvSpPr/>
          <p:nvPr/>
        </p:nvSpPr>
        <p:spPr>
          <a:xfrm>
            <a:off x="595312" y="3418213"/>
            <a:ext cx="10972800" cy="48768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r>
              <a:rPr lang="ru-RU" sz="2133" i="1" noProof="1">
                <a:solidFill>
                  <a:srgbClr val="D6F0F3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Нацелено на две компетенции LifeComp  ·  18 преподавателей ПОО, встречающихся между учебными заведениями</a:t>
            </a:r>
            <a:endParaRPr lang="ru-RU" sz="2133" noProof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Text 8">
            <a:extLst>
              <a:ext uri="{FF2B5EF4-FFF2-40B4-BE49-F238E27FC236}">
                <a16:creationId xmlns:a16="http://schemas.microsoft.com/office/drawing/2014/main" id="{B474DA06-535F-6EB9-194A-15E2917535CC}"/>
              </a:ext>
            </a:extLst>
          </p:cNvPr>
          <p:cNvSpPr/>
          <p:nvPr/>
        </p:nvSpPr>
        <p:spPr>
          <a:xfrm>
            <a:off x="595312" y="4371999"/>
            <a:ext cx="10972800" cy="85344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r>
              <a:rPr lang="ru-RU" sz="2133" i="1" noProof="1">
                <a:solidFill>
                  <a:srgbClr val="FFFFFF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Заполняйте карточку наблюдения по ходу демонстрации — не ждите её окончания.</a:t>
            </a:r>
            <a:endParaRPr lang="ru-RU" sz="2133" noProof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3598965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CA1113F-3676-1B96-16CD-8F1AB5EA701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5760" y="377952"/>
            <a:ext cx="11556683" cy="1080120"/>
          </a:xfrm>
        </p:spPr>
        <p:txBody>
          <a:bodyPr>
            <a:normAutofit fontScale="90000"/>
          </a:bodyPr>
          <a:lstStyle/>
          <a:p>
            <a:r>
              <a:rPr lang="ru-RU" noProof="1"/>
              <a:t>Четыре недоказанных утверждения </a:t>
            </a:r>
            <a:br>
              <a:rPr lang="ru-RU" noProof="1"/>
            </a:br>
            <a:r>
              <a:rPr lang="ru-RU" noProof="1">
                <a:latin typeface="Arial" panose="020B0604020202020204" pitchFamily="34" charset="0"/>
              </a:rPr>
              <a:t>Почему эти четыре тезиса звучат убедительно — и что на самом деле показывают данные</a:t>
            </a:r>
          </a:p>
        </p:txBody>
      </p:sp>
      <p:sp>
        <p:nvSpPr>
          <p:cNvPr id="3" name="Shape 3">
            <a:extLst>
              <a:ext uri="{FF2B5EF4-FFF2-40B4-BE49-F238E27FC236}">
                <a16:creationId xmlns:a16="http://schemas.microsoft.com/office/drawing/2014/main" id="{22E4ED2E-5C94-E727-82D9-BDFD6F07E8E4}"/>
              </a:ext>
            </a:extLst>
          </p:cNvPr>
          <p:cNvSpPr/>
          <p:nvPr/>
        </p:nvSpPr>
        <p:spPr>
          <a:xfrm>
            <a:off x="365760" y="1681657"/>
            <a:ext cx="3535680" cy="390144"/>
          </a:xfrm>
          <a:prstGeom prst="rect">
            <a:avLst/>
          </a:prstGeom>
          <a:solidFill>
            <a:schemeClr val="accent2"/>
          </a:solidFill>
          <a:ln w="12700">
            <a:solidFill>
              <a:srgbClr val="E8940A"/>
            </a:solidFill>
            <a:prstDash val="solid"/>
          </a:ln>
        </p:spPr>
        <p:txBody>
          <a:bodyPr/>
          <a:lstStyle/>
          <a:p>
            <a:endParaRPr lang="ru-RU" sz="2400" noProof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Text 4">
            <a:extLst>
              <a:ext uri="{FF2B5EF4-FFF2-40B4-BE49-F238E27FC236}">
                <a16:creationId xmlns:a16="http://schemas.microsoft.com/office/drawing/2014/main" id="{EC0C4ADB-D0BA-C248-143A-496F57272CFF}"/>
              </a:ext>
            </a:extLst>
          </p:cNvPr>
          <p:cNvSpPr/>
          <p:nvPr/>
        </p:nvSpPr>
        <p:spPr>
          <a:xfrm>
            <a:off x="548640" y="1681657"/>
            <a:ext cx="3169920" cy="390144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333" b="1" kern="0" spc="267" noProof="1">
                <a:solidFill>
                  <a:srgbClr val="FFFFFF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ТЕЗИС</a:t>
            </a:r>
            <a:endParaRPr lang="ru-RU" sz="1333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Shape 5">
            <a:extLst>
              <a:ext uri="{FF2B5EF4-FFF2-40B4-BE49-F238E27FC236}">
                <a16:creationId xmlns:a16="http://schemas.microsoft.com/office/drawing/2014/main" id="{4C2721F9-CF21-F65E-C4F8-90333F10C155}"/>
              </a:ext>
            </a:extLst>
          </p:cNvPr>
          <p:cNvSpPr/>
          <p:nvPr/>
        </p:nvSpPr>
        <p:spPr>
          <a:xfrm>
            <a:off x="4023360" y="1681657"/>
            <a:ext cx="3535680" cy="390144"/>
          </a:xfrm>
          <a:prstGeom prst="rect">
            <a:avLst/>
          </a:prstGeom>
          <a:solidFill>
            <a:srgbClr val="002060"/>
          </a:solidFill>
          <a:ln w="12700">
            <a:solidFill>
              <a:srgbClr val="5C7A84"/>
            </a:solidFill>
            <a:prstDash val="solid"/>
          </a:ln>
        </p:spPr>
        <p:txBody>
          <a:bodyPr/>
          <a:lstStyle/>
          <a:p>
            <a:endParaRPr lang="ru-RU" sz="2400" noProof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Text 6">
            <a:extLst>
              <a:ext uri="{FF2B5EF4-FFF2-40B4-BE49-F238E27FC236}">
                <a16:creationId xmlns:a16="http://schemas.microsoft.com/office/drawing/2014/main" id="{EE4C3321-3C27-F5E7-D32D-08883D66EA89}"/>
              </a:ext>
            </a:extLst>
          </p:cNvPr>
          <p:cNvSpPr/>
          <p:nvPr/>
        </p:nvSpPr>
        <p:spPr>
          <a:xfrm>
            <a:off x="4206240" y="1681657"/>
            <a:ext cx="3169920" cy="390144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333" b="1" kern="0" spc="267" noProof="1">
                <a:solidFill>
                  <a:srgbClr val="FFFFFF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ПОЧЕМУ ЭТО ЗВУЧИТ ПРАВДОПОДОБНО</a:t>
            </a:r>
            <a:endParaRPr lang="ru-RU" sz="1333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Shape 7">
            <a:extLst>
              <a:ext uri="{FF2B5EF4-FFF2-40B4-BE49-F238E27FC236}">
                <a16:creationId xmlns:a16="http://schemas.microsoft.com/office/drawing/2014/main" id="{4E6199F7-5934-6C40-EF1F-70E87DEE600E}"/>
              </a:ext>
            </a:extLst>
          </p:cNvPr>
          <p:cNvSpPr/>
          <p:nvPr/>
        </p:nvSpPr>
        <p:spPr>
          <a:xfrm>
            <a:off x="7680960" y="1681657"/>
            <a:ext cx="4145280" cy="390144"/>
          </a:xfrm>
          <a:prstGeom prst="rect">
            <a:avLst/>
          </a:prstGeom>
          <a:solidFill>
            <a:schemeClr val="accent5"/>
          </a:solidFill>
          <a:ln w="12700">
            <a:solidFill>
              <a:srgbClr val="027A87"/>
            </a:solidFill>
            <a:prstDash val="solid"/>
          </a:ln>
        </p:spPr>
        <p:txBody>
          <a:bodyPr/>
          <a:lstStyle/>
          <a:p>
            <a:endParaRPr lang="ru-RU" sz="2400" noProof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Text 8">
            <a:extLst>
              <a:ext uri="{FF2B5EF4-FFF2-40B4-BE49-F238E27FC236}">
                <a16:creationId xmlns:a16="http://schemas.microsoft.com/office/drawing/2014/main" id="{8D96FF64-BFE9-D074-345E-70319A242F6E}"/>
              </a:ext>
            </a:extLst>
          </p:cNvPr>
          <p:cNvSpPr/>
          <p:nvPr/>
        </p:nvSpPr>
        <p:spPr>
          <a:xfrm>
            <a:off x="7863840" y="1681657"/>
            <a:ext cx="3779520" cy="390144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333" b="1" kern="0" spc="267" noProof="1">
                <a:solidFill>
                  <a:srgbClr val="FFFFFF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ЧТО ПОКАЗЫВАЮТ ДАННЫЕ</a:t>
            </a:r>
            <a:endParaRPr lang="ru-RU" sz="1333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Shape 9">
            <a:extLst>
              <a:ext uri="{FF2B5EF4-FFF2-40B4-BE49-F238E27FC236}">
                <a16:creationId xmlns:a16="http://schemas.microsoft.com/office/drawing/2014/main" id="{930B35F9-1668-EB6B-488E-7822C23E575C}"/>
              </a:ext>
            </a:extLst>
          </p:cNvPr>
          <p:cNvSpPr/>
          <p:nvPr/>
        </p:nvSpPr>
        <p:spPr>
          <a:xfrm>
            <a:off x="365760" y="2071801"/>
            <a:ext cx="3535680" cy="1146048"/>
          </a:xfrm>
          <a:prstGeom prst="rect">
            <a:avLst/>
          </a:prstGeom>
          <a:solidFill>
            <a:srgbClr val="F7FAFB"/>
          </a:solidFill>
          <a:ln w="6350">
            <a:solidFill>
              <a:srgbClr val="B2D8DE"/>
            </a:solidFill>
            <a:prstDash val="solid"/>
          </a:ln>
        </p:spPr>
        <p:txBody>
          <a:bodyPr/>
          <a:lstStyle/>
          <a:p>
            <a:endParaRPr lang="ru-RU" sz="2400" noProof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Shape 10">
            <a:extLst>
              <a:ext uri="{FF2B5EF4-FFF2-40B4-BE49-F238E27FC236}">
                <a16:creationId xmlns:a16="http://schemas.microsoft.com/office/drawing/2014/main" id="{56E2844D-63A8-277A-B89B-2B27F880F1C9}"/>
              </a:ext>
            </a:extLst>
          </p:cNvPr>
          <p:cNvSpPr/>
          <p:nvPr/>
        </p:nvSpPr>
        <p:spPr>
          <a:xfrm>
            <a:off x="365760" y="2071801"/>
            <a:ext cx="73152" cy="1146048"/>
          </a:xfrm>
          <a:prstGeom prst="rect">
            <a:avLst/>
          </a:prstGeom>
          <a:solidFill>
            <a:schemeClr val="accent2"/>
          </a:solidFill>
          <a:ln w="12700">
            <a:solidFill>
              <a:srgbClr val="E8940A"/>
            </a:solidFill>
            <a:prstDash val="solid"/>
          </a:ln>
        </p:spPr>
        <p:txBody>
          <a:bodyPr/>
          <a:lstStyle/>
          <a:p>
            <a:endParaRPr lang="ru-RU" sz="2400" noProof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Text 11">
            <a:extLst>
              <a:ext uri="{FF2B5EF4-FFF2-40B4-BE49-F238E27FC236}">
                <a16:creationId xmlns:a16="http://schemas.microsoft.com/office/drawing/2014/main" id="{D81A4B45-D84C-8D4B-B24E-5DB931FA9EEB}"/>
              </a:ext>
            </a:extLst>
          </p:cNvPr>
          <p:cNvSpPr/>
          <p:nvPr/>
        </p:nvSpPr>
        <p:spPr>
          <a:xfrm>
            <a:off x="585216" y="2132761"/>
            <a:ext cx="3194304" cy="1024128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333" b="1" i="1" noProof="1">
                <a:solidFill>
                  <a:srgbClr val="16303A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Педагоги, которые с энтузиазмом относятся к программе профессионального развития педагогов, всегда переносят полученные знания в свою практику.</a:t>
            </a:r>
            <a:endParaRPr lang="ru-RU" sz="1333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Shape 12">
            <a:extLst>
              <a:ext uri="{FF2B5EF4-FFF2-40B4-BE49-F238E27FC236}">
                <a16:creationId xmlns:a16="http://schemas.microsoft.com/office/drawing/2014/main" id="{052411C7-ABE7-E09A-561F-FD26274AB389}"/>
              </a:ext>
            </a:extLst>
          </p:cNvPr>
          <p:cNvSpPr/>
          <p:nvPr/>
        </p:nvSpPr>
        <p:spPr>
          <a:xfrm>
            <a:off x="4023360" y="2071801"/>
            <a:ext cx="3535680" cy="1146048"/>
          </a:xfrm>
          <a:prstGeom prst="rect">
            <a:avLst/>
          </a:prstGeom>
          <a:solidFill>
            <a:srgbClr val="F7FAFB"/>
          </a:solidFill>
          <a:ln w="6350">
            <a:solidFill>
              <a:srgbClr val="B2D8DE"/>
            </a:solidFill>
            <a:prstDash val="solid"/>
          </a:ln>
        </p:spPr>
        <p:txBody>
          <a:bodyPr/>
          <a:lstStyle/>
          <a:p>
            <a:endParaRPr lang="ru-RU" sz="2400" noProof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Text 13">
            <a:extLst>
              <a:ext uri="{FF2B5EF4-FFF2-40B4-BE49-F238E27FC236}">
                <a16:creationId xmlns:a16="http://schemas.microsoft.com/office/drawing/2014/main" id="{80679E74-142A-0DAF-AF4D-E17477E73AFD}"/>
              </a:ext>
            </a:extLst>
          </p:cNvPr>
          <p:cNvSpPr/>
          <p:nvPr/>
        </p:nvSpPr>
        <p:spPr>
          <a:xfrm>
            <a:off x="4206240" y="2132761"/>
            <a:ext cx="3169920" cy="1024128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200" noProof="1">
                <a:solidFill>
                  <a:srgbClr val="3D6673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Энтузиазм в конце сессии воспринимается как свидетельство того, что обучение состоялось. Довольные участники выглядят как успешные участники.</a:t>
            </a:r>
            <a:endParaRPr lang="ru-RU" sz="12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Shape 14">
            <a:extLst>
              <a:ext uri="{FF2B5EF4-FFF2-40B4-BE49-F238E27FC236}">
                <a16:creationId xmlns:a16="http://schemas.microsoft.com/office/drawing/2014/main" id="{706B82A5-D246-F3BA-F916-CD53B08229E9}"/>
              </a:ext>
            </a:extLst>
          </p:cNvPr>
          <p:cNvSpPr/>
          <p:nvPr/>
        </p:nvSpPr>
        <p:spPr>
          <a:xfrm>
            <a:off x="7680960" y="2071801"/>
            <a:ext cx="4145280" cy="1146048"/>
          </a:xfrm>
          <a:prstGeom prst="rect">
            <a:avLst/>
          </a:prstGeom>
          <a:solidFill>
            <a:srgbClr val="F7FAFB"/>
          </a:solidFill>
          <a:ln w="10160">
            <a:solidFill>
              <a:srgbClr val="027A87"/>
            </a:solidFill>
            <a:prstDash val="solid"/>
          </a:ln>
        </p:spPr>
        <p:txBody>
          <a:bodyPr/>
          <a:lstStyle/>
          <a:p>
            <a:endParaRPr lang="ru-RU" sz="2400" noProof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Shape 15">
            <a:extLst>
              <a:ext uri="{FF2B5EF4-FFF2-40B4-BE49-F238E27FC236}">
                <a16:creationId xmlns:a16="http://schemas.microsoft.com/office/drawing/2014/main" id="{9F61E9D4-1F78-6A5F-4B5D-2092DCD07F1A}"/>
              </a:ext>
            </a:extLst>
          </p:cNvPr>
          <p:cNvSpPr/>
          <p:nvPr/>
        </p:nvSpPr>
        <p:spPr>
          <a:xfrm>
            <a:off x="7680960" y="2071801"/>
            <a:ext cx="73152" cy="1146048"/>
          </a:xfrm>
          <a:prstGeom prst="rect">
            <a:avLst/>
          </a:prstGeom>
          <a:solidFill>
            <a:schemeClr val="accent5"/>
          </a:solidFill>
          <a:ln w="12700">
            <a:solidFill>
              <a:srgbClr val="027A87"/>
            </a:solidFill>
            <a:prstDash val="solid"/>
          </a:ln>
        </p:spPr>
        <p:txBody>
          <a:bodyPr/>
          <a:lstStyle/>
          <a:p>
            <a:endParaRPr lang="ru-RU" sz="2400" noProof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Text 16">
            <a:extLst>
              <a:ext uri="{FF2B5EF4-FFF2-40B4-BE49-F238E27FC236}">
                <a16:creationId xmlns:a16="http://schemas.microsoft.com/office/drawing/2014/main" id="{BBD8C11B-E449-63AA-3876-05A491428C0C}"/>
              </a:ext>
            </a:extLst>
          </p:cNvPr>
          <p:cNvSpPr/>
          <p:nvPr/>
        </p:nvSpPr>
        <p:spPr>
          <a:xfrm>
            <a:off x="7900416" y="2132761"/>
            <a:ext cx="3803904" cy="1024128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067" noProof="1">
                <a:solidFill>
                  <a:srgbClr val="16303A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Энтузиазм предсказывает удовлетворённость — но не изменение поведения. Перенос знаний в практику требует применения в классе, диалога с коллегами и времени. Без этих структурных элементов даже мотивированные педагоги возвращаются к привычной практике.</a:t>
            </a:r>
            <a:endParaRPr lang="ru-RU" sz="1067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Shape 17">
            <a:extLst>
              <a:ext uri="{FF2B5EF4-FFF2-40B4-BE49-F238E27FC236}">
                <a16:creationId xmlns:a16="http://schemas.microsoft.com/office/drawing/2014/main" id="{5C48C1AA-1609-82F5-B22A-1347B8F087A2}"/>
              </a:ext>
            </a:extLst>
          </p:cNvPr>
          <p:cNvSpPr/>
          <p:nvPr/>
        </p:nvSpPr>
        <p:spPr>
          <a:xfrm>
            <a:off x="365760" y="3242233"/>
            <a:ext cx="3535680" cy="1146048"/>
          </a:xfrm>
          <a:prstGeom prst="rect">
            <a:avLst/>
          </a:prstGeom>
          <a:solidFill>
            <a:srgbClr val="D6F0F3"/>
          </a:solidFill>
          <a:ln w="6350">
            <a:solidFill>
              <a:srgbClr val="B2D8DE"/>
            </a:solidFill>
            <a:prstDash val="solid"/>
          </a:ln>
        </p:spPr>
        <p:txBody>
          <a:bodyPr/>
          <a:lstStyle/>
          <a:p>
            <a:endParaRPr lang="ru-RU" sz="2400" noProof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Shape 18">
            <a:extLst>
              <a:ext uri="{FF2B5EF4-FFF2-40B4-BE49-F238E27FC236}">
                <a16:creationId xmlns:a16="http://schemas.microsoft.com/office/drawing/2014/main" id="{BA79121E-DC66-1858-602B-B1D996CBA75C}"/>
              </a:ext>
            </a:extLst>
          </p:cNvPr>
          <p:cNvSpPr/>
          <p:nvPr/>
        </p:nvSpPr>
        <p:spPr>
          <a:xfrm>
            <a:off x="365760" y="3242233"/>
            <a:ext cx="73152" cy="1146048"/>
          </a:xfrm>
          <a:prstGeom prst="rect">
            <a:avLst/>
          </a:prstGeom>
          <a:solidFill>
            <a:schemeClr val="accent2"/>
          </a:solidFill>
          <a:ln w="12700">
            <a:solidFill>
              <a:srgbClr val="E8940A"/>
            </a:solidFill>
            <a:prstDash val="solid"/>
          </a:ln>
        </p:spPr>
        <p:txBody>
          <a:bodyPr/>
          <a:lstStyle/>
          <a:p>
            <a:endParaRPr lang="ru-RU" sz="2400" noProof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Text 19">
            <a:extLst>
              <a:ext uri="{FF2B5EF4-FFF2-40B4-BE49-F238E27FC236}">
                <a16:creationId xmlns:a16="http://schemas.microsoft.com/office/drawing/2014/main" id="{9CA42019-2226-3F76-5A33-A8D62A275E09}"/>
              </a:ext>
            </a:extLst>
          </p:cNvPr>
          <p:cNvSpPr/>
          <p:nvPr/>
        </p:nvSpPr>
        <p:spPr>
          <a:xfrm>
            <a:off x="585216" y="3303193"/>
            <a:ext cx="3194304" cy="1024128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333" b="1" i="1" noProof="1">
                <a:solidFill>
                  <a:srgbClr val="16303A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Сертификат об окончании — надёжный индикатор того, что профессиональное обучение состоялось.</a:t>
            </a:r>
            <a:endParaRPr lang="ru-RU" sz="1333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" name="Shape 20">
            <a:extLst>
              <a:ext uri="{FF2B5EF4-FFF2-40B4-BE49-F238E27FC236}">
                <a16:creationId xmlns:a16="http://schemas.microsoft.com/office/drawing/2014/main" id="{D997F892-3E37-1E38-A554-A9E5CA686DD2}"/>
              </a:ext>
            </a:extLst>
          </p:cNvPr>
          <p:cNvSpPr/>
          <p:nvPr/>
        </p:nvSpPr>
        <p:spPr>
          <a:xfrm>
            <a:off x="4023360" y="3242233"/>
            <a:ext cx="3535680" cy="1146048"/>
          </a:xfrm>
          <a:prstGeom prst="rect">
            <a:avLst/>
          </a:prstGeom>
          <a:solidFill>
            <a:srgbClr val="D6F0F3"/>
          </a:solidFill>
          <a:ln w="6350">
            <a:solidFill>
              <a:srgbClr val="B2D8DE"/>
            </a:solidFill>
            <a:prstDash val="solid"/>
          </a:ln>
        </p:spPr>
        <p:txBody>
          <a:bodyPr/>
          <a:lstStyle/>
          <a:p>
            <a:endParaRPr lang="ru-RU" sz="2400" noProof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" name="Text 21">
            <a:extLst>
              <a:ext uri="{FF2B5EF4-FFF2-40B4-BE49-F238E27FC236}">
                <a16:creationId xmlns:a16="http://schemas.microsoft.com/office/drawing/2014/main" id="{9769FF5D-40E5-DE30-B850-7C0C9E872BEE}"/>
              </a:ext>
            </a:extLst>
          </p:cNvPr>
          <p:cNvSpPr/>
          <p:nvPr/>
        </p:nvSpPr>
        <p:spPr>
          <a:xfrm>
            <a:off x="4206240" y="3303193"/>
            <a:ext cx="3169920" cy="1024128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200" noProof="1">
                <a:solidFill>
                  <a:srgbClr val="3D6673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Сертификация — наиболее видимый результат систем профессионального развития педагогов. Администраторы, министерства и педагоги воспринимают её как индикатор обучения.</a:t>
            </a:r>
            <a:endParaRPr lang="ru-RU" sz="12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2" name="Shape 22">
            <a:extLst>
              <a:ext uri="{FF2B5EF4-FFF2-40B4-BE49-F238E27FC236}">
                <a16:creationId xmlns:a16="http://schemas.microsoft.com/office/drawing/2014/main" id="{E3A192D9-4FDF-9F92-1050-8F02FDFAF277}"/>
              </a:ext>
            </a:extLst>
          </p:cNvPr>
          <p:cNvSpPr/>
          <p:nvPr/>
        </p:nvSpPr>
        <p:spPr>
          <a:xfrm>
            <a:off x="7680960" y="3242233"/>
            <a:ext cx="4145280" cy="1146048"/>
          </a:xfrm>
          <a:prstGeom prst="rect">
            <a:avLst/>
          </a:prstGeom>
          <a:solidFill>
            <a:srgbClr val="D6F0F3"/>
          </a:solidFill>
          <a:ln w="10160">
            <a:solidFill>
              <a:srgbClr val="027A87"/>
            </a:solidFill>
            <a:prstDash val="solid"/>
          </a:ln>
        </p:spPr>
        <p:txBody>
          <a:bodyPr/>
          <a:lstStyle/>
          <a:p>
            <a:endParaRPr lang="ru-RU" sz="2400" noProof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3" name="Shape 23">
            <a:extLst>
              <a:ext uri="{FF2B5EF4-FFF2-40B4-BE49-F238E27FC236}">
                <a16:creationId xmlns:a16="http://schemas.microsoft.com/office/drawing/2014/main" id="{BB478876-C08E-BB27-A5B8-3E35F44B596A}"/>
              </a:ext>
            </a:extLst>
          </p:cNvPr>
          <p:cNvSpPr/>
          <p:nvPr/>
        </p:nvSpPr>
        <p:spPr>
          <a:xfrm>
            <a:off x="7680960" y="3242233"/>
            <a:ext cx="73152" cy="1146048"/>
          </a:xfrm>
          <a:prstGeom prst="rect">
            <a:avLst/>
          </a:prstGeom>
          <a:solidFill>
            <a:schemeClr val="accent5"/>
          </a:solidFill>
          <a:ln w="12700">
            <a:solidFill>
              <a:srgbClr val="027A87"/>
            </a:solidFill>
            <a:prstDash val="solid"/>
          </a:ln>
        </p:spPr>
        <p:txBody>
          <a:bodyPr/>
          <a:lstStyle/>
          <a:p>
            <a:endParaRPr lang="ru-RU" sz="2400" noProof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4" name="Text 24">
            <a:extLst>
              <a:ext uri="{FF2B5EF4-FFF2-40B4-BE49-F238E27FC236}">
                <a16:creationId xmlns:a16="http://schemas.microsoft.com/office/drawing/2014/main" id="{59EBAAC1-9CDF-BC1D-9EC3-B80F0B1C8021}"/>
              </a:ext>
            </a:extLst>
          </p:cNvPr>
          <p:cNvSpPr/>
          <p:nvPr/>
        </p:nvSpPr>
        <p:spPr>
          <a:xfrm>
            <a:off x="7900416" y="3303193"/>
            <a:ext cx="3803904" cy="1024128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067" noProof="1">
                <a:solidFill>
                  <a:srgbClr val="16303A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Сертификаты фиксируют посещаемость, а не обучение. Завершение курса означает лишь присутствие в аудитории. Свидетельством изменения практики служат наблюдение, последующее сопровождение или артефакты, созданные участниками в ходе применения полученного в классе.</a:t>
            </a:r>
            <a:endParaRPr lang="ru-RU" sz="1067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5" name="Shape 25">
            <a:extLst>
              <a:ext uri="{FF2B5EF4-FFF2-40B4-BE49-F238E27FC236}">
                <a16:creationId xmlns:a16="http://schemas.microsoft.com/office/drawing/2014/main" id="{31631FAB-468E-2931-90CE-F2CFB63CF128}"/>
              </a:ext>
            </a:extLst>
          </p:cNvPr>
          <p:cNvSpPr/>
          <p:nvPr/>
        </p:nvSpPr>
        <p:spPr>
          <a:xfrm>
            <a:off x="365760" y="4412665"/>
            <a:ext cx="3535680" cy="1146048"/>
          </a:xfrm>
          <a:prstGeom prst="rect">
            <a:avLst/>
          </a:prstGeom>
          <a:solidFill>
            <a:srgbClr val="F7FAFB"/>
          </a:solidFill>
          <a:ln w="6350">
            <a:solidFill>
              <a:srgbClr val="B2D8DE"/>
            </a:solidFill>
            <a:prstDash val="solid"/>
          </a:ln>
        </p:spPr>
        <p:txBody>
          <a:bodyPr/>
          <a:lstStyle/>
          <a:p>
            <a:endParaRPr lang="ru-RU" sz="2400" noProof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6" name="Shape 26">
            <a:extLst>
              <a:ext uri="{FF2B5EF4-FFF2-40B4-BE49-F238E27FC236}">
                <a16:creationId xmlns:a16="http://schemas.microsoft.com/office/drawing/2014/main" id="{57441EF1-E6FC-5935-0182-9EB346A417F1}"/>
              </a:ext>
            </a:extLst>
          </p:cNvPr>
          <p:cNvSpPr/>
          <p:nvPr/>
        </p:nvSpPr>
        <p:spPr>
          <a:xfrm>
            <a:off x="365760" y="4412665"/>
            <a:ext cx="73152" cy="1146048"/>
          </a:xfrm>
          <a:prstGeom prst="rect">
            <a:avLst/>
          </a:prstGeom>
          <a:solidFill>
            <a:schemeClr val="accent2"/>
          </a:solidFill>
          <a:ln w="12700">
            <a:solidFill>
              <a:srgbClr val="E8940A"/>
            </a:solidFill>
            <a:prstDash val="solid"/>
          </a:ln>
        </p:spPr>
        <p:txBody>
          <a:bodyPr/>
          <a:lstStyle/>
          <a:p>
            <a:endParaRPr lang="ru-RU" sz="2400" noProof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7" name="Text 27">
            <a:extLst>
              <a:ext uri="{FF2B5EF4-FFF2-40B4-BE49-F238E27FC236}">
                <a16:creationId xmlns:a16="http://schemas.microsoft.com/office/drawing/2014/main" id="{26A573F5-C716-9787-E326-A46878D4C3CD}"/>
              </a:ext>
            </a:extLst>
          </p:cNvPr>
          <p:cNvSpPr/>
          <p:nvPr/>
        </p:nvSpPr>
        <p:spPr>
          <a:xfrm>
            <a:off x="585216" y="4473625"/>
            <a:ext cx="3194304" cy="1024128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333" b="1" i="1" noProof="1">
                <a:solidFill>
                  <a:srgbClr val="16303A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Наиболее опытным педагогам требуется меньше профессионального развития педагогов, чем начинающим.</a:t>
            </a:r>
            <a:endParaRPr lang="ru-RU" sz="1333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8" name="Shape 28">
            <a:extLst>
              <a:ext uri="{FF2B5EF4-FFF2-40B4-BE49-F238E27FC236}">
                <a16:creationId xmlns:a16="http://schemas.microsoft.com/office/drawing/2014/main" id="{993FBE0B-035B-F38A-E27D-4459D950DEED}"/>
              </a:ext>
            </a:extLst>
          </p:cNvPr>
          <p:cNvSpPr/>
          <p:nvPr/>
        </p:nvSpPr>
        <p:spPr>
          <a:xfrm>
            <a:off x="4023360" y="4412665"/>
            <a:ext cx="3535680" cy="1146048"/>
          </a:xfrm>
          <a:prstGeom prst="rect">
            <a:avLst/>
          </a:prstGeom>
          <a:solidFill>
            <a:srgbClr val="F7FAFB"/>
          </a:solidFill>
          <a:ln w="6350">
            <a:solidFill>
              <a:srgbClr val="B2D8DE"/>
            </a:solidFill>
            <a:prstDash val="solid"/>
          </a:ln>
        </p:spPr>
        <p:txBody>
          <a:bodyPr/>
          <a:lstStyle/>
          <a:p>
            <a:endParaRPr lang="ru-RU" sz="2400" noProof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9" name="Text 29">
            <a:extLst>
              <a:ext uri="{FF2B5EF4-FFF2-40B4-BE49-F238E27FC236}">
                <a16:creationId xmlns:a16="http://schemas.microsoft.com/office/drawing/2014/main" id="{59804642-645C-014B-49EB-BCF698D71AA3}"/>
              </a:ext>
            </a:extLst>
          </p:cNvPr>
          <p:cNvSpPr/>
          <p:nvPr/>
        </p:nvSpPr>
        <p:spPr>
          <a:xfrm>
            <a:off x="4206240" y="4473625"/>
            <a:ext cx="3169920" cy="1024128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200" noProof="1">
                <a:solidFill>
                  <a:srgbClr val="3D6673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Опыт воспринимается как мастерство. Кажется очевидным, что начинающим педагогам есть чему учиться, — и обучать людей с меньшим стажем дешевле.</a:t>
            </a:r>
            <a:endParaRPr lang="ru-RU" sz="12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0" name="Shape 30">
            <a:extLst>
              <a:ext uri="{FF2B5EF4-FFF2-40B4-BE49-F238E27FC236}">
                <a16:creationId xmlns:a16="http://schemas.microsoft.com/office/drawing/2014/main" id="{0F74F905-B994-CB00-8442-7F080B4EA1E8}"/>
              </a:ext>
            </a:extLst>
          </p:cNvPr>
          <p:cNvSpPr/>
          <p:nvPr/>
        </p:nvSpPr>
        <p:spPr>
          <a:xfrm>
            <a:off x="7680960" y="4412665"/>
            <a:ext cx="4145280" cy="1146048"/>
          </a:xfrm>
          <a:prstGeom prst="rect">
            <a:avLst/>
          </a:prstGeom>
          <a:solidFill>
            <a:srgbClr val="F7FAFB"/>
          </a:solidFill>
          <a:ln w="10160">
            <a:solidFill>
              <a:srgbClr val="027A87"/>
            </a:solidFill>
            <a:prstDash val="solid"/>
          </a:ln>
        </p:spPr>
        <p:txBody>
          <a:bodyPr/>
          <a:lstStyle/>
          <a:p>
            <a:endParaRPr lang="ru-RU" sz="2400" noProof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1" name="Shape 31">
            <a:extLst>
              <a:ext uri="{FF2B5EF4-FFF2-40B4-BE49-F238E27FC236}">
                <a16:creationId xmlns:a16="http://schemas.microsoft.com/office/drawing/2014/main" id="{8546A35B-52A3-2D54-C936-1DA3B5123349}"/>
              </a:ext>
            </a:extLst>
          </p:cNvPr>
          <p:cNvSpPr/>
          <p:nvPr/>
        </p:nvSpPr>
        <p:spPr>
          <a:xfrm>
            <a:off x="7680960" y="4412665"/>
            <a:ext cx="73152" cy="1146048"/>
          </a:xfrm>
          <a:prstGeom prst="rect">
            <a:avLst/>
          </a:prstGeom>
          <a:solidFill>
            <a:schemeClr val="accent5"/>
          </a:solidFill>
          <a:ln w="12700">
            <a:solidFill>
              <a:srgbClr val="027A87"/>
            </a:solidFill>
            <a:prstDash val="solid"/>
          </a:ln>
        </p:spPr>
        <p:txBody>
          <a:bodyPr/>
          <a:lstStyle/>
          <a:p>
            <a:endParaRPr lang="ru-RU" sz="2400" noProof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2" name="Text 32">
            <a:extLst>
              <a:ext uri="{FF2B5EF4-FFF2-40B4-BE49-F238E27FC236}">
                <a16:creationId xmlns:a16="http://schemas.microsoft.com/office/drawing/2014/main" id="{8CE123AD-293D-29D9-7FF1-34C9DF62108C}"/>
              </a:ext>
            </a:extLst>
          </p:cNvPr>
          <p:cNvSpPr/>
          <p:nvPr/>
        </p:nvSpPr>
        <p:spPr>
          <a:xfrm>
            <a:off x="7900416" y="4473625"/>
            <a:ext cx="3803904" cy="1024128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067" noProof="1">
                <a:solidFill>
                  <a:srgbClr val="16303A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Опыт и эффективность — разные вещи. Педагоги с большим стажем нередко сталкиваются с наиболее острыми разрывами между сложившейся практикой и новыми требованиями — новыми программами, новыми группами обучающихся, новыми технологиями. Потребность меняется, но не исчезает.</a:t>
            </a:r>
            <a:endParaRPr lang="ru-RU" sz="1067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3" name="Shape 33">
            <a:extLst>
              <a:ext uri="{FF2B5EF4-FFF2-40B4-BE49-F238E27FC236}">
                <a16:creationId xmlns:a16="http://schemas.microsoft.com/office/drawing/2014/main" id="{DB65ABFD-F929-CC77-0891-6AB8E5D42FB9}"/>
              </a:ext>
            </a:extLst>
          </p:cNvPr>
          <p:cNvSpPr/>
          <p:nvPr/>
        </p:nvSpPr>
        <p:spPr>
          <a:xfrm>
            <a:off x="365760" y="5583097"/>
            <a:ext cx="3535680" cy="1146048"/>
          </a:xfrm>
          <a:prstGeom prst="rect">
            <a:avLst/>
          </a:prstGeom>
          <a:solidFill>
            <a:srgbClr val="D6F0F3"/>
          </a:solidFill>
          <a:ln w="6350">
            <a:solidFill>
              <a:srgbClr val="B2D8DE"/>
            </a:solidFill>
            <a:prstDash val="solid"/>
          </a:ln>
        </p:spPr>
        <p:txBody>
          <a:bodyPr/>
          <a:lstStyle/>
          <a:p>
            <a:endParaRPr lang="ru-RU" sz="2400" noProof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4" name="Shape 34">
            <a:extLst>
              <a:ext uri="{FF2B5EF4-FFF2-40B4-BE49-F238E27FC236}">
                <a16:creationId xmlns:a16="http://schemas.microsoft.com/office/drawing/2014/main" id="{A55BDD28-0B28-7445-BF6D-5530E48FBF11}"/>
              </a:ext>
            </a:extLst>
          </p:cNvPr>
          <p:cNvSpPr/>
          <p:nvPr/>
        </p:nvSpPr>
        <p:spPr>
          <a:xfrm>
            <a:off x="365760" y="5583097"/>
            <a:ext cx="73152" cy="1146048"/>
          </a:xfrm>
          <a:prstGeom prst="rect">
            <a:avLst/>
          </a:prstGeom>
          <a:solidFill>
            <a:schemeClr val="accent2"/>
          </a:solidFill>
          <a:ln w="12700">
            <a:solidFill>
              <a:srgbClr val="E8940A"/>
            </a:solidFill>
            <a:prstDash val="solid"/>
          </a:ln>
        </p:spPr>
        <p:txBody>
          <a:bodyPr/>
          <a:lstStyle/>
          <a:p>
            <a:endParaRPr lang="ru-RU" sz="2400" noProof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5" name="Text 35">
            <a:extLst>
              <a:ext uri="{FF2B5EF4-FFF2-40B4-BE49-F238E27FC236}">
                <a16:creationId xmlns:a16="http://schemas.microsoft.com/office/drawing/2014/main" id="{2E1FC2E3-6D22-8360-8741-637B9AF2FAC0}"/>
              </a:ext>
            </a:extLst>
          </p:cNvPr>
          <p:cNvSpPr/>
          <p:nvPr/>
        </p:nvSpPr>
        <p:spPr>
          <a:xfrm>
            <a:off x="585216" y="5644057"/>
            <a:ext cx="3194304" cy="1024128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333" b="1" i="1" noProof="1">
                <a:solidFill>
                  <a:srgbClr val="16303A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Онлайн-профессиональное развитие педагогов по своей природе менее эффективно, чем очное.</a:t>
            </a:r>
            <a:endParaRPr lang="ru-RU" sz="1333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6" name="Shape 36">
            <a:extLst>
              <a:ext uri="{FF2B5EF4-FFF2-40B4-BE49-F238E27FC236}">
                <a16:creationId xmlns:a16="http://schemas.microsoft.com/office/drawing/2014/main" id="{1BF336B4-72D3-873C-29A5-8AB71ACB1669}"/>
              </a:ext>
            </a:extLst>
          </p:cNvPr>
          <p:cNvSpPr/>
          <p:nvPr/>
        </p:nvSpPr>
        <p:spPr>
          <a:xfrm>
            <a:off x="4023360" y="5583097"/>
            <a:ext cx="3535680" cy="1146048"/>
          </a:xfrm>
          <a:prstGeom prst="rect">
            <a:avLst/>
          </a:prstGeom>
          <a:solidFill>
            <a:srgbClr val="D6F0F3"/>
          </a:solidFill>
          <a:ln w="6350">
            <a:solidFill>
              <a:srgbClr val="B2D8DE"/>
            </a:solidFill>
            <a:prstDash val="solid"/>
          </a:ln>
        </p:spPr>
        <p:txBody>
          <a:bodyPr/>
          <a:lstStyle/>
          <a:p>
            <a:endParaRPr lang="ru-RU" sz="2400" noProof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7" name="Text 37">
            <a:extLst>
              <a:ext uri="{FF2B5EF4-FFF2-40B4-BE49-F238E27FC236}">
                <a16:creationId xmlns:a16="http://schemas.microsoft.com/office/drawing/2014/main" id="{93B2D864-ED3B-30D7-58D2-5F8AB7DF373A}"/>
              </a:ext>
            </a:extLst>
          </p:cNvPr>
          <p:cNvSpPr/>
          <p:nvPr/>
        </p:nvSpPr>
        <p:spPr>
          <a:xfrm>
            <a:off x="4206240" y="5644057"/>
            <a:ext cx="3169920" cy="1024128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200" noProof="1">
                <a:solidFill>
                  <a:srgbClr val="3D6673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Многие помнят ранние форматы онлайн-профессионального развития педагогов как поверхностные и пассивные — вебинары с выключенной камерой, автоматически выдаваемые сертификаты.</a:t>
            </a:r>
            <a:endParaRPr lang="ru-RU" sz="12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8" name="Shape 38">
            <a:extLst>
              <a:ext uri="{FF2B5EF4-FFF2-40B4-BE49-F238E27FC236}">
                <a16:creationId xmlns:a16="http://schemas.microsoft.com/office/drawing/2014/main" id="{0352E6FF-4FB9-DCF5-68F1-017C0F5C801B}"/>
              </a:ext>
            </a:extLst>
          </p:cNvPr>
          <p:cNvSpPr/>
          <p:nvPr/>
        </p:nvSpPr>
        <p:spPr>
          <a:xfrm>
            <a:off x="7680960" y="5583097"/>
            <a:ext cx="4145280" cy="1146048"/>
          </a:xfrm>
          <a:prstGeom prst="rect">
            <a:avLst/>
          </a:prstGeom>
          <a:solidFill>
            <a:srgbClr val="D6F0F3"/>
          </a:solidFill>
          <a:ln w="10160">
            <a:solidFill>
              <a:srgbClr val="027A87"/>
            </a:solidFill>
            <a:prstDash val="solid"/>
          </a:ln>
        </p:spPr>
        <p:txBody>
          <a:bodyPr/>
          <a:lstStyle/>
          <a:p>
            <a:endParaRPr lang="ru-RU" sz="2400" noProof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9" name="Shape 39">
            <a:extLst>
              <a:ext uri="{FF2B5EF4-FFF2-40B4-BE49-F238E27FC236}">
                <a16:creationId xmlns:a16="http://schemas.microsoft.com/office/drawing/2014/main" id="{A8D3247C-AB0D-807F-A385-F63445940B27}"/>
              </a:ext>
            </a:extLst>
          </p:cNvPr>
          <p:cNvSpPr/>
          <p:nvPr/>
        </p:nvSpPr>
        <p:spPr>
          <a:xfrm>
            <a:off x="7680960" y="5583097"/>
            <a:ext cx="73152" cy="1146048"/>
          </a:xfrm>
          <a:prstGeom prst="rect">
            <a:avLst/>
          </a:prstGeom>
          <a:solidFill>
            <a:schemeClr val="accent5"/>
          </a:solidFill>
          <a:ln w="12700">
            <a:solidFill>
              <a:srgbClr val="027A87"/>
            </a:solidFill>
            <a:prstDash val="solid"/>
          </a:ln>
        </p:spPr>
        <p:txBody>
          <a:bodyPr/>
          <a:lstStyle/>
          <a:p>
            <a:endParaRPr lang="ru-RU" sz="2400" noProof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0" name="Text 40">
            <a:extLst>
              <a:ext uri="{FF2B5EF4-FFF2-40B4-BE49-F238E27FC236}">
                <a16:creationId xmlns:a16="http://schemas.microsoft.com/office/drawing/2014/main" id="{7B7BB351-C67C-6F9D-F111-E9FA7BE4421B}"/>
              </a:ext>
            </a:extLst>
          </p:cNvPr>
          <p:cNvSpPr/>
          <p:nvPr/>
        </p:nvSpPr>
        <p:spPr>
          <a:xfrm>
            <a:off x="7900416" y="5644057"/>
            <a:ext cx="3803904" cy="1024128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067" noProof="1">
                <a:solidFill>
                  <a:srgbClr val="16303A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Формат — не определяющий фактор. Важно, является ли профессиональное развитие педагогов активным, устойчивым, связанным с практикой и подкреплённым диалогом с коллегами. Хорошо спроектированное онлайн-обучение превосходит плохо спроектированное очное. Главное — решения по дизайну, а не канал доставки.</a:t>
            </a:r>
            <a:endParaRPr lang="ru-RU" sz="1067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7643840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80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FF40B97C-D8CA-8562-A234-35ACD8CD1C3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noProof="1"/>
              <a:t>Разбор: Три вопроса — по порядку </a:t>
            </a:r>
          </a:p>
        </p:txBody>
      </p:sp>
      <p:sp>
        <p:nvSpPr>
          <p:cNvPr id="4" name="Shape 5">
            <a:extLst>
              <a:ext uri="{FF2B5EF4-FFF2-40B4-BE49-F238E27FC236}">
                <a16:creationId xmlns:a16="http://schemas.microsoft.com/office/drawing/2014/main" id="{E4918732-ADFC-18A3-CCF3-A15D4229148C}"/>
              </a:ext>
            </a:extLst>
          </p:cNvPr>
          <p:cNvSpPr/>
          <p:nvPr/>
        </p:nvSpPr>
        <p:spPr>
          <a:xfrm>
            <a:off x="635317" y="1502564"/>
            <a:ext cx="10871739" cy="829056"/>
          </a:xfrm>
          <a:prstGeom prst="rect">
            <a:avLst/>
          </a:prstGeom>
          <a:solidFill>
            <a:srgbClr val="D6F0F3"/>
          </a:solidFill>
          <a:ln w="6350">
            <a:solidFill>
              <a:srgbClr val="B2D8DE"/>
            </a:solidFill>
            <a:prstDash val="solid"/>
          </a:ln>
        </p:spPr>
        <p:txBody>
          <a:bodyPr/>
          <a:lstStyle/>
          <a:p>
            <a:endParaRPr lang="ru-RU" sz="2667" noProof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Shape 6">
            <a:extLst>
              <a:ext uri="{FF2B5EF4-FFF2-40B4-BE49-F238E27FC236}">
                <a16:creationId xmlns:a16="http://schemas.microsoft.com/office/drawing/2014/main" id="{EC955FE1-6EC1-3E6D-D8CC-96FC70FB1D8D}"/>
              </a:ext>
            </a:extLst>
          </p:cNvPr>
          <p:cNvSpPr/>
          <p:nvPr/>
        </p:nvSpPr>
        <p:spPr>
          <a:xfrm>
            <a:off x="818197" y="1673252"/>
            <a:ext cx="462627" cy="487680"/>
          </a:xfrm>
          <a:prstGeom prst="ellipse">
            <a:avLst/>
          </a:prstGeom>
          <a:solidFill>
            <a:srgbClr val="027A87"/>
          </a:solidFill>
          <a:ln w="12700">
            <a:solidFill>
              <a:srgbClr val="027A87"/>
            </a:solidFill>
            <a:prstDash val="solid"/>
          </a:ln>
        </p:spPr>
        <p:txBody>
          <a:bodyPr/>
          <a:lstStyle/>
          <a:p>
            <a:endParaRPr lang="ru-RU" sz="2667" noProof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Text 7">
            <a:extLst>
              <a:ext uri="{FF2B5EF4-FFF2-40B4-BE49-F238E27FC236}">
                <a16:creationId xmlns:a16="http://schemas.microsoft.com/office/drawing/2014/main" id="{D1A599BD-5E6D-8E97-966C-108067B9EA35}"/>
              </a:ext>
            </a:extLst>
          </p:cNvPr>
          <p:cNvSpPr/>
          <p:nvPr/>
        </p:nvSpPr>
        <p:spPr>
          <a:xfrm>
            <a:off x="818197" y="1673252"/>
            <a:ext cx="462627" cy="48768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algn="ctr"/>
            <a:r>
              <a:rPr lang="ru-RU" sz="2133" b="1" noProof="1">
                <a:solidFill>
                  <a:srgbClr val="FFFFFF"/>
                </a:solidFill>
                <a:latin typeface="Arial" panose="020B0604020202020204" pitchFamily="34" charset="0"/>
                <a:ea typeface="Trebuchet MS" pitchFamily="34" charset="-122"/>
                <a:cs typeface="Arial" panose="020B0604020202020204" pitchFamily="34" charset="0"/>
              </a:rPr>
              <a:t>1</a:t>
            </a:r>
            <a:endParaRPr lang="ru-RU" sz="2133" noProof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Text 8">
            <a:extLst>
              <a:ext uri="{FF2B5EF4-FFF2-40B4-BE49-F238E27FC236}">
                <a16:creationId xmlns:a16="http://schemas.microsoft.com/office/drawing/2014/main" id="{09C44A10-37D4-1090-C4A1-08019FC2C965}"/>
              </a:ext>
            </a:extLst>
          </p:cNvPr>
          <p:cNvSpPr/>
          <p:nvPr/>
        </p:nvSpPr>
        <p:spPr>
          <a:xfrm>
            <a:off x="1488758" y="1575716"/>
            <a:ext cx="9830828" cy="36576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r>
              <a:rPr lang="ru-RU" sz="1867" b="1" noProof="1">
                <a:solidFill>
                  <a:srgbClr val="16303A"/>
                </a:solidFill>
                <a:latin typeface="Arial" panose="020B0604020202020204" pitchFamily="34" charset="0"/>
                <a:ea typeface="Trebuchet MS" pitchFamily="34" charset="-122"/>
                <a:cs typeface="Arial" panose="020B0604020202020204" pitchFamily="34" charset="0"/>
              </a:rPr>
              <a:t>Что вы заметили как УЧАСТНИК?</a:t>
            </a:r>
            <a:endParaRPr lang="ru-RU" sz="1867" noProof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Text 9">
            <a:extLst>
              <a:ext uri="{FF2B5EF4-FFF2-40B4-BE49-F238E27FC236}">
                <a16:creationId xmlns:a16="http://schemas.microsoft.com/office/drawing/2014/main" id="{1587830C-C255-8D40-CD21-0794FCFFF9A6}"/>
              </a:ext>
            </a:extLst>
          </p:cNvPr>
          <p:cNvSpPr/>
          <p:nvPr/>
        </p:nvSpPr>
        <p:spPr>
          <a:xfrm>
            <a:off x="1488758" y="1917092"/>
            <a:ext cx="9830828" cy="390144"/>
          </a:xfrm>
          <a:prstGeom prst="rect">
            <a:avLst/>
          </a:prstGeom>
          <a:noFill/>
          <a:ln/>
        </p:spPr>
        <p:txBody>
          <a:bodyPr wrap="square" rtlCol="0" anchor="t"/>
          <a:lstStyle/>
          <a:p>
            <a:r>
              <a:rPr lang="ru-RU" sz="1400" i="1" noProof="1">
                <a:solidFill>
                  <a:srgbClr val="3D6673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Не как аналитик — как человек, переживающий сессию. Что вас привлекло? Что заставило колебаться?</a:t>
            </a:r>
            <a:endParaRPr lang="ru-RU" sz="1400" noProof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Shape 10">
            <a:extLst>
              <a:ext uri="{FF2B5EF4-FFF2-40B4-BE49-F238E27FC236}">
                <a16:creationId xmlns:a16="http://schemas.microsoft.com/office/drawing/2014/main" id="{60565166-EC0D-142D-1043-A505068D9E49}"/>
              </a:ext>
            </a:extLst>
          </p:cNvPr>
          <p:cNvSpPr/>
          <p:nvPr/>
        </p:nvSpPr>
        <p:spPr>
          <a:xfrm>
            <a:off x="635317" y="2453540"/>
            <a:ext cx="10871739" cy="829056"/>
          </a:xfrm>
          <a:prstGeom prst="rect">
            <a:avLst/>
          </a:prstGeom>
          <a:solidFill>
            <a:srgbClr val="D6F0F3"/>
          </a:solidFill>
          <a:ln w="6350">
            <a:solidFill>
              <a:srgbClr val="B2D8DE"/>
            </a:solidFill>
            <a:prstDash val="solid"/>
          </a:ln>
        </p:spPr>
        <p:txBody>
          <a:bodyPr/>
          <a:lstStyle/>
          <a:p>
            <a:endParaRPr lang="ru-RU" sz="2667" noProof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Shape 11">
            <a:extLst>
              <a:ext uri="{FF2B5EF4-FFF2-40B4-BE49-F238E27FC236}">
                <a16:creationId xmlns:a16="http://schemas.microsoft.com/office/drawing/2014/main" id="{178BB3C3-A127-E5BA-9397-F9762CC937B6}"/>
              </a:ext>
            </a:extLst>
          </p:cNvPr>
          <p:cNvSpPr/>
          <p:nvPr/>
        </p:nvSpPr>
        <p:spPr>
          <a:xfrm>
            <a:off x="818197" y="2624228"/>
            <a:ext cx="462627" cy="487680"/>
          </a:xfrm>
          <a:prstGeom prst="ellipse">
            <a:avLst/>
          </a:prstGeom>
          <a:solidFill>
            <a:srgbClr val="027A87"/>
          </a:solidFill>
          <a:ln w="12700">
            <a:solidFill>
              <a:srgbClr val="027A87"/>
            </a:solidFill>
            <a:prstDash val="solid"/>
          </a:ln>
        </p:spPr>
        <p:txBody>
          <a:bodyPr/>
          <a:lstStyle/>
          <a:p>
            <a:endParaRPr lang="ru-RU" sz="2667" noProof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Text 12">
            <a:extLst>
              <a:ext uri="{FF2B5EF4-FFF2-40B4-BE49-F238E27FC236}">
                <a16:creationId xmlns:a16="http://schemas.microsoft.com/office/drawing/2014/main" id="{53ED71EA-449E-0C32-6F6B-398715CFBE64}"/>
              </a:ext>
            </a:extLst>
          </p:cNvPr>
          <p:cNvSpPr/>
          <p:nvPr/>
        </p:nvSpPr>
        <p:spPr>
          <a:xfrm>
            <a:off x="818197" y="2624228"/>
            <a:ext cx="462627" cy="48768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algn="ctr"/>
            <a:r>
              <a:rPr lang="ru-RU" sz="2133" b="1" noProof="1">
                <a:solidFill>
                  <a:srgbClr val="FFFFFF"/>
                </a:solidFill>
                <a:latin typeface="Arial" panose="020B0604020202020204" pitchFamily="34" charset="0"/>
                <a:ea typeface="Trebuchet MS" pitchFamily="34" charset="-122"/>
                <a:cs typeface="Arial" panose="020B0604020202020204" pitchFamily="34" charset="0"/>
              </a:rPr>
              <a:t>2</a:t>
            </a:r>
            <a:endParaRPr lang="ru-RU" sz="2133" noProof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Text 13">
            <a:extLst>
              <a:ext uri="{FF2B5EF4-FFF2-40B4-BE49-F238E27FC236}">
                <a16:creationId xmlns:a16="http://schemas.microsoft.com/office/drawing/2014/main" id="{B2E1DF3A-644C-5A7E-61EF-E98550BEF084}"/>
              </a:ext>
            </a:extLst>
          </p:cNvPr>
          <p:cNvSpPr/>
          <p:nvPr/>
        </p:nvSpPr>
        <p:spPr>
          <a:xfrm>
            <a:off x="1488758" y="2444500"/>
            <a:ext cx="9830828" cy="36576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r>
              <a:rPr lang="ru-RU" sz="1867" b="1" noProof="1">
                <a:solidFill>
                  <a:srgbClr val="16303A"/>
                </a:solidFill>
                <a:latin typeface="Arial" panose="020B0604020202020204" pitchFamily="34" charset="0"/>
                <a:ea typeface="Trebuchet MS" pitchFamily="34" charset="-122"/>
                <a:cs typeface="Arial" panose="020B0604020202020204" pitchFamily="34" charset="0"/>
              </a:rPr>
              <a:t>Что вы заметили как ФАСИЛИТАТОР?</a:t>
            </a:r>
            <a:endParaRPr lang="ru-RU" sz="1867" noProof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Text 14">
            <a:extLst>
              <a:ext uri="{FF2B5EF4-FFF2-40B4-BE49-F238E27FC236}">
                <a16:creationId xmlns:a16="http://schemas.microsoft.com/office/drawing/2014/main" id="{6617F5F3-A735-572D-3AF7-458E0239EB7C}"/>
              </a:ext>
            </a:extLst>
          </p:cNvPr>
          <p:cNvSpPr/>
          <p:nvPr/>
        </p:nvSpPr>
        <p:spPr>
          <a:xfrm>
            <a:off x="1488758" y="2785876"/>
            <a:ext cx="9830828" cy="390144"/>
          </a:xfrm>
          <a:prstGeom prst="rect">
            <a:avLst/>
          </a:prstGeom>
          <a:noFill/>
          <a:ln/>
        </p:spPr>
        <p:txBody>
          <a:bodyPr wrap="square" rtlCol="0" anchor="t"/>
          <a:lstStyle/>
          <a:p>
            <a:r>
              <a:rPr lang="ru-RU" sz="1400" i="1" noProof="1">
                <a:solidFill>
                  <a:srgbClr val="3D6673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Какие решения вы наблюдали — и какой принцип или карточку планирования SCAFFOLD каждое из них отражало?</a:t>
            </a:r>
            <a:endParaRPr lang="ru-RU" sz="1400" noProof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Shape 15">
            <a:extLst>
              <a:ext uri="{FF2B5EF4-FFF2-40B4-BE49-F238E27FC236}">
                <a16:creationId xmlns:a16="http://schemas.microsoft.com/office/drawing/2014/main" id="{2053A06C-023C-A754-6ABB-CA8EFF58300E}"/>
              </a:ext>
            </a:extLst>
          </p:cNvPr>
          <p:cNvSpPr/>
          <p:nvPr/>
        </p:nvSpPr>
        <p:spPr>
          <a:xfrm>
            <a:off x="635317" y="3404516"/>
            <a:ext cx="10871739" cy="829056"/>
          </a:xfrm>
          <a:prstGeom prst="rect">
            <a:avLst/>
          </a:prstGeom>
          <a:solidFill>
            <a:srgbClr val="FDF3DC"/>
          </a:solidFill>
          <a:ln w="10160">
            <a:solidFill>
              <a:srgbClr val="E8940A"/>
            </a:solidFill>
            <a:prstDash val="solid"/>
          </a:ln>
        </p:spPr>
        <p:txBody>
          <a:bodyPr/>
          <a:lstStyle/>
          <a:p>
            <a:endParaRPr lang="ru-RU" sz="2667" noProof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Shape 16">
            <a:extLst>
              <a:ext uri="{FF2B5EF4-FFF2-40B4-BE49-F238E27FC236}">
                <a16:creationId xmlns:a16="http://schemas.microsoft.com/office/drawing/2014/main" id="{52C445E6-14C8-A2CB-A79F-B2922F58DF99}"/>
              </a:ext>
            </a:extLst>
          </p:cNvPr>
          <p:cNvSpPr/>
          <p:nvPr/>
        </p:nvSpPr>
        <p:spPr>
          <a:xfrm>
            <a:off x="818197" y="3575204"/>
            <a:ext cx="462627" cy="487680"/>
          </a:xfrm>
          <a:prstGeom prst="ellipse">
            <a:avLst/>
          </a:prstGeom>
          <a:solidFill>
            <a:srgbClr val="E8940A"/>
          </a:solidFill>
          <a:ln w="12700">
            <a:solidFill>
              <a:srgbClr val="E8940A"/>
            </a:solidFill>
            <a:prstDash val="solid"/>
          </a:ln>
        </p:spPr>
        <p:txBody>
          <a:bodyPr/>
          <a:lstStyle/>
          <a:p>
            <a:endParaRPr lang="ru-RU" sz="2667" noProof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Text 17">
            <a:extLst>
              <a:ext uri="{FF2B5EF4-FFF2-40B4-BE49-F238E27FC236}">
                <a16:creationId xmlns:a16="http://schemas.microsoft.com/office/drawing/2014/main" id="{F96361EE-76B5-D368-4B50-BCD3B6C2E403}"/>
              </a:ext>
            </a:extLst>
          </p:cNvPr>
          <p:cNvSpPr/>
          <p:nvPr/>
        </p:nvSpPr>
        <p:spPr>
          <a:xfrm>
            <a:off x="818197" y="3575204"/>
            <a:ext cx="462627" cy="48768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algn="ctr"/>
            <a:r>
              <a:rPr lang="ru-RU" sz="2133" b="1" noProof="1">
                <a:solidFill>
                  <a:srgbClr val="FFFFFF"/>
                </a:solidFill>
                <a:latin typeface="Arial" panose="020B0604020202020204" pitchFamily="34" charset="0"/>
                <a:ea typeface="Trebuchet MS" pitchFamily="34" charset="-122"/>
                <a:cs typeface="Arial" panose="020B0604020202020204" pitchFamily="34" charset="0"/>
              </a:rPr>
              <a:t>3</a:t>
            </a:r>
            <a:endParaRPr lang="ru-RU" sz="2133" noProof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Text 18">
            <a:extLst>
              <a:ext uri="{FF2B5EF4-FFF2-40B4-BE49-F238E27FC236}">
                <a16:creationId xmlns:a16="http://schemas.microsoft.com/office/drawing/2014/main" id="{2873540F-F67B-9D15-29DE-2149139C106F}"/>
              </a:ext>
            </a:extLst>
          </p:cNvPr>
          <p:cNvSpPr/>
          <p:nvPr/>
        </p:nvSpPr>
        <p:spPr>
          <a:xfrm>
            <a:off x="1488758" y="3477668"/>
            <a:ext cx="9830828" cy="36576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r>
              <a:rPr lang="ru-RU" sz="1867" b="1" noProof="1">
                <a:solidFill>
                  <a:srgbClr val="16303A"/>
                </a:solidFill>
                <a:latin typeface="Arial" panose="020B0604020202020204" pitchFamily="34" charset="0"/>
                <a:ea typeface="Trebuchet MS" pitchFamily="34" charset="-122"/>
                <a:cs typeface="Arial" panose="020B0604020202020204" pitchFamily="34" charset="0"/>
              </a:rPr>
              <a:t>Заметил ли кто-нибудь момент, который не сработал так, как планировалось?</a:t>
            </a:r>
            <a:endParaRPr lang="ru-RU" sz="1867" noProof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Text 19">
            <a:extLst>
              <a:ext uri="{FF2B5EF4-FFF2-40B4-BE49-F238E27FC236}">
                <a16:creationId xmlns:a16="http://schemas.microsoft.com/office/drawing/2014/main" id="{1938CB85-2F92-5ACC-7AB6-9CC34EA1569D}"/>
              </a:ext>
            </a:extLst>
          </p:cNvPr>
          <p:cNvSpPr/>
          <p:nvPr/>
        </p:nvSpPr>
        <p:spPr>
          <a:xfrm>
            <a:off x="1488758" y="3819044"/>
            <a:ext cx="9830828" cy="390144"/>
          </a:xfrm>
          <a:prstGeom prst="rect">
            <a:avLst/>
          </a:prstGeom>
          <a:noFill/>
          <a:ln/>
        </p:spPr>
        <p:txBody>
          <a:bodyPr wrap="square" rtlCol="0" anchor="t"/>
          <a:lstStyle/>
          <a:p>
            <a:r>
              <a:rPr lang="ru-RU" sz="1400" i="1" noProof="1">
                <a:solidFill>
                  <a:srgbClr val="3D6673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Он был. Он был намеренным. Мы назовём его точно.</a:t>
            </a:r>
            <a:endParaRPr lang="ru-RU" sz="1400" noProof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Shape 20">
            <a:extLst>
              <a:ext uri="{FF2B5EF4-FFF2-40B4-BE49-F238E27FC236}">
                <a16:creationId xmlns:a16="http://schemas.microsoft.com/office/drawing/2014/main" id="{802FC679-4C36-E34B-E80E-838B09C54402}"/>
              </a:ext>
            </a:extLst>
          </p:cNvPr>
          <p:cNvSpPr/>
          <p:nvPr/>
        </p:nvSpPr>
        <p:spPr>
          <a:xfrm>
            <a:off x="635317" y="4489604"/>
            <a:ext cx="10871739" cy="1945952"/>
          </a:xfrm>
          <a:prstGeom prst="rect">
            <a:avLst/>
          </a:prstGeom>
          <a:solidFill>
            <a:schemeClr val="accent2">
              <a:lumMod val="75000"/>
            </a:schemeClr>
          </a:solidFill>
          <a:ln w="12700">
            <a:solidFill>
              <a:srgbClr val="16303A"/>
            </a:solidFill>
            <a:prstDash val="solid"/>
          </a:ln>
        </p:spPr>
        <p:txBody>
          <a:bodyPr/>
          <a:lstStyle/>
          <a:p>
            <a:endParaRPr lang="ru-RU" sz="2667" noProof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" name="Text 21">
            <a:extLst>
              <a:ext uri="{FF2B5EF4-FFF2-40B4-BE49-F238E27FC236}">
                <a16:creationId xmlns:a16="http://schemas.microsoft.com/office/drawing/2014/main" id="{651B95EF-1FF9-B3AF-DA71-8AFD7FDD1F17}"/>
              </a:ext>
            </a:extLst>
          </p:cNvPr>
          <p:cNvSpPr/>
          <p:nvPr/>
        </p:nvSpPr>
        <p:spPr>
          <a:xfrm>
            <a:off x="879157" y="4574948"/>
            <a:ext cx="10409112" cy="341376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r>
              <a:rPr lang="ru-RU" sz="1400" b="1" kern="0" spc="267" noProof="1">
                <a:solidFill>
                  <a:srgbClr val="E8940A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НАМЕРЕННАЯ ТРУДНОСТЬ</a:t>
            </a:r>
            <a:endParaRPr lang="ru-RU" sz="1400" noProof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" name="Text 22">
            <a:extLst>
              <a:ext uri="{FF2B5EF4-FFF2-40B4-BE49-F238E27FC236}">
                <a16:creationId xmlns:a16="http://schemas.microsoft.com/office/drawing/2014/main" id="{209B4873-CC86-D2C3-5BDC-209461988707}"/>
              </a:ext>
            </a:extLst>
          </p:cNvPr>
          <p:cNvSpPr/>
          <p:nvPr/>
        </p:nvSpPr>
        <p:spPr>
          <a:xfrm>
            <a:off x="879157" y="5025913"/>
            <a:ext cx="10409112" cy="36576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r>
              <a:rPr lang="ru-RU" sz="1867" b="1" noProof="1">
                <a:solidFill>
                  <a:srgbClr val="FFFFFF"/>
                </a:solidFill>
                <a:latin typeface="Arial" panose="020B0604020202020204" pitchFamily="34" charset="0"/>
                <a:ea typeface="Trebuchet MS" pitchFamily="34" charset="-122"/>
                <a:cs typeface="Arial" panose="020B0604020202020204" pitchFamily="34" charset="0"/>
              </a:rPr>
              <a:t>Переход от диагностического к кооперативному заданию произошёл слишком быстро.</a:t>
            </a:r>
            <a:endParaRPr lang="ru-RU" sz="1867" noProof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2" name="Text 23">
            <a:extLst>
              <a:ext uri="{FF2B5EF4-FFF2-40B4-BE49-F238E27FC236}">
                <a16:creationId xmlns:a16="http://schemas.microsoft.com/office/drawing/2014/main" id="{7AA0E868-C025-5174-793D-85BDE8C7197F}"/>
              </a:ext>
            </a:extLst>
          </p:cNvPr>
          <p:cNvSpPr/>
          <p:nvPr/>
        </p:nvSpPr>
        <p:spPr>
          <a:xfrm>
            <a:off x="879157" y="5569756"/>
            <a:ext cx="10409112" cy="487680"/>
          </a:xfrm>
          <a:prstGeom prst="rect">
            <a:avLst/>
          </a:prstGeom>
          <a:noFill/>
          <a:ln/>
        </p:spPr>
        <p:txBody>
          <a:bodyPr wrap="square" rtlCol="0" anchor="t"/>
          <a:lstStyle/>
          <a:p>
            <a:r>
              <a:rPr lang="ru-RU" sz="1467" i="1" noProof="1">
                <a:solidFill>
                  <a:srgbClr val="D6F0F3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Кооперативное обучение требует доверия. В межинституциональной группе его нужно сначала выстроить — краткий обмен в парах до группового задания. Это не провал метода. Это пробел в карточке планирования 7 — в графике.</a:t>
            </a:r>
            <a:endParaRPr lang="ru-RU" sz="1467" noProof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4263318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8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92BCF8D-8769-6D3A-98A3-E8D337DAA6B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5318" y="422444"/>
            <a:ext cx="10693653" cy="1080120"/>
          </a:xfrm>
        </p:spPr>
        <p:txBody>
          <a:bodyPr>
            <a:normAutofit/>
          </a:bodyPr>
          <a:lstStyle/>
          <a:p>
            <a:r>
              <a:rPr lang="ru-RU" noProof="1"/>
              <a:t>Работа с карточками сценариев:</a:t>
            </a:r>
            <a:br>
              <a:rPr lang="ru-RU" noProof="1"/>
            </a:br>
            <a:r>
              <a:rPr lang="ru-RU" noProof="1"/>
              <a:t>Три сценария. Три вопроса на каждый сценарий.</a:t>
            </a:r>
          </a:p>
        </p:txBody>
      </p:sp>
      <p:sp>
        <p:nvSpPr>
          <p:cNvPr id="6" name="Text 5">
            <a:extLst>
              <a:ext uri="{FF2B5EF4-FFF2-40B4-BE49-F238E27FC236}">
                <a16:creationId xmlns:a16="http://schemas.microsoft.com/office/drawing/2014/main" id="{B1B8922B-7017-EBA9-F39B-D540C766AC3F}"/>
              </a:ext>
            </a:extLst>
          </p:cNvPr>
          <p:cNvSpPr/>
          <p:nvPr/>
        </p:nvSpPr>
        <p:spPr>
          <a:xfrm>
            <a:off x="563708" y="1746404"/>
            <a:ext cx="11460480" cy="36576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r>
              <a:rPr lang="ru-RU" sz="1867" i="1" noProof="1">
                <a:solidFill>
                  <a:schemeClr val="bg1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Откройте конверт. По каждой карточке за вашим столом:</a:t>
            </a:r>
            <a:endParaRPr lang="ru-RU" sz="1867" noProof="1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Shape 6">
            <a:extLst>
              <a:ext uri="{FF2B5EF4-FFF2-40B4-BE49-F238E27FC236}">
                <a16:creationId xmlns:a16="http://schemas.microsoft.com/office/drawing/2014/main" id="{0AD22F07-9CAE-F168-1EA4-FA8B5ED6BE6D}"/>
              </a:ext>
            </a:extLst>
          </p:cNvPr>
          <p:cNvSpPr/>
          <p:nvPr/>
        </p:nvSpPr>
        <p:spPr>
          <a:xfrm>
            <a:off x="635317" y="2339044"/>
            <a:ext cx="195072" cy="195072"/>
          </a:xfrm>
          <a:prstGeom prst="ellipse">
            <a:avLst/>
          </a:prstGeom>
          <a:solidFill>
            <a:srgbClr val="027A87"/>
          </a:solidFill>
          <a:ln w="12700">
            <a:solidFill>
              <a:srgbClr val="027A87"/>
            </a:solidFill>
            <a:prstDash val="solid"/>
          </a:ln>
        </p:spPr>
        <p:txBody>
          <a:bodyPr/>
          <a:lstStyle/>
          <a:p>
            <a:endParaRPr lang="ru-RU" sz="1867" noProof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Text 7">
            <a:extLst>
              <a:ext uri="{FF2B5EF4-FFF2-40B4-BE49-F238E27FC236}">
                <a16:creationId xmlns:a16="http://schemas.microsoft.com/office/drawing/2014/main" id="{71AF11C6-FCC9-B3A4-8C90-7798D815350F}"/>
              </a:ext>
            </a:extLst>
          </p:cNvPr>
          <p:cNvSpPr/>
          <p:nvPr/>
        </p:nvSpPr>
        <p:spPr>
          <a:xfrm>
            <a:off x="940117" y="2265892"/>
            <a:ext cx="11094720" cy="365760"/>
          </a:xfrm>
          <a:prstGeom prst="rect">
            <a:avLst/>
          </a:prstGeom>
          <a:noFill/>
          <a:ln/>
        </p:spPr>
        <p:txBody>
          <a:bodyPr wrap="square" rtlCol="0" anchor="t"/>
          <a:lstStyle/>
          <a:p>
            <a:r>
              <a:rPr lang="ru-RU" sz="1867" noProof="1">
                <a:solidFill>
                  <a:schemeClr val="bg1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Определите принцип или карточку планирования SCAFFOLD, с которой связан вызов</a:t>
            </a:r>
            <a:endParaRPr lang="ru-RU" sz="1867" noProof="1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Shape 8">
            <a:extLst>
              <a:ext uri="{FF2B5EF4-FFF2-40B4-BE49-F238E27FC236}">
                <a16:creationId xmlns:a16="http://schemas.microsoft.com/office/drawing/2014/main" id="{25422052-27C2-BAF1-3BF4-3E9A4D91A871}"/>
              </a:ext>
            </a:extLst>
          </p:cNvPr>
          <p:cNvSpPr/>
          <p:nvPr/>
        </p:nvSpPr>
        <p:spPr>
          <a:xfrm>
            <a:off x="635317" y="2704804"/>
            <a:ext cx="195072" cy="195072"/>
          </a:xfrm>
          <a:prstGeom prst="ellipse">
            <a:avLst/>
          </a:prstGeom>
          <a:solidFill>
            <a:srgbClr val="027A87"/>
          </a:solidFill>
          <a:ln w="12700">
            <a:solidFill>
              <a:srgbClr val="027A87"/>
            </a:solidFill>
            <a:prstDash val="solid"/>
          </a:ln>
        </p:spPr>
        <p:txBody>
          <a:bodyPr/>
          <a:lstStyle/>
          <a:p>
            <a:endParaRPr lang="ru-RU" sz="1867" noProof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Text 9">
            <a:extLst>
              <a:ext uri="{FF2B5EF4-FFF2-40B4-BE49-F238E27FC236}">
                <a16:creationId xmlns:a16="http://schemas.microsoft.com/office/drawing/2014/main" id="{F91619F4-AD2B-8373-33BD-58F0531F4B03}"/>
              </a:ext>
            </a:extLst>
          </p:cNvPr>
          <p:cNvSpPr/>
          <p:nvPr/>
        </p:nvSpPr>
        <p:spPr>
          <a:xfrm>
            <a:off x="940117" y="2631652"/>
            <a:ext cx="11094720" cy="365760"/>
          </a:xfrm>
          <a:prstGeom prst="rect">
            <a:avLst/>
          </a:prstGeom>
          <a:noFill/>
          <a:ln/>
        </p:spPr>
        <p:txBody>
          <a:bodyPr wrap="square" rtlCol="0" anchor="t"/>
          <a:lstStyle/>
          <a:p>
            <a:r>
              <a:rPr lang="ru-RU" sz="1867" noProof="1">
                <a:solidFill>
                  <a:schemeClr val="bg1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Согласуйте ОДИН ответ фасилитатора, достаточно конкретный для использования завтра</a:t>
            </a:r>
            <a:endParaRPr lang="ru-RU" sz="1867" noProof="1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Shape 10">
            <a:extLst>
              <a:ext uri="{FF2B5EF4-FFF2-40B4-BE49-F238E27FC236}">
                <a16:creationId xmlns:a16="http://schemas.microsoft.com/office/drawing/2014/main" id="{F8535D8D-2ACF-FE1D-DD20-B26B8EE2F09A}"/>
              </a:ext>
            </a:extLst>
          </p:cNvPr>
          <p:cNvSpPr/>
          <p:nvPr/>
        </p:nvSpPr>
        <p:spPr>
          <a:xfrm>
            <a:off x="635317" y="3070564"/>
            <a:ext cx="195072" cy="195072"/>
          </a:xfrm>
          <a:prstGeom prst="ellipse">
            <a:avLst/>
          </a:prstGeom>
          <a:solidFill>
            <a:srgbClr val="027A87"/>
          </a:solidFill>
          <a:ln w="12700">
            <a:solidFill>
              <a:srgbClr val="027A87"/>
            </a:solidFill>
            <a:prstDash val="solid"/>
          </a:ln>
        </p:spPr>
        <p:txBody>
          <a:bodyPr/>
          <a:lstStyle/>
          <a:p>
            <a:endParaRPr lang="ru-RU" sz="1867" noProof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Text 11">
            <a:extLst>
              <a:ext uri="{FF2B5EF4-FFF2-40B4-BE49-F238E27FC236}">
                <a16:creationId xmlns:a16="http://schemas.microsoft.com/office/drawing/2014/main" id="{7EFCB150-835B-A2D7-129E-A97EAE8F9DE2}"/>
              </a:ext>
            </a:extLst>
          </p:cNvPr>
          <p:cNvSpPr/>
          <p:nvPr/>
        </p:nvSpPr>
        <p:spPr>
          <a:xfrm>
            <a:off x="940117" y="2997412"/>
            <a:ext cx="11094720" cy="365760"/>
          </a:xfrm>
          <a:prstGeom prst="rect">
            <a:avLst/>
          </a:prstGeom>
          <a:noFill/>
          <a:ln/>
        </p:spPr>
        <p:txBody>
          <a:bodyPr wrap="square" rtlCol="0" anchor="t"/>
          <a:lstStyle/>
          <a:p>
            <a:r>
              <a:rPr lang="ru-RU" sz="1867" noProof="1">
                <a:solidFill>
                  <a:schemeClr val="bg1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Отметьте, отличался бы ваш ответ для группы педагогов в ВАШЕМ задании</a:t>
            </a:r>
            <a:endParaRPr lang="ru-RU" sz="1867" noProof="1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Shape 12">
            <a:extLst>
              <a:ext uri="{FF2B5EF4-FFF2-40B4-BE49-F238E27FC236}">
                <a16:creationId xmlns:a16="http://schemas.microsoft.com/office/drawing/2014/main" id="{214ABAED-F55B-08F0-B9AC-805276413B9D}"/>
              </a:ext>
            </a:extLst>
          </p:cNvPr>
          <p:cNvSpPr/>
          <p:nvPr/>
        </p:nvSpPr>
        <p:spPr>
          <a:xfrm>
            <a:off x="502748" y="3875236"/>
            <a:ext cx="3718560" cy="2982763"/>
          </a:xfrm>
          <a:prstGeom prst="rect">
            <a:avLst/>
          </a:prstGeom>
          <a:solidFill>
            <a:srgbClr val="F7FAFB"/>
          </a:solidFill>
          <a:ln w="6350">
            <a:solidFill>
              <a:srgbClr val="B2D8DE"/>
            </a:solidFill>
            <a:prstDash val="solid"/>
          </a:ln>
        </p:spPr>
        <p:txBody>
          <a:bodyPr/>
          <a:lstStyle/>
          <a:p>
            <a:endParaRPr lang="ru-RU" sz="2400" noProof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Shape 13">
            <a:extLst>
              <a:ext uri="{FF2B5EF4-FFF2-40B4-BE49-F238E27FC236}">
                <a16:creationId xmlns:a16="http://schemas.microsoft.com/office/drawing/2014/main" id="{643E84EC-6744-3DA1-55BB-CD2ED44C490F}"/>
              </a:ext>
            </a:extLst>
          </p:cNvPr>
          <p:cNvSpPr/>
          <p:nvPr/>
        </p:nvSpPr>
        <p:spPr>
          <a:xfrm>
            <a:off x="502748" y="3875236"/>
            <a:ext cx="3718560" cy="341376"/>
          </a:xfrm>
          <a:prstGeom prst="rect">
            <a:avLst/>
          </a:prstGeom>
          <a:solidFill>
            <a:schemeClr val="accent2">
              <a:lumMod val="75000"/>
            </a:schemeClr>
          </a:solidFill>
          <a:ln w="12700">
            <a:solidFill>
              <a:srgbClr val="E8940A"/>
            </a:solidFill>
            <a:prstDash val="solid"/>
          </a:ln>
        </p:spPr>
        <p:txBody>
          <a:bodyPr/>
          <a:lstStyle/>
          <a:p>
            <a:endParaRPr lang="ru-RU" sz="2400" noProof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Text 14">
            <a:extLst>
              <a:ext uri="{FF2B5EF4-FFF2-40B4-BE49-F238E27FC236}">
                <a16:creationId xmlns:a16="http://schemas.microsoft.com/office/drawing/2014/main" id="{70899357-9A0E-E168-3742-F10414CBDBDF}"/>
              </a:ext>
            </a:extLst>
          </p:cNvPr>
          <p:cNvSpPr/>
          <p:nvPr/>
        </p:nvSpPr>
        <p:spPr>
          <a:xfrm>
            <a:off x="624668" y="3875236"/>
            <a:ext cx="3474720" cy="341376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r>
              <a:rPr lang="ru-RU" sz="1333" b="1" kern="0" spc="200" noProof="1">
                <a:solidFill>
                  <a:srgbClr val="FFFFFF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СЦЕНАРИЙ 1</a:t>
            </a:r>
            <a:endParaRPr lang="ru-RU" sz="1333" noProof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Text 15">
            <a:extLst>
              <a:ext uri="{FF2B5EF4-FFF2-40B4-BE49-F238E27FC236}">
                <a16:creationId xmlns:a16="http://schemas.microsoft.com/office/drawing/2014/main" id="{C5EF1E8A-6F77-D691-D4EA-A66E097473DB}"/>
              </a:ext>
            </a:extLst>
          </p:cNvPr>
          <p:cNvSpPr/>
          <p:nvPr/>
        </p:nvSpPr>
        <p:spPr>
          <a:xfrm>
            <a:off x="624668" y="4301956"/>
            <a:ext cx="3474720" cy="42672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r>
              <a:rPr lang="ru-RU" sz="1600" b="1" noProof="1">
                <a:solidFill>
                  <a:srgbClr val="16303A"/>
                </a:solidFill>
                <a:latin typeface="Arial" panose="020B0604020202020204" pitchFamily="34" charset="0"/>
                <a:ea typeface="Trebuchet MS" pitchFamily="34" charset="-122"/>
                <a:cs typeface="Arial" panose="020B0604020202020204" pitchFamily="34" charset="0"/>
              </a:rPr>
              <a:t>Авторитет в аудитории</a:t>
            </a:r>
            <a:endParaRPr lang="ru-RU" sz="1600" noProof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Text 16">
            <a:extLst>
              <a:ext uri="{FF2B5EF4-FFF2-40B4-BE49-F238E27FC236}">
                <a16:creationId xmlns:a16="http://schemas.microsoft.com/office/drawing/2014/main" id="{34AA2338-1CAB-73FD-E861-17D8260DC6E5}"/>
              </a:ext>
            </a:extLst>
          </p:cNvPr>
          <p:cNvSpPr/>
          <p:nvPr/>
        </p:nvSpPr>
        <p:spPr>
          <a:xfrm>
            <a:off x="624668" y="4728676"/>
            <a:ext cx="3474720" cy="268224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r>
              <a:rPr lang="ru-RU" sz="1600" i="1" noProof="1">
                <a:solidFill>
                  <a:srgbClr val="027A87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Преимущественно Задание А</a:t>
            </a:r>
            <a:endParaRPr lang="ru-RU" sz="1600" noProof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Text 17">
            <a:extLst>
              <a:ext uri="{FF2B5EF4-FFF2-40B4-BE49-F238E27FC236}">
                <a16:creationId xmlns:a16="http://schemas.microsoft.com/office/drawing/2014/main" id="{7F9AD2CE-0C2B-C977-49DC-6BC1FA9CBEF8}"/>
              </a:ext>
            </a:extLst>
          </p:cNvPr>
          <p:cNvSpPr/>
          <p:nvPr/>
        </p:nvSpPr>
        <p:spPr>
          <a:xfrm>
            <a:off x="624668" y="5033476"/>
            <a:ext cx="3474720" cy="1341120"/>
          </a:xfrm>
          <a:prstGeom prst="rect">
            <a:avLst/>
          </a:prstGeom>
          <a:noFill/>
          <a:ln/>
        </p:spPr>
        <p:txBody>
          <a:bodyPr wrap="square" rtlCol="0" anchor="t"/>
          <a:lstStyle/>
          <a:p>
            <a:r>
              <a:rPr lang="ru-RU" sz="1600" noProof="1">
                <a:solidFill>
                  <a:srgbClr val="3D6673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Уважаемый старший педагог говорит: «Это европейская модель, навязываемая нашей учебной программе. Зачем мы её импортируем?» В аудитории тишина. Двое кивают.</a:t>
            </a:r>
            <a:endParaRPr lang="ru-RU" sz="1600" noProof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Shape 18">
            <a:extLst>
              <a:ext uri="{FF2B5EF4-FFF2-40B4-BE49-F238E27FC236}">
                <a16:creationId xmlns:a16="http://schemas.microsoft.com/office/drawing/2014/main" id="{4AD07FA5-E4A6-C2DE-0B68-DAE35B399731}"/>
              </a:ext>
            </a:extLst>
          </p:cNvPr>
          <p:cNvSpPr/>
          <p:nvPr/>
        </p:nvSpPr>
        <p:spPr>
          <a:xfrm>
            <a:off x="4379804" y="3875235"/>
            <a:ext cx="3718560" cy="2982764"/>
          </a:xfrm>
          <a:prstGeom prst="rect">
            <a:avLst/>
          </a:prstGeom>
          <a:solidFill>
            <a:srgbClr val="F7FAFB"/>
          </a:solidFill>
          <a:ln w="6350">
            <a:solidFill>
              <a:srgbClr val="B2D8DE"/>
            </a:solidFill>
            <a:prstDash val="solid"/>
          </a:ln>
        </p:spPr>
        <p:txBody>
          <a:bodyPr/>
          <a:lstStyle/>
          <a:p>
            <a:endParaRPr lang="ru-RU" sz="2400" noProof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" name="Shape 19">
            <a:extLst>
              <a:ext uri="{FF2B5EF4-FFF2-40B4-BE49-F238E27FC236}">
                <a16:creationId xmlns:a16="http://schemas.microsoft.com/office/drawing/2014/main" id="{32961837-78B0-EE5A-752C-BB5681BE19B1}"/>
              </a:ext>
            </a:extLst>
          </p:cNvPr>
          <p:cNvSpPr/>
          <p:nvPr/>
        </p:nvSpPr>
        <p:spPr>
          <a:xfrm>
            <a:off x="4379804" y="3875236"/>
            <a:ext cx="3718560" cy="341376"/>
          </a:xfrm>
          <a:prstGeom prst="rect">
            <a:avLst/>
          </a:prstGeom>
          <a:solidFill>
            <a:schemeClr val="accent2">
              <a:lumMod val="75000"/>
            </a:schemeClr>
          </a:solidFill>
          <a:ln w="12700">
            <a:solidFill>
              <a:srgbClr val="E8940A"/>
            </a:solidFill>
            <a:prstDash val="solid"/>
          </a:ln>
        </p:spPr>
        <p:txBody>
          <a:bodyPr/>
          <a:lstStyle/>
          <a:p>
            <a:endParaRPr lang="ru-RU" sz="2400" noProof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" name="Text 20">
            <a:extLst>
              <a:ext uri="{FF2B5EF4-FFF2-40B4-BE49-F238E27FC236}">
                <a16:creationId xmlns:a16="http://schemas.microsoft.com/office/drawing/2014/main" id="{CDB03A43-245F-18DD-47FE-9183E58CD420}"/>
              </a:ext>
            </a:extLst>
          </p:cNvPr>
          <p:cNvSpPr/>
          <p:nvPr/>
        </p:nvSpPr>
        <p:spPr>
          <a:xfrm>
            <a:off x="4501724" y="3875236"/>
            <a:ext cx="3474720" cy="341376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r>
              <a:rPr lang="ru-RU" sz="1333" b="1" kern="0" spc="200" noProof="1">
                <a:solidFill>
                  <a:srgbClr val="FFFFFF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СЦЕНАРИЙ 2</a:t>
            </a:r>
            <a:endParaRPr lang="ru-RU" sz="1333" noProof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2" name="Text 21">
            <a:extLst>
              <a:ext uri="{FF2B5EF4-FFF2-40B4-BE49-F238E27FC236}">
                <a16:creationId xmlns:a16="http://schemas.microsoft.com/office/drawing/2014/main" id="{FAC55E31-829D-0D01-3F26-FEFC029C4107}"/>
              </a:ext>
            </a:extLst>
          </p:cNvPr>
          <p:cNvSpPr/>
          <p:nvPr/>
        </p:nvSpPr>
        <p:spPr>
          <a:xfrm>
            <a:off x="4501724" y="4301956"/>
            <a:ext cx="3474720" cy="42672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r>
              <a:rPr lang="ru-RU" sz="1600" b="1" noProof="1">
                <a:solidFill>
                  <a:srgbClr val="16303A"/>
                </a:solidFill>
                <a:latin typeface="Arial" panose="020B0604020202020204" pitchFamily="34" charset="0"/>
                <a:ea typeface="Trebuchet MS" pitchFamily="34" charset="-122"/>
                <a:cs typeface="Arial" panose="020B0604020202020204" pitchFamily="34" charset="0"/>
              </a:rPr>
              <a:t>Отстранённость и молчание</a:t>
            </a:r>
            <a:endParaRPr lang="ru-RU" sz="1600" noProof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3" name="Text 22">
            <a:extLst>
              <a:ext uri="{FF2B5EF4-FFF2-40B4-BE49-F238E27FC236}">
                <a16:creationId xmlns:a16="http://schemas.microsoft.com/office/drawing/2014/main" id="{EDA25CD3-C3D1-B2EF-ED47-4111B39C2097}"/>
              </a:ext>
            </a:extLst>
          </p:cNvPr>
          <p:cNvSpPr/>
          <p:nvPr/>
        </p:nvSpPr>
        <p:spPr>
          <a:xfrm>
            <a:off x="4501724" y="4728676"/>
            <a:ext cx="3474720" cy="268224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r>
              <a:rPr lang="ru-RU" sz="1600" i="1" noProof="1">
                <a:solidFill>
                  <a:srgbClr val="027A87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Преимущественно Задание В</a:t>
            </a:r>
            <a:endParaRPr lang="ru-RU" sz="1600" noProof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4" name="Text 23">
            <a:extLst>
              <a:ext uri="{FF2B5EF4-FFF2-40B4-BE49-F238E27FC236}">
                <a16:creationId xmlns:a16="http://schemas.microsoft.com/office/drawing/2014/main" id="{7BDE0256-213D-7301-9A5C-1C4FB22AA893}"/>
              </a:ext>
            </a:extLst>
          </p:cNvPr>
          <p:cNvSpPr/>
          <p:nvPr/>
        </p:nvSpPr>
        <p:spPr>
          <a:xfrm>
            <a:off x="4501724" y="5033476"/>
            <a:ext cx="3474720" cy="1341120"/>
          </a:xfrm>
          <a:prstGeom prst="rect">
            <a:avLst/>
          </a:prstGeom>
          <a:noFill/>
          <a:ln/>
        </p:spPr>
        <p:txBody>
          <a:bodyPr wrap="square" rtlCol="0" anchor="t"/>
          <a:lstStyle/>
          <a:p>
            <a:r>
              <a:rPr lang="ru-RU" sz="1600" noProof="1">
                <a:solidFill>
                  <a:srgbClr val="3D6673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Вы организуете парную ролевую игру по структурированной обратной связи. Никто не двигается. Один человек спрашивает: «Можете сначала показать нам?» Демонстрация разрушает дизайн.</a:t>
            </a:r>
            <a:endParaRPr lang="ru-RU" sz="1600" noProof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5" name="Shape 24">
            <a:extLst>
              <a:ext uri="{FF2B5EF4-FFF2-40B4-BE49-F238E27FC236}">
                <a16:creationId xmlns:a16="http://schemas.microsoft.com/office/drawing/2014/main" id="{E0059474-5266-E5D1-7637-9137840D1A3C}"/>
              </a:ext>
            </a:extLst>
          </p:cNvPr>
          <p:cNvSpPr/>
          <p:nvPr/>
        </p:nvSpPr>
        <p:spPr>
          <a:xfrm>
            <a:off x="8256860" y="3875236"/>
            <a:ext cx="3718560" cy="2982763"/>
          </a:xfrm>
          <a:prstGeom prst="rect">
            <a:avLst/>
          </a:prstGeom>
          <a:solidFill>
            <a:srgbClr val="F7FAFB"/>
          </a:solidFill>
          <a:ln w="6350">
            <a:solidFill>
              <a:srgbClr val="B2D8DE"/>
            </a:solidFill>
            <a:prstDash val="solid"/>
          </a:ln>
        </p:spPr>
        <p:txBody>
          <a:bodyPr/>
          <a:lstStyle/>
          <a:p>
            <a:endParaRPr lang="ru-RU" sz="2400" noProof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6" name="Shape 25">
            <a:extLst>
              <a:ext uri="{FF2B5EF4-FFF2-40B4-BE49-F238E27FC236}">
                <a16:creationId xmlns:a16="http://schemas.microsoft.com/office/drawing/2014/main" id="{FC118479-2CA0-5EB1-BD10-C41EEE17B5B0}"/>
              </a:ext>
            </a:extLst>
          </p:cNvPr>
          <p:cNvSpPr/>
          <p:nvPr/>
        </p:nvSpPr>
        <p:spPr>
          <a:xfrm>
            <a:off x="8256860" y="3875236"/>
            <a:ext cx="3718560" cy="341376"/>
          </a:xfrm>
          <a:prstGeom prst="rect">
            <a:avLst/>
          </a:prstGeom>
          <a:solidFill>
            <a:schemeClr val="accent2">
              <a:lumMod val="75000"/>
            </a:schemeClr>
          </a:solidFill>
          <a:ln w="12700">
            <a:solidFill>
              <a:srgbClr val="E8940A"/>
            </a:solidFill>
            <a:prstDash val="solid"/>
          </a:ln>
        </p:spPr>
        <p:txBody>
          <a:bodyPr/>
          <a:lstStyle/>
          <a:p>
            <a:endParaRPr lang="ru-RU" sz="2400" noProof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7" name="Text 26">
            <a:extLst>
              <a:ext uri="{FF2B5EF4-FFF2-40B4-BE49-F238E27FC236}">
                <a16:creationId xmlns:a16="http://schemas.microsoft.com/office/drawing/2014/main" id="{841A1F0B-C86B-2F44-CC35-3737FA53FFA5}"/>
              </a:ext>
            </a:extLst>
          </p:cNvPr>
          <p:cNvSpPr/>
          <p:nvPr/>
        </p:nvSpPr>
        <p:spPr>
          <a:xfrm>
            <a:off x="8378780" y="3875236"/>
            <a:ext cx="3474720" cy="341376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r>
              <a:rPr lang="ru-RU" sz="1333" b="1" kern="0" spc="200" noProof="1">
                <a:solidFill>
                  <a:srgbClr val="FFFFFF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СЦЕНАРИЙ 3</a:t>
            </a:r>
            <a:endParaRPr lang="ru-RU" sz="1333" noProof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8" name="Text 27">
            <a:extLst>
              <a:ext uri="{FF2B5EF4-FFF2-40B4-BE49-F238E27FC236}">
                <a16:creationId xmlns:a16="http://schemas.microsoft.com/office/drawing/2014/main" id="{ADA2F2DA-5399-73D6-6292-6A4884502271}"/>
              </a:ext>
            </a:extLst>
          </p:cNvPr>
          <p:cNvSpPr/>
          <p:nvPr/>
        </p:nvSpPr>
        <p:spPr>
          <a:xfrm>
            <a:off x="8378780" y="4301956"/>
            <a:ext cx="3474720" cy="42672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r>
              <a:rPr lang="ru-RU" sz="1600" b="1" noProof="1">
                <a:solidFill>
                  <a:srgbClr val="16303A"/>
                </a:solidFill>
                <a:latin typeface="Arial" panose="020B0604020202020204" pitchFamily="34" charset="0"/>
                <a:ea typeface="Trebuchet MS" pitchFamily="34" charset="-122"/>
                <a:cs typeface="Arial" panose="020B0604020202020204" pitchFamily="34" charset="0"/>
              </a:rPr>
              <a:t>Институциональное сопротивление в конце</a:t>
            </a:r>
            <a:endParaRPr lang="ru-RU" sz="1600" noProof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9" name="Text 28">
            <a:extLst>
              <a:ext uri="{FF2B5EF4-FFF2-40B4-BE49-F238E27FC236}">
                <a16:creationId xmlns:a16="http://schemas.microsoft.com/office/drawing/2014/main" id="{874E850F-F4D8-EAAE-B88B-FCFC15F879A2}"/>
              </a:ext>
            </a:extLst>
          </p:cNvPr>
          <p:cNvSpPr/>
          <p:nvPr/>
        </p:nvSpPr>
        <p:spPr>
          <a:xfrm>
            <a:off x="8378780" y="4728676"/>
            <a:ext cx="3474720" cy="268224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r>
              <a:rPr lang="ru-RU" sz="1600" i="1" noProof="1">
                <a:solidFill>
                  <a:srgbClr val="027A87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Преимущественно Задание Б</a:t>
            </a:r>
            <a:endParaRPr lang="ru-RU" sz="1600" noProof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0" name="Text 29">
            <a:extLst>
              <a:ext uri="{FF2B5EF4-FFF2-40B4-BE49-F238E27FC236}">
                <a16:creationId xmlns:a16="http://schemas.microsoft.com/office/drawing/2014/main" id="{046ACA54-E45F-E7AF-28C2-CAF620390166}"/>
              </a:ext>
            </a:extLst>
          </p:cNvPr>
          <p:cNvSpPr/>
          <p:nvPr/>
        </p:nvSpPr>
        <p:spPr>
          <a:xfrm>
            <a:off x="8378780" y="5033476"/>
            <a:ext cx="3474720" cy="1341120"/>
          </a:xfrm>
          <a:prstGeom prst="rect">
            <a:avLst/>
          </a:prstGeom>
          <a:noFill/>
          <a:ln/>
        </p:spPr>
        <p:txBody>
          <a:bodyPr wrap="square" rtlCol="0" anchor="t"/>
          <a:lstStyle/>
          <a:p>
            <a:r>
              <a:rPr lang="ru-RU" sz="1600" noProof="1">
                <a:solidFill>
                  <a:srgbClr val="3D6673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Ближе к концу: «Мы из разных колледжей, у нас нет общего расписания, нет бюджета для последующей работы. Это не выживет в реальности.» Двое кивают.</a:t>
            </a:r>
            <a:endParaRPr lang="ru-RU" sz="1600" noProof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8385721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8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7648F27-01D8-DEA4-1F81-69E4802D3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5317" y="422444"/>
            <a:ext cx="11216639" cy="1080120"/>
          </a:xfrm>
        </p:spPr>
        <p:txBody>
          <a:bodyPr>
            <a:normAutofit/>
          </a:bodyPr>
          <a:lstStyle/>
          <a:p>
            <a:r>
              <a:rPr lang="ru-RU" noProof="1"/>
              <a:t>Вы не представляете свой дизайн. Вы его реализуете.</a:t>
            </a:r>
          </a:p>
        </p:txBody>
      </p:sp>
      <p:sp>
        <p:nvSpPr>
          <p:cNvPr id="4" name="Text 5">
            <a:extLst>
              <a:ext uri="{FF2B5EF4-FFF2-40B4-BE49-F238E27FC236}">
                <a16:creationId xmlns:a16="http://schemas.microsoft.com/office/drawing/2014/main" id="{8C3FE970-7E76-FEBA-F4E8-981AA35CBA92}"/>
              </a:ext>
            </a:extLst>
          </p:cNvPr>
          <p:cNvSpPr/>
          <p:nvPr/>
        </p:nvSpPr>
        <p:spPr>
          <a:xfrm>
            <a:off x="635316" y="1622093"/>
            <a:ext cx="11460480" cy="48768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r>
              <a:rPr lang="ru-RU" sz="1600" i="1" noProof="1">
                <a:solidFill>
                  <a:schemeClr val="bg1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Ваша аудитория — группа педагогов в вашем задании. Относитесь к ним как к этой группе.</a:t>
            </a:r>
            <a:endParaRPr lang="ru-RU" sz="1600" noProof="1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Shape 6">
            <a:extLst>
              <a:ext uri="{FF2B5EF4-FFF2-40B4-BE49-F238E27FC236}">
                <a16:creationId xmlns:a16="http://schemas.microsoft.com/office/drawing/2014/main" id="{974F820C-D40E-B235-86A6-CD204245A62C}"/>
              </a:ext>
            </a:extLst>
          </p:cNvPr>
          <p:cNvSpPr/>
          <p:nvPr/>
        </p:nvSpPr>
        <p:spPr>
          <a:xfrm>
            <a:off x="635316" y="2231693"/>
            <a:ext cx="11460480" cy="1438656"/>
          </a:xfrm>
          <a:prstGeom prst="rect">
            <a:avLst/>
          </a:prstGeom>
          <a:solidFill>
            <a:srgbClr val="D6F0F3"/>
          </a:solidFill>
          <a:ln w="6350">
            <a:solidFill>
              <a:srgbClr val="B2D8DE"/>
            </a:solidFill>
            <a:prstDash val="solid"/>
          </a:ln>
        </p:spPr>
        <p:txBody>
          <a:bodyPr/>
          <a:lstStyle/>
          <a:p>
            <a:endParaRPr lang="ru-RU" sz="2400" noProof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Text 7">
            <a:extLst>
              <a:ext uri="{FF2B5EF4-FFF2-40B4-BE49-F238E27FC236}">
                <a16:creationId xmlns:a16="http://schemas.microsoft.com/office/drawing/2014/main" id="{2506EC04-B9E1-74B5-887A-CFC3FE73AB00}"/>
              </a:ext>
            </a:extLst>
          </p:cNvPr>
          <p:cNvSpPr/>
          <p:nvPr/>
        </p:nvSpPr>
        <p:spPr>
          <a:xfrm>
            <a:off x="879156" y="2329229"/>
            <a:ext cx="10972800" cy="30480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r>
              <a:rPr lang="ru-RU" sz="1333" b="1" kern="0" spc="267" noProof="1">
                <a:solidFill>
                  <a:srgbClr val="027A87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ВАША АУДИТОРИЯ</a:t>
            </a:r>
            <a:endParaRPr lang="ru-RU" sz="1333" noProof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Text 8">
            <a:extLst>
              <a:ext uri="{FF2B5EF4-FFF2-40B4-BE49-F238E27FC236}">
                <a16:creationId xmlns:a16="http://schemas.microsoft.com/office/drawing/2014/main" id="{2E5E1D8F-DABB-273C-3722-74EB239A5E92}"/>
              </a:ext>
            </a:extLst>
          </p:cNvPr>
          <p:cNvSpPr/>
          <p:nvPr/>
        </p:nvSpPr>
        <p:spPr>
          <a:xfrm>
            <a:off x="879156" y="2719373"/>
            <a:ext cx="3657600" cy="30480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r>
              <a:rPr lang="ru-RU" sz="1333" b="1" kern="0" spc="200" noProof="1">
                <a:solidFill>
                  <a:srgbClr val="E8940A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Задание А</a:t>
            </a:r>
            <a:endParaRPr lang="ru-RU" sz="1333" noProof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Text 9">
            <a:extLst>
              <a:ext uri="{FF2B5EF4-FFF2-40B4-BE49-F238E27FC236}">
                <a16:creationId xmlns:a16="http://schemas.microsoft.com/office/drawing/2014/main" id="{3C51170C-314A-CCEC-F8DB-D2EEEB7FD66E}"/>
              </a:ext>
            </a:extLst>
          </p:cNvPr>
          <p:cNvSpPr/>
          <p:nvPr/>
        </p:nvSpPr>
        <p:spPr>
          <a:xfrm>
            <a:off x="879156" y="3024173"/>
            <a:ext cx="3657600" cy="365760"/>
          </a:xfrm>
          <a:prstGeom prst="rect">
            <a:avLst/>
          </a:prstGeom>
          <a:noFill/>
          <a:ln/>
        </p:spPr>
        <p:txBody>
          <a:bodyPr wrap="square" rtlCol="0" anchor="t"/>
          <a:lstStyle/>
          <a:p>
            <a:r>
              <a:rPr lang="ru-RU" sz="1400" noProof="1">
                <a:solidFill>
                  <a:srgbClr val="16303A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Педагоги средней школы</a:t>
            </a:r>
            <a:endParaRPr lang="ru-RU" sz="1400" noProof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Text 10">
            <a:extLst>
              <a:ext uri="{FF2B5EF4-FFF2-40B4-BE49-F238E27FC236}">
                <a16:creationId xmlns:a16="http://schemas.microsoft.com/office/drawing/2014/main" id="{51D04FD0-CF27-2484-38B2-DAA943040963}"/>
              </a:ext>
            </a:extLst>
          </p:cNvPr>
          <p:cNvSpPr/>
          <p:nvPr/>
        </p:nvSpPr>
        <p:spPr>
          <a:xfrm>
            <a:off x="4597716" y="2719373"/>
            <a:ext cx="3657600" cy="30480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r>
              <a:rPr lang="ru-RU" sz="1333" b="1" kern="0" spc="200" noProof="1">
                <a:solidFill>
                  <a:srgbClr val="E8940A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Задание Б</a:t>
            </a:r>
            <a:endParaRPr lang="ru-RU" sz="1333" noProof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Text 11">
            <a:extLst>
              <a:ext uri="{FF2B5EF4-FFF2-40B4-BE49-F238E27FC236}">
                <a16:creationId xmlns:a16="http://schemas.microsoft.com/office/drawing/2014/main" id="{F3FF1E7A-C53D-D072-45A6-209DD1EB1D23}"/>
              </a:ext>
            </a:extLst>
          </p:cNvPr>
          <p:cNvSpPr/>
          <p:nvPr/>
        </p:nvSpPr>
        <p:spPr>
          <a:xfrm>
            <a:off x="4597716" y="3024173"/>
            <a:ext cx="3657600" cy="365760"/>
          </a:xfrm>
          <a:prstGeom prst="rect">
            <a:avLst/>
          </a:prstGeom>
          <a:noFill/>
          <a:ln/>
        </p:spPr>
        <p:txBody>
          <a:bodyPr wrap="square" rtlCol="0" anchor="t"/>
          <a:lstStyle/>
          <a:p>
            <a:r>
              <a:rPr lang="ru-RU" sz="1400" noProof="1">
                <a:solidFill>
                  <a:srgbClr val="16303A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Педагоги предметов ПОО из разных учебных заведений</a:t>
            </a:r>
            <a:endParaRPr lang="ru-RU" sz="1400" noProof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Text 12">
            <a:extLst>
              <a:ext uri="{FF2B5EF4-FFF2-40B4-BE49-F238E27FC236}">
                <a16:creationId xmlns:a16="http://schemas.microsoft.com/office/drawing/2014/main" id="{49A38069-E9CB-A4F9-5A65-135EF2DEE4AA}"/>
              </a:ext>
            </a:extLst>
          </p:cNvPr>
          <p:cNvSpPr/>
          <p:nvPr/>
        </p:nvSpPr>
        <p:spPr>
          <a:xfrm>
            <a:off x="8316276" y="2719373"/>
            <a:ext cx="3657600" cy="30480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r>
              <a:rPr lang="ru-RU" sz="1333" b="1" kern="0" spc="200" noProof="1">
                <a:solidFill>
                  <a:srgbClr val="E8940A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Задание В</a:t>
            </a:r>
            <a:endParaRPr lang="ru-RU" sz="1333" noProof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Text 13">
            <a:extLst>
              <a:ext uri="{FF2B5EF4-FFF2-40B4-BE49-F238E27FC236}">
                <a16:creationId xmlns:a16="http://schemas.microsoft.com/office/drawing/2014/main" id="{9C885541-0065-ECE9-93DE-99EABA28B902}"/>
              </a:ext>
            </a:extLst>
          </p:cNvPr>
          <p:cNvSpPr/>
          <p:nvPr/>
        </p:nvSpPr>
        <p:spPr>
          <a:xfrm>
            <a:off x="8316276" y="3024173"/>
            <a:ext cx="3657600" cy="365760"/>
          </a:xfrm>
          <a:prstGeom prst="rect">
            <a:avLst/>
          </a:prstGeom>
          <a:noFill/>
          <a:ln/>
        </p:spPr>
        <p:txBody>
          <a:bodyPr wrap="square" rtlCol="0" anchor="t"/>
          <a:lstStyle/>
          <a:p>
            <a:r>
              <a:rPr lang="ru-RU" sz="1400" noProof="1">
                <a:solidFill>
                  <a:srgbClr val="16303A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Мастера производственного обучения и практические тренеры</a:t>
            </a:r>
            <a:endParaRPr lang="ru-RU" sz="1400" noProof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Text 14">
            <a:extLst>
              <a:ext uri="{FF2B5EF4-FFF2-40B4-BE49-F238E27FC236}">
                <a16:creationId xmlns:a16="http://schemas.microsoft.com/office/drawing/2014/main" id="{0BF0A7C0-B2D1-7384-4FEA-C1FB7EC0AB87}"/>
              </a:ext>
            </a:extLst>
          </p:cNvPr>
          <p:cNvSpPr/>
          <p:nvPr/>
        </p:nvSpPr>
        <p:spPr>
          <a:xfrm>
            <a:off x="635316" y="3860879"/>
            <a:ext cx="11460480" cy="36576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r>
              <a:rPr lang="ru-RU" sz="1600" b="1" kern="0" spc="267" noProof="1">
                <a:solidFill>
                  <a:schemeClr val="bg1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ВАШИ 15 МИНУТ ДОЛЖНЫ ВКЛЮЧАТЬ:</a:t>
            </a:r>
            <a:endParaRPr lang="ru-RU" sz="1600" noProof="1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Shape 15">
            <a:extLst>
              <a:ext uri="{FF2B5EF4-FFF2-40B4-BE49-F238E27FC236}">
                <a16:creationId xmlns:a16="http://schemas.microsoft.com/office/drawing/2014/main" id="{E483A14F-CFDF-D962-14FE-2D723C88C969}"/>
              </a:ext>
            </a:extLst>
          </p:cNvPr>
          <p:cNvSpPr/>
          <p:nvPr/>
        </p:nvSpPr>
        <p:spPr>
          <a:xfrm>
            <a:off x="757236" y="4372943"/>
            <a:ext cx="219456" cy="219456"/>
          </a:xfrm>
          <a:prstGeom prst="ellipse">
            <a:avLst/>
          </a:prstGeom>
          <a:solidFill>
            <a:srgbClr val="E8940A"/>
          </a:solidFill>
          <a:ln w="12700">
            <a:solidFill>
              <a:srgbClr val="E8940A"/>
            </a:solidFill>
            <a:prstDash val="solid"/>
          </a:ln>
        </p:spPr>
        <p:txBody>
          <a:bodyPr/>
          <a:lstStyle/>
          <a:p>
            <a:endParaRPr lang="ru-RU" sz="2400" noProof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Text 16">
            <a:extLst>
              <a:ext uri="{FF2B5EF4-FFF2-40B4-BE49-F238E27FC236}">
                <a16:creationId xmlns:a16="http://schemas.microsoft.com/office/drawing/2014/main" id="{8DFC9023-29CF-B958-D7A4-C2BB102CEDB1}"/>
              </a:ext>
            </a:extLst>
          </p:cNvPr>
          <p:cNvSpPr/>
          <p:nvPr/>
        </p:nvSpPr>
        <p:spPr>
          <a:xfrm>
            <a:off x="1122996" y="4287599"/>
            <a:ext cx="10972800" cy="390144"/>
          </a:xfrm>
          <a:prstGeom prst="rect">
            <a:avLst/>
          </a:prstGeom>
          <a:noFill/>
          <a:ln/>
        </p:spPr>
        <p:txBody>
          <a:bodyPr wrap="square" rtlCol="0" anchor="t"/>
          <a:lstStyle/>
          <a:p>
            <a:r>
              <a:rPr lang="ru-RU" sz="1600" noProof="1">
                <a:solidFill>
                  <a:schemeClr val="bg1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Связь с реальным миром с ПЕРВОЙ минуты</a:t>
            </a:r>
            <a:endParaRPr lang="ru-RU" sz="1600" noProof="1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Shape 17">
            <a:extLst>
              <a:ext uri="{FF2B5EF4-FFF2-40B4-BE49-F238E27FC236}">
                <a16:creationId xmlns:a16="http://schemas.microsoft.com/office/drawing/2014/main" id="{CF6EAEAE-AFD0-E155-E9E5-9C9387E3EB96}"/>
              </a:ext>
            </a:extLst>
          </p:cNvPr>
          <p:cNvSpPr/>
          <p:nvPr/>
        </p:nvSpPr>
        <p:spPr>
          <a:xfrm>
            <a:off x="757236" y="4763087"/>
            <a:ext cx="219456" cy="219456"/>
          </a:xfrm>
          <a:prstGeom prst="ellipse">
            <a:avLst/>
          </a:prstGeom>
          <a:solidFill>
            <a:srgbClr val="E8940A"/>
          </a:solidFill>
          <a:ln w="12700">
            <a:solidFill>
              <a:srgbClr val="E8940A"/>
            </a:solidFill>
            <a:prstDash val="solid"/>
          </a:ln>
        </p:spPr>
        <p:txBody>
          <a:bodyPr/>
          <a:lstStyle/>
          <a:p>
            <a:endParaRPr lang="ru-RU" sz="2400" noProof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Text 18">
            <a:extLst>
              <a:ext uri="{FF2B5EF4-FFF2-40B4-BE49-F238E27FC236}">
                <a16:creationId xmlns:a16="http://schemas.microsoft.com/office/drawing/2014/main" id="{20E9CFC9-8607-E24D-8A62-6A6C0ED2B368}"/>
              </a:ext>
            </a:extLst>
          </p:cNvPr>
          <p:cNvSpPr/>
          <p:nvPr/>
        </p:nvSpPr>
        <p:spPr>
          <a:xfrm>
            <a:off x="1122996" y="4677743"/>
            <a:ext cx="10972800" cy="390144"/>
          </a:xfrm>
          <a:prstGeom prst="rect">
            <a:avLst/>
          </a:prstGeom>
          <a:noFill/>
          <a:ln/>
        </p:spPr>
        <p:txBody>
          <a:bodyPr wrap="square" rtlCol="0" anchor="t"/>
          <a:lstStyle/>
          <a:p>
            <a:r>
              <a:rPr lang="ru-RU" sz="1600" noProof="1">
                <a:solidFill>
                  <a:schemeClr val="bg1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Один момент активного обучения с использованием выбранного метода обучения</a:t>
            </a:r>
            <a:endParaRPr lang="ru-RU" sz="1600" noProof="1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Shape 19">
            <a:extLst>
              <a:ext uri="{FF2B5EF4-FFF2-40B4-BE49-F238E27FC236}">
                <a16:creationId xmlns:a16="http://schemas.microsoft.com/office/drawing/2014/main" id="{EDF94110-D497-42D7-5874-1253D1DDFFAD}"/>
              </a:ext>
            </a:extLst>
          </p:cNvPr>
          <p:cNvSpPr/>
          <p:nvPr/>
        </p:nvSpPr>
        <p:spPr>
          <a:xfrm>
            <a:off x="757236" y="5153231"/>
            <a:ext cx="219456" cy="219456"/>
          </a:xfrm>
          <a:prstGeom prst="ellipse">
            <a:avLst/>
          </a:prstGeom>
          <a:solidFill>
            <a:srgbClr val="E8940A"/>
          </a:solidFill>
          <a:ln w="12700">
            <a:solidFill>
              <a:srgbClr val="E8940A"/>
            </a:solidFill>
            <a:prstDash val="solid"/>
          </a:ln>
        </p:spPr>
        <p:txBody>
          <a:bodyPr/>
          <a:lstStyle/>
          <a:p>
            <a:endParaRPr lang="ru-RU" sz="2400" noProof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Text 20">
            <a:extLst>
              <a:ext uri="{FF2B5EF4-FFF2-40B4-BE49-F238E27FC236}">
                <a16:creationId xmlns:a16="http://schemas.microsoft.com/office/drawing/2014/main" id="{40577847-674E-467E-42B0-31B673362297}"/>
              </a:ext>
            </a:extLst>
          </p:cNvPr>
          <p:cNvSpPr/>
          <p:nvPr/>
        </p:nvSpPr>
        <p:spPr>
          <a:xfrm>
            <a:off x="1122996" y="5067887"/>
            <a:ext cx="10972800" cy="390144"/>
          </a:xfrm>
          <a:prstGeom prst="rect">
            <a:avLst/>
          </a:prstGeom>
          <a:noFill/>
          <a:ln/>
        </p:spPr>
        <p:txBody>
          <a:bodyPr wrap="square" rtlCol="0" anchor="t"/>
          <a:lstStyle/>
          <a:p>
            <a:r>
              <a:rPr lang="ru-RU" sz="1600" noProof="1">
                <a:solidFill>
                  <a:schemeClr val="bg1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Краткую индивидуальную рефлексию в конце</a:t>
            </a:r>
            <a:endParaRPr lang="ru-RU" sz="1600" noProof="1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" name="Shape 21">
            <a:extLst>
              <a:ext uri="{FF2B5EF4-FFF2-40B4-BE49-F238E27FC236}">
                <a16:creationId xmlns:a16="http://schemas.microsoft.com/office/drawing/2014/main" id="{D7A19592-44BA-697F-2F42-35A21CF88C55}"/>
              </a:ext>
            </a:extLst>
          </p:cNvPr>
          <p:cNvSpPr/>
          <p:nvPr/>
        </p:nvSpPr>
        <p:spPr>
          <a:xfrm>
            <a:off x="635316" y="5567759"/>
            <a:ext cx="11460480" cy="755904"/>
          </a:xfrm>
          <a:prstGeom prst="rect">
            <a:avLst/>
          </a:prstGeom>
          <a:solidFill>
            <a:srgbClr val="FDF3DC"/>
          </a:solidFill>
          <a:ln w="10160">
            <a:solidFill>
              <a:srgbClr val="E8940A"/>
            </a:solidFill>
            <a:prstDash val="solid"/>
          </a:ln>
        </p:spPr>
        <p:txBody>
          <a:bodyPr/>
          <a:lstStyle/>
          <a:p>
            <a:endParaRPr lang="ru-RU" sz="2400" noProof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" name="Shape 22">
            <a:extLst>
              <a:ext uri="{FF2B5EF4-FFF2-40B4-BE49-F238E27FC236}">
                <a16:creationId xmlns:a16="http://schemas.microsoft.com/office/drawing/2014/main" id="{6EFADAFD-CC04-6C88-4EA2-1706D460BCA5}"/>
              </a:ext>
            </a:extLst>
          </p:cNvPr>
          <p:cNvSpPr/>
          <p:nvPr/>
        </p:nvSpPr>
        <p:spPr>
          <a:xfrm>
            <a:off x="635316" y="5567759"/>
            <a:ext cx="97536" cy="755904"/>
          </a:xfrm>
          <a:prstGeom prst="rect">
            <a:avLst/>
          </a:prstGeom>
          <a:solidFill>
            <a:srgbClr val="E8940A"/>
          </a:solidFill>
          <a:ln w="12700">
            <a:solidFill>
              <a:srgbClr val="E8940A"/>
            </a:solidFill>
            <a:prstDash val="solid"/>
          </a:ln>
        </p:spPr>
        <p:txBody>
          <a:bodyPr/>
          <a:lstStyle/>
          <a:p>
            <a:endParaRPr lang="ru-RU" sz="2400" noProof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2" name="Text 23">
            <a:extLst>
              <a:ext uri="{FF2B5EF4-FFF2-40B4-BE49-F238E27FC236}">
                <a16:creationId xmlns:a16="http://schemas.microsoft.com/office/drawing/2014/main" id="{4688C0D2-1F1E-8927-7478-88E281D7F1D8}"/>
              </a:ext>
            </a:extLst>
          </p:cNvPr>
          <p:cNvSpPr/>
          <p:nvPr/>
        </p:nvSpPr>
        <p:spPr>
          <a:xfrm>
            <a:off x="879156" y="5592143"/>
            <a:ext cx="11094720" cy="73152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r>
              <a:rPr lang="ru-RU" sz="1467" b="1" noProof="1">
                <a:solidFill>
                  <a:srgbClr val="16303A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Решите сейчас: кто ведёт фасилитацию  ·  как вы открываете  ·  какие 15 минут вашего дизайна вы используете  ·  что активный момент просит сделать участников</a:t>
            </a:r>
            <a:endParaRPr lang="ru-RU" sz="1467" noProof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1474129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8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hape 0"/>
          <p:cNvSpPr/>
          <p:nvPr/>
        </p:nvSpPr>
        <p:spPr>
          <a:xfrm>
            <a:off x="0" y="0"/>
            <a:ext cx="12192000" cy="1036320"/>
          </a:xfrm>
          <a:prstGeom prst="rect">
            <a:avLst/>
          </a:prstGeom>
          <a:solidFill>
            <a:srgbClr val="16303A"/>
          </a:solidFill>
          <a:ln w="12700">
            <a:solidFill>
              <a:srgbClr val="16303A"/>
            </a:solidFill>
            <a:prstDash val="solid"/>
          </a:ln>
        </p:spPr>
        <p:txBody>
          <a:bodyPr/>
          <a:lstStyle/>
          <a:p>
            <a:endParaRPr lang="ru-RU" sz="2400" noProof="1"/>
          </a:p>
        </p:txBody>
      </p:sp>
      <p:sp>
        <p:nvSpPr>
          <p:cNvPr id="3" name="Text 1"/>
          <p:cNvSpPr/>
          <p:nvPr/>
        </p:nvSpPr>
        <p:spPr>
          <a:xfrm>
            <a:off x="609600" y="0"/>
            <a:ext cx="10972800" cy="103632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r>
              <a:rPr lang="ru-RU" sz="1867" b="1" kern="0" spc="267" noProof="1">
                <a:solidFill>
                  <a:srgbClr val="E8940A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СЕССИЯ 10  ·  СПИСОК МАТЕРИАЛОВ</a:t>
            </a:r>
            <a:endParaRPr lang="ru-RU" sz="1867" noProof="1"/>
          </a:p>
        </p:txBody>
      </p:sp>
      <p:sp>
        <p:nvSpPr>
          <p:cNvPr id="4" name="Shape 2"/>
          <p:cNvSpPr/>
          <p:nvPr/>
        </p:nvSpPr>
        <p:spPr>
          <a:xfrm>
            <a:off x="365760" y="1219200"/>
            <a:ext cx="11460480" cy="585216"/>
          </a:xfrm>
          <a:prstGeom prst="rect">
            <a:avLst/>
          </a:prstGeom>
          <a:solidFill>
            <a:srgbClr val="FFFFFF"/>
          </a:solidFill>
          <a:ln w="5080">
            <a:solidFill>
              <a:srgbClr val="B2D8DE"/>
            </a:solidFill>
            <a:prstDash val="solid"/>
          </a:ln>
        </p:spPr>
        <p:txBody>
          <a:bodyPr/>
          <a:lstStyle/>
          <a:p>
            <a:endParaRPr lang="ru-RU" sz="2400" noProof="1"/>
          </a:p>
        </p:txBody>
      </p:sp>
      <p:sp>
        <p:nvSpPr>
          <p:cNvPr id="5" name="Shape 3"/>
          <p:cNvSpPr/>
          <p:nvPr/>
        </p:nvSpPr>
        <p:spPr>
          <a:xfrm>
            <a:off x="487680" y="1328928"/>
            <a:ext cx="365760" cy="365760"/>
          </a:xfrm>
          <a:prstGeom prst="rect">
            <a:avLst/>
          </a:prstGeom>
          <a:solidFill>
            <a:srgbClr val="FFFFFF"/>
          </a:solidFill>
          <a:ln w="19050">
            <a:solidFill>
              <a:srgbClr val="027A87"/>
            </a:solidFill>
            <a:prstDash val="solid"/>
          </a:ln>
        </p:spPr>
        <p:txBody>
          <a:bodyPr/>
          <a:lstStyle/>
          <a:p>
            <a:endParaRPr lang="ru-RU" sz="2400" noProof="1"/>
          </a:p>
        </p:txBody>
      </p:sp>
      <p:sp>
        <p:nvSpPr>
          <p:cNvPr id="6" name="Text 4"/>
          <p:cNvSpPr/>
          <p:nvPr/>
        </p:nvSpPr>
        <p:spPr>
          <a:xfrm>
            <a:off x="1097280" y="1219200"/>
            <a:ext cx="4267200" cy="585216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r>
              <a:rPr lang="ru-RU" sz="1467" b="1" noProof="1">
                <a:solidFill>
                  <a:srgbClr val="16303A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Карточки наблюдения за фасилитацией</a:t>
            </a:r>
            <a:endParaRPr lang="ru-RU" sz="1467" noProof="1"/>
          </a:p>
        </p:txBody>
      </p:sp>
      <p:sp>
        <p:nvSpPr>
          <p:cNvPr id="7" name="Text 5"/>
          <p:cNvSpPr/>
          <p:nvPr/>
        </p:nvSpPr>
        <p:spPr>
          <a:xfrm>
            <a:off x="5486400" y="1219200"/>
            <a:ext cx="6217920" cy="585216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r>
              <a:rPr lang="ru-RU" sz="1400" noProof="1">
                <a:solidFill>
                  <a:srgbClr val="3D6673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По одной на участника  ·  заранее размещены ЛИЦОМ ВНИЗ до 09:28  ·  основной новый печатный материал</a:t>
            </a:r>
            <a:endParaRPr lang="ru-RU" sz="1400" noProof="1"/>
          </a:p>
        </p:txBody>
      </p:sp>
      <p:sp>
        <p:nvSpPr>
          <p:cNvPr id="8" name="Shape 6"/>
          <p:cNvSpPr/>
          <p:nvPr/>
        </p:nvSpPr>
        <p:spPr>
          <a:xfrm>
            <a:off x="365760" y="1853184"/>
            <a:ext cx="11460480" cy="585216"/>
          </a:xfrm>
          <a:prstGeom prst="rect">
            <a:avLst/>
          </a:prstGeom>
          <a:solidFill>
            <a:srgbClr val="D6F0F3"/>
          </a:solidFill>
          <a:ln w="5080">
            <a:solidFill>
              <a:srgbClr val="B2D8DE"/>
            </a:solidFill>
            <a:prstDash val="solid"/>
          </a:ln>
        </p:spPr>
        <p:txBody>
          <a:bodyPr/>
          <a:lstStyle/>
          <a:p>
            <a:endParaRPr lang="ru-RU" sz="2400" noProof="1"/>
          </a:p>
        </p:txBody>
      </p:sp>
      <p:sp>
        <p:nvSpPr>
          <p:cNvPr id="9" name="Shape 7"/>
          <p:cNvSpPr/>
          <p:nvPr/>
        </p:nvSpPr>
        <p:spPr>
          <a:xfrm>
            <a:off x="487680" y="1962912"/>
            <a:ext cx="365760" cy="365760"/>
          </a:xfrm>
          <a:prstGeom prst="rect">
            <a:avLst/>
          </a:prstGeom>
          <a:solidFill>
            <a:srgbClr val="FFFFFF"/>
          </a:solidFill>
          <a:ln w="19050">
            <a:solidFill>
              <a:srgbClr val="027A87"/>
            </a:solidFill>
            <a:prstDash val="solid"/>
          </a:ln>
        </p:spPr>
        <p:txBody>
          <a:bodyPr/>
          <a:lstStyle/>
          <a:p>
            <a:endParaRPr lang="ru-RU" sz="2400" noProof="1"/>
          </a:p>
        </p:txBody>
      </p:sp>
      <p:sp>
        <p:nvSpPr>
          <p:cNvPr id="10" name="Text 8"/>
          <p:cNvSpPr/>
          <p:nvPr/>
        </p:nvSpPr>
        <p:spPr>
          <a:xfrm>
            <a:off x="1097280" y="1853184"/>
            <a:ext cx="4267200" cy="585216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r>
              <a:rPr lang="ru-RU" sz="1467" b="1" noProof="1">
                <a:solidFill>
                  <a:srgbClr val="16303A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Конверты с карточками сценариев</a:t>
            </a:r>
            <a:endParaRPr lang="ru-RU" sz="1467" noProof="1"/>
          </a:p>
        </p:txBody>
      </p:sp>
      <p:sp>
        <p:nvSpPr>
          <p:cNvPr id="11" name="Text 9"/>
          <p:cNvSpPr/>
          <p:nvPr/>
        </p:nvSpPr>
        <p:spPr>
          <a:xfrm>
            <a:off x="5486400" y="1853184"/>
            <a:ext cx="6217920" cy="585216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r>
              <a:rPr lang="ru-RU" sz="1400" noProof="1">
                <a:solidFill>
                  <a:srgbClr val="3D6673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По одному набору из трёх на стол  ·  заранее размещены до 09:15  ·  открываются ТОЛЬКО в 09:55</a:t>
            </a:r>
            <a:endParaRPr lang="ru-RU" sz="1400" noProof="1"/>
          </a:p>
        </p:txBody>
      </p:sp>
      <p:sp>
        <p:nvSpPr>
          <p:cNvPr id="12" name="Shape 10"/>
          <p:cNvSpPr/>
          <p:nvPr/>
        </p:nvSpPr>
        <p:spPr>
          <a:xfrm>
            <a:off x="365760" y="2487168"/>
            <a:ext cx="11460480" cy="585216"/>
          </a:xfrm>
          <a:prstGeom prst="rect">
            <a:avLst/>
          </a:prstGeom>
          <a:solidFill>
            <a:srgbClr val="FFFFFF"/>
          </a:solidFill>
          <a:ln w="5080">
            <a:solidFill>
              <a:srgbClr val="B2D8DE"/>
            </a:solidFill>
            <a:prstDash val="solid"/>
          </a:ln>
        </p:spPr>
        <p:txBody>
          <a:bodyPr/>
          <a:lstStyle/>
          <a:p>
            <a:endParaRPr lang="ru-RU" sz="2400" noProof="1"/>
          </a:p>
        </p:txBody>
      </p:sp>
      <p:sp>
        <p:nvSpPr>
          <p:cNvPr id="13" name="Shape 11"/>
          <p:cNvSpPr/>
          <p:nvPr/>
        </p:nvSpPr>
        <p:spPr>
          <a:xfrm>
            <a:off x="487680" y="2596896"/>
            <a:ext cx="365760" cy="365760"/>
          </a:xfrm>
          <a:prstGeom prst="rect">
            <a:avLst/>
          </a:prstGeom>
          <a:solidFill>
            <a:srgbClr val="FFFFFF"/>
          </a:solidFill>
          <a:ln w="19050">
            <a:solidFill>
              <a:srgbClr val="027A87"/>
            </a:solidFill>
            <a:prstDash val="solid"/>
          </a:ln>
        </p:spPr>
        <p:txBody>
          <a:bodyPr/>
          <a:lstStyle/>
          <a:p>
            <a:endParaRPr lang="ru-RU" sz="2400" noProof="1"/>
          </a:p>
        </p:txBody>
      </p:sp>
      <p:sp>
        <p:nvSpPr>
          <p:cNvPr id="14" name="Text 12"/>
          <p:cNvSpPr/>
          <p:nvPr/>
        </p:nvSpPr>
        <p:spPr>
          <a:xfrm>
            <a:off x="1097280" y="2487168"/>
            <a:ext cx="4267200" cy="585216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r>
              <a:rPr lang="ru-RU" sz="1467" b="1" noProof="1">
                <a:solidFill>
                  <a:srgbClr val="16303A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Колоды карточек SCAFFOLD</a:t>
            </a:r>
            <a:endParaRPr lang="ru-RU" sz="1467" noProof="1"/>
          </a:p>
        </p:txBody>
      </p:sp>
      <p:sp>
        <p:nvSpPr>
          <p:cNvPr id="15" name="Text 13"/>
          <p:cNvSpPr/>
          <p:nvPr/>
        </p:nvSpPr>
        <p:spPr>
          <a:xfrm>
            <a:off x="5486400" y="2487168"/>
            <a:ext cx="6217920" cy="585216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r>
              <a:rPr lang="ru-RU" sz="1400" noProof="1">
                <a:solidFill>
                  <a:srgbClr val="3D6673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Уже на столах  ·  используются для определения принципов на протяжении всей сессии</a:t>
            </a:r>
            <a:endParaRPr lang="ru-RU" sz="1400" noProof="1"/>
          </a:p>
        </p:txBody>
      </p:sp>
      <p:sp>
        <p:nvSpPr>
          <p:cNvPr id="16" name="Shape 14"/>
          <p:cNvSpPr/>
          <p:nvPr/>
        </p:nvSpPr>
        <p:spPr>
          <a:xfrm>
            <a:off x="365760" y="3121152"/>
            <a:ext cx="11460480" cy="585216"/>
          </a:xfrm>
          <a:prstGeom prst="rect">
            <a:avLst/>
          </a:prstGeom>
          <a:solidFill>
            <a:srgbClr val="D6F0F3"/>
          </a:solidFill>
          <a:ln w="5080">
            <a:solidFill>
              <a:srgbClr val="B2D8DE"/>
            </a:solidFill>
            <a:prstDash val="solid"/>
          </a:ln>
        </p:spPr>
        <p:txBody>
          <a:bodyPr/>
          <a:lstStyle/>
          <a:p>
            <a:endParaRPr lang="ru-RU" sz="2400" noProof="1"/>
          </a:p>
        </p:txBody>
      </p:sp>
      <p:sp>
        <p:nvSpPr>
          <p:cNvPr id="17" name="Shape 15"/>
          <p:cNvSpPr/>
          <p:nvPr/>
        </p:nvSpPr>
        <p:spPr>
          <a:xfrm>
            <a:off x="487680" y="3230880"/>
            <a:ext cx="365760" cy="365760"/>
          </a:xfrm>
          <a:prstGeom prst="rect">
            <a:avLst/>
          </a:prstGeom>
          <a:solidFill>
            <a:srgbClr val="FFFFFF"/>
          </a:solidFill>
          <a:ln w="19050">
            <a:solidFill>
              <a:srgbClr val="027A87"/>
            </a:solidFill>
            <a:prstDash val="solid"/>
          </a:ln>
        </p:spPr>
        <p:txBody>
          <a:bodyPr/>
          <a:lstStyle/>
          <a:p>
            <a:endParaRPr lang="ru-RU" sz="2400" noProof="1"/>
          </a:p>
        </p:txBody>
      </p:sp>
      <p:sp>
        <p:nvSpPr>
          <p:cNvPr id="18" name="Text 16"/>
          <p:cNvSpPr/>
          <p:nvPr/>
        </p:nvSpPr>
        <p:spPr>
          <a:xfrm>
            <a:off x="1097280" y="3121152"/>
            <a:ext cx="4267200" cy="585216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r>
              <a:rPr lang="ru-RU" sz="1467" b="1" noProof="1">
                <a:solidFill>
                  <a:srgbClr val="16303A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Дизайны профессионального развития педагогов с Дня 2</a:t>
            </a:r>
            <a:endParaRPr lang="ru-RU" sz="1467" noProof="1"/>
          </a:p>
        </p:txBody>
      </p:sp>
      <p:sp>
        <p:nvSpPr>
          <p:cNvPr id="19" name="Text 17"/>
          <p:cNvSpPr/>
          <p:nvPr/>
        </p:nvSpPr>
        <p:spPr>
          <a:xfrm>
            <a:off x="5486400" y="3121152"/>
            <a:ext cx="6217920" cy="585216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r>
              <a:rPr lang="ru-RU" sz="1400" noProof="1">
                <a:solidFill>
                  <a:srgbClr val="3D6673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Всё ещё на столах  ·  к ним возвращаются при подготовке к Сессии 11</a:t>
            </a:r>
            <a:endParaRPr lang="ru-RU" sz="1400" noProof="1"/>
          </a:p>
        </p:txBody>
      </p:sp>
      <p:sp>
        <p:nvSpPr>
          <p:cNvPr id="20" name="Shape 18"/>
          <p:cNvSpPr/>
          <p:nvPr/>
        </p:nvSpPr>
        <p:spPr>
          <a:xfrm>
            <a:off x="365760" y="3755136"/>
            <a:ext cx="11460480" cy="585216"/>
          </a:xfrm>
          <a:prstGeom prst="rect">
            <a:avLst/>
          </a:prstGeom>
          <a:solidFill>
            <a:srgbClr val="FFFFFF"/>
          </a:solidFill>
          <a:ln w="5080">
            <a:solidFill>
              <a:srgbClr val="B2D8DE"/>
            </a:solidFill>
            <a:prstDash val="solid"/>
          </a:ln>
        </p:spPr>
        <p:txBody>
          <a:bodyPr/>
          <a:lstStyle/>
          <a:p>
            <a:endParaRPr lang="ru-RU" sz="2400" noProof="1"/>
          </a:p>
        </p:txBody>
      </p:sp>
      <p:sp>
        <p:nvSpPr>
          <p:cNvPr id="21" name="Shape 19"/>
          <p:cNvSpPr/>
          <p:nvPr/>
        </p:nvSpPr>
        <p:spPr>
          <a:xfrm>
            <a:off x="487680" y="3864864"/>
            <a:ext cx="365760" cy="365760"/>
          </a:xfrm>
          <a:prstGeom prst="rect">
            <a:avLst/>
          </a:prstGeom>
          <a:solidFill>
            <a:srgbClr val="FFFFFF"/>
          </a:solidFill>
          <a:ln w="19050">
            <a:solidFill>
              <a:srgbClr val="027A87"/>
            </a:solidFill>
            <a:prstDash val="solid"/>
          </a:ln>
        </p:spPr>
        <p:txBody>
          <a:bodyPr/>
          <a:lstStyle/>
          <a:p>
            <a:endParaRPr lang="ru-RU" sz="2400" noProof="1"/>
          </a:p>
        </p:txBody>
      </p:sp>
      <p:sp>
        <p:nvSpPr>
          <p:cNvPr id="22" name="Text 20"/>
          <p:cNvSpPr/>
          <p:nvPr/>
        </p:nvSpPr>
        <p:spPr>
          <a:xfrm>
            <a:off x="1097280" y="3755136"/>
            <a:ext cx="4267200" cy="585216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r>
              <a:rPr lang="ru-RU" sz="1467" b="1" noProof="1">
                <a:solidFill>
                  <a:srgbClr val="16303A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Слайд: задание для демонстрации</a:t>
            </a:r>
            <a:endParaRPr lang="ru-RU" sz="1467" noProof="1"/>
          </a:p>
        </p:txBody>
      </p:sp>
      <p:sp>
        <p:nvSpPr>
          <p:cNvPr id="23" name="Text 21"/>
          <p:cNvSpPr/>
          <p:nvPr/>
        </p:nvSpPr>
        <p:spPr>
          <a:xfrm>
            <a:off x="5486400" y="3755136"/>
            <a:ext cx="6217920" cy="585216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r>
              <a:rPr lang="ru-RU" sz="1400" noProof="1">
                <a:solidFill>
                  <a:srgbClr val="3D6673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Называя группу как преподавателей ПОО Задания Б из трёх разных колледжей</a:t>
            </a:r>
            <a:endParaRPr lang="ru-RU" sz="1400" noProof="1"/>
          </a:p>
        </p:txBody>
      </p:sp>
      <p:sp>
        <p:nvSpPr>
          <p:cNvPr id="24" name="Shape 22"/>
          <p:cNvSpPr/>
          <p:nvPr/>
        </p:nvSpPr>
        <p:spPr>
          <a:xfrm>
            <a:off x="365760" y="4389120"/>
            <a:ext cx="11460480" cy="585216"/>
          </a:xfrm>
          <a:prstGeom prst="rect">
            <a:avLst/>
          </a:prstGeom>
          <a:solidFill>
            <a:srgbClr val="D6F0F3"/>
          </a:solidFill>
          <a:ln w="5080">
            <a:solidFill>
              <a:srgbClr val="B2D8DE"/>
            </a:solidFill>
            <a:prstDash val="solid"/>
          </a:ln>
        </p:spPr>
        <p:txBody>
          <a:bodyPr/>
          <a:lstStyle/>
          <a:p>
            <a:endParaRPr lang="ru-RU" sz="2400" noProof="1"/>
          </a:p>
        </p:txBody>
      </p:sp>
      <p:sp>
        <p:nvSpPr>
          <p:cNvPr id="25" name="Shape 23"/>
          <p:cNvSpPr/>
          <p:nvPr/>
        </p:nvSpPr>
        <p:spPr>
          <a:xfrm>
            <a:off x="487680" y="4498848"/>
            <a:ext cx="365760" cy="365760"/>
          </a:xfrm>
          <a:prstGeom prst="rect">
            <a:avLst/>
          </a:prstGeom>
          <a:solidFill>
            <a:srgbClr val="FFFFFF"/>
          </a:solidFill>
          <a:ln w="19050">
            <a:solidFill>
              <a:srgbClr val="027A87"/>
            </a:solidFill>
            <a:prstDash val="solid"/>
          </a:ln>
        </p:spPr>
        <p:txBody>
          <a:bodyPr/>
          <a:lstStyle/>
          <a:p>
            <a:endParaRPr lang="ru-RU" sz="2400" noProof="1"/>
          </a:p>
        </p:txBody>
      </p:sp>
      <p:sp>
        <p:nvSpPr>
          <p:cNvPr id="26" name="Text 24"/>
          <p:cNvSpPr/>
          <p:nvPr/>
        </p:nvSpPr>
        <p:spPr>
          <a:xfrm>
            <a:off x="1097280" y="4389120"/>
            <a:ext cx="4267200" cy="585216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r>
              <a:rPr lang="ru-RU" sz="1467" b="1" noProof="1">
                <a:solidFill>
                  <a:srgbClr val="16303A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Слайд: задание по сценарию</a:t>
            </a:r>
            <a:endParaRPr lang="ru-RU" sz="1467" noProof="1"/>
          </a:p>
        </p:txBody>
      </p:sp>
      <p:sp>
        <p:nvSpPr>
          <p:cNvPr id="27" name="Text 25"/>
          <p:cNvSpPr/>
          <p:nvPr/>
        </p:nvSpPr>
        <p:spPr>
          <a:xfrm>
            <a:off x="5486400" y="4389120"/>
            <a:ext cx="6217920" cy="585216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r>
              <a:rPr lang="ru-RU" sz="1400" noProof="1">
                <a:solidFill>
                  <a:srgbClr val="3D6673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Три инструкции с вопросом о переносе на группу педагогов</a:t>
            </a:r>
            <a:endParaRPr lang="ru-RU" sz="1400" noProof="1"/>
          </a:p>
        </p:txBody>
      </p:sp>
      <p:sp>
        <p:nvSpPr>
          <p:cNvPr id="28" name="Shape 26"/>
          <p:cNvSpPr/>
          <p:nvPr/>
        </p:nvSpPr>
        <p:spPr>
          <a:xfrm>
            <a:off x="365760" y="5023104"/>
            <a:ext cx="11460480" cy="585216"/>
          </a:xfrm>
          <a:prstGeom prst="rect">
            <a:avLst/>
          </a:prstGeom>
          <a:solidFill>
            <a:srgbClr val="FFFFFF"/>
          </a:solidFill>
          <a:ln w="5080">
            <a:solidFill>
              <a:srgbClr val="B2D8DE"/>
            </a:solidFill>
            <a:prstDash val="solid"/>
          </a:ln>
        </p:spPr>
        <p:txBody>
          <a:bodyPr/>
          <a:lstStyle/>
          <a:p>
            <a:endParaRPr lang="ru-RU" sz="2400" noProof="1"/>
          </a:p>
        </p:txBody>
      </p:sp>
      <p:sp>
        <p:nvSpPr>
          <p:cNvPr id="29" name="Shape 27"/>
          <p:cNvSpPr/>
          <p:nvPr/>
        </p:nvSpPr>
        <p:spPr>
          <a:xfrm>
            <a:off x="487680" y="5132832"/>
            <a:ext cx="365760" cy="365760"/>
          </a:xfrm>
          <a:prstGeom prst="rect">
            <a:avLst/>
          </a:prstGeom>
          <a:solidFill>
            <a:srgbClr val="FFFFFF"/>
          </a:solidFill>
          <a:ln w="19050">
            <a:solidFill>
              <a:srgbClr val="027A87"/>
            </a:solidFill>
            <a:prstDash val="solid"/>
          </a:ln>
        </p:spPr>
        <p:txBody>
          <a:bodyPr/>
          <a:lstStyle/>
          <a:p>
            <a:endParaRPr lang="ru-RU" sz="2400" noProof="1"/>
          </a:p>
        </p:txBody>
      </p:sp>
      <p:sp>
        <p:nvSpPr>
          <p:cNvPr id="30" name="Text 28"/>
          <p:cNvSpPr/>
          <p:nvPr/>
        </p:nvSpPr>
        <p:spPr>
          <a:xfrm>
            <a:off x="1097280" y="5023104"/>
            <a:ext cx="4267200" cy="585216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r>
              <a:rPr lang="ru-RU" sz="1467" b="1" noProof="1">
                <a:solidFill>
                  <a:srgbClr val="16303A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Слайд: задание Сессии 11</a:t>
            </a:r>
            <a:endParaRPr lang="ru-RU" sz="1467" noProof="1"/>
          </a:p>
        </p:txBody>
      </p:sp>
      <p:sp>
        <p:nvSpPr>
          <p:cNvPr id="31" name="Text 29"/>
          <p:cNvSpPr/>
          <p:nvPr/>
        </p:nvSpPr>
        <p:spPr>
          <a:xfrm>
            <a:off x="5486400" y="5023104"/>
            <a:ext cx="6217920" cy="585216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r>
              <a:rPr lang="ru-RU" sz="1400" noProof="1">
                <a:solidFill>
                  <a:srgbClr val="3D6673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С указанием аудитории по типу задания</a:t>
            </a:r>
            <a:endParaRPr lang="ru-RU" sz="1400" noProof="1"/>
          </a:p>
        </p:txBody>
      </p:sp>
      <p:sp>
        <p:nvSpPr>
          <p:cNvPr id="32" name="Shape 30"/>
          <p:cNvSpPr/>
          <p:nvPr/>
        </p:nvSpPr>
        <p:spPr>
          <a:xfrm>
            <a:off x="365760" y="5657088"/>
            <a:ext cx="11460480" cy="585216"/>
          </a:xfrm>
          <a:prstGeom prst="rect">
            <a:avLst/>
          </a:prstGeom>
          <a:solidFill>
            <a:srgbClr val="D6F0F3"/>
          </a:solidFill>
          <a:ln w="5080">
            <a:solidFill>
              <a:srgbClr val="B2D8DE"/>
            </a:solidFill>
            <a:prstDash val="solid"/>
          </a:ln>
        </p:spPr>
        <p:txBody>
          <a:bodyPr/>
          <a:lstStyle/>
          <a:p>
            <a:endParaRPr lang="ru-RU" sz="2400" noProof="1"/>
          </a:p>
        </p:txBody>
      </p:sp>
      <p:sp>
        <p:nvSpPr>
          <p:cNvPr id="33" name="Shape 31"/>
          <p:cNvSpPr/>
          <p:nvPr/>
        </p:nvSpPr>
        <p:spPr>
          <a:xfrm>
            <a:off x="487680" y="5766816"/>
            <a:ext cx="365760" cy="365760"/>
          </a:xfrm>
          <a:prstGeom prst="rect">
            <a:avLst/>
          </a:prstGeom>
          <a:solidFill>
            <a:srgbClr val="FFFFFF"/>
          </a:solidFill>
          <a:ln w="19050">
            <a:solidFill>
              <a:srgbClr val="027A87"/>
            </a:solidFill>
            <a:prstDash val="solid"/>
          </a:ln>
        </p:spPr>
        <p:txBody>
          <a:bodyPr/>
          <a:lstStyle/>
          <a:p>
            <a:endParaRPr lang="ru-RU" sz="2400" noProof="1"/>
          </a:p>
        </p:txBody>
      </p:sp>
      <p:sp>
        <p:nvSpPr>
          <p:cNvPr id="34" name="Text 32"/>
          <p:cNvSpPr/>
          <p:nvPr/>
        </p:nvSpPr>
        <p:spPr>
          <a:xfrm>
            <a:off x="1097280" y="5657088"/>
            <a:ext cx="4267200" cy="585216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r>
              <a:rPr lang="ru-RU" sz="1467" b="1" noProof="1">
                <a:solidFill>
                  <a:srgbClr val="16303A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Инструктаж переводчика (заранее)</a:t>
            </a:r>
            <a:endParaRPr lang="ru-RU" sz="1467" noProof="1"/>
          </a:p>
        </p:txBody>
      </p:sp>
      <p:sp>
        <p:nvSpPr>
          <p:cNvPr id="35" name="Text 33"/>
          <p:cNvSpPr/>
          <p:nvPr/>
        </p:nvSpPr>
        <p:spPr>
          <a:xfrm>
            <a:off x="5486400" y="5657088"/>
            <a:ext cx="6217920" cy="585216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r>
              <a:rPr lang="ru-RU" sz="1400" noProof="1">
                <a:solidFill>
                  <a:srgbClr val="3D6673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Фасилитатор будет озвучивать решения по дизайну во время демонстрации</a:t>
            </a:r>
            <a:endParaRPr lang="ru-RU" sz="1400" noProof="1"/>
          </a:p>
        </p:txBody>
      </p:sp>
      <p:sp>
        <p:nvSpPr>
          <p:cNvPr id="36" name="Shape 34"/>
          <p:cNvSpPr/>
          <p:nvPr/>
        </p:nvSpPr>
        <p:spPr>
          <a:xfrm>
            <a:off x="0" y="6547104"/>
            <a:ext cx="12192000" cy="304800"/>
          </a:xfrm>
          <a:prstGeom prst="rect">
            <a:avLst/>
          </a:prstGeom>
          <a:solidFill>
            <a:srgbClr val="D6F0F3"/>
          </a:solidFill>
          <a:ln w="12700">
            <a:solidFill>
              <a:srgbClr val="D6F0F3"/>
            </a:solidFill>
            <a:prstDash val="solid"/>
          </a:ln>
        </p:spPr>
        <p:txBody>
          <a:bodyPr/>
          <a:lstStyle/>
          <a:p>
            <a:endParaRPr lang="ru-RU" sz="2400" noProof="1"/>
          </a:p>
        </p:txBody>
      </p:sp>
      <p:sp>
        <p:nvSpPr>
          <p:cNvPr id="37" name="Text 35"/>
          <p:cNvSpPr/>
          <p:nvPr/>
        </p:nvSpPr>
        <p:spPr>
          <a:xfrm>
            <a:off x="365760" y="6547104"/>
            <a:ext cx="7315200" cy="30480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r>
              <a:rPr lang="ru-RU" sz="1200" noProof="1">
                <a:solidFill>
                  <a:srgbClr val="3D6673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DARYA SCAFFOLD  ·  Алматы  ·  День 3  ·  Сессия 10</a:t>
            </a:r>
            <a:endParaRPr lang="ru-RU" sz="1200" noProof="1"/>
          </a:p>
        </p:txBody>
      </p:sp>
      <p:sp>
        <p:nvSpPr>
          <p:cNvPr id="38" name="Text 36"/>
          <p:cNvSpPr/>
          <p:nvPr/>
        </p:nvSpPr>
        <p:spPr>
          <a:xfrm>
            <a:off x="8168640" y="6547104"/>
            <a:ext cx="3657600" cy="30480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algn="r"/>
            <a:r>
              <a:rPr lang="ru-RU" sz="1200" noProof="1">
                <a:solidFill>
                  <a:srgbClr val="3D6673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09:15 – 10:30  ·  75 мин</a:t>
            </a:r>
            <a:endParaRPr lang="ru-RU" sz="1200" noProof="1"/>
          </a:p>
        </p:txBody>
      </p:sp>
    </p:spTree>
  </p:cSld>
  <p:clrMapOvr>
    <a:masterClrMapping/>
  </p:clrMapOvr>
</p:sld>
</file>

<file path=ppt/slides/slide18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18598890"/>
      </p:ext>
    </p:extLst>
  </p:cSld>
  <p:clrMapOvr>
    <a:masterClrMapping/>
  </p:clrMapOvr>
</p:sld>
</file>

<file path=ppt/slides/slide18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49D8A29-6AA6-F41D-A496-1223465F9E7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86C66516-058C-4EF2-83EB-BBBAE6901112}"/>
              </a:ext>
            </a:extLst>
          </p:cNvPr>
          <p:cNvSpPr/>
          <p:nvPr/>
        </p:nvSpPr>
        <p:spPr>
          <a:xfrm>
            <a:off x="552450" y="219075"/>
            <a:ext cx="1943100" cy="12287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noProof="1"/>
          </a:p>
        </p:txBody>
      </p:sp>
      <p:pic>
        <p:nvPicPr>
          <p:cNvPr id="10" name="Picture 9" descr="A blue flag with yellow stars&#10;&#10;AI-generated content may be incorrect.">
            <a:extLst>
              <a:ext uri="{FF2B5EF4-FFF2-40B4-BE49-F238E27FC236}">
                <a16:creationId xmlns:a16="http://schemas.microsoft.com/office/drawing/2014/main" id="{7FC90D12-ECBB-7553-1483-62A1071AE26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67" r="-524" b="5181"/>
          <a:stretch>
            <a:fillRect/>
          </a:stretch>
        </p:blipFill>
        <p:spPr bwMode="auto">
          <a:xfrm>
            <a:off x="10242394" y="85444"/>
            <a:ext cx="1783073" cy="1715333"/>
          </a:xfrm>
          <a:prstGeom prst="rect">
            <a:avLst/>
          </a:prstGeom>
          <a:noFill/>
        </p:spPr>
      </p:pic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FE4F5897-B2E6-1E2A-33A8-11502EB7BFA5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/>
        <p:txBody>
          <a:bodyPr/>
          <a:lstStyle/>
          <a:p>
            <a:endParaRPr lang="ru-RU" noProof="1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B252B5A4-2CF1-DA2F-954B-462440FFB6A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ru-RU" noProof="1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F996EF3A-5969-6845-080A-932D9B5C8A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ru-RU" noProof="1"/>
          </a:p>
        </p:txBody>
      </p:sp>
      <p:pic>
        <p:nvPicPr>
          <p:cNvPr id="12" name="Picture 11" descr="A blue text on a black background&#10;&#10;AI-generated content may be incorrect.">
            <a:extLst>
              <a:ext uri="{FF2B5EF4-FFF2-40B4-BE49-F238E27FC236}">
                <a16:creationId xmlns:a16="http://schemas.microsoft.com/office/drawing/2014/main" id="{ECFF6FAE-77F2-10D8-EE6C-0FFCC5A2D23B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5293" y="89083"/>
            <a:ext cx="2030830" cy="1224303"/>
          </a:xfrm>
          <a:prstGeom prst="rect">
            <a:avLst/>
          </a:prstGeom>
          <a:noFill/>
        </p:spPr>
      </p:pic>
      <p:pic>
        <p:nvPicPr>
          <p:cNvPr id="15" name="Picture 14" descr="A logo with stars and text&#10;&#10;AI-generated content may be incorrect.">
            <a:extLst>
              <a:ext uri="{FF2B5EF4-FFF2-40B4-BE49-F238E27FC236}">
                <a16:creationId xmlns:a16="http://schemas.microsoft.com/office/drawing/2014/main" id="{727C4F10-4E4B-AE51-4BB6-63DA6CD215CF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81196" y="5210046"/>
            <a:ext cx="2111127" cy="1713490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5DF69D93-C3E2-07DC-4C46-00DE1C784F6C}"/>
              </a:ext>
            </a:extLst>
          </p:cNvPr>
          <p:cNvSpPr txBox="1"/>
          <p:nvPr/>
        </p:nvSpPr>
        <p:spPr>
          <a:xfrm>
            <a:off x="-116229" y="1352125"/>
            <a:ext cx="7361854" cy="5162439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>
            <a:defPPr>
              <a:defRPr lang="en-GB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7000"/>
              </a:lnSpc>
              <a:spcAft>
                <a:spcPts val="800"/>
              </a:spcAft>
            </a:pPr>
            <a:endParaRPr lang="ru-RU" sz="4000" b="1" kern="100" noProof="1">
              <a:solidFill>
                <a:srgbClr val="455560"/>
              </a:solidFill>
              <a:latin typeface="Arial"/>
              <a:ea typeface="Roboto"/>
              <a:cs typeface="Arial"/>
            </a:endParaRPr>
          </a:p>
          <a:p>
            <a:pPr algn="ctr"/>
            <a:r>
              <a:rPr lang="ru-RU" sz="4000" b="1" noProof="1">
                <a:cs typeface="Arial"/>
              </a:rPr>
              <a:t>13:00 - 14:00</a:t>
            </a:r>
          </a:p>
          <a:p>
            <a:pPr algn="ctr"/>
            <a:r>
              <a:rPr lang="ru-RU" sz="4000" b="1" noProof="1">
                <a:cs typeface="Arial"/>
              </a:rPr>
              <a:t>Обед</a:t>
            </a:r>
            <a:endParaRPr lang="ru-RU" sz="4000" noProof="1">
              <a:cs typeface="Arial"/>
            </a:endParaRPr>
          </a:p>
          <a:p>
            <a:pPr algn="ctr"/>
            <a:endParaRPr lang="ru-RU" sz="4000" b="1" noProof="1">
              <a:cs typeface="Arial" panose="020B0604020202020204"/>
            </a:endParaRPr>
          </a:p>
          <a:p>
            <a:pPr algn="ctr"/>
            <a:r>
              <a:rPr lang="ru-RU" sz="4000" b="1" noProof="1">
                <a:cs typeface="Arial" panose="020B0604020202020204"/>
              </a:rPr>
              <a:t>13:00 - 14:00</a:t>
            </a:r>
          </a:p>
          <a:p>
            <a:pPr algn="ctr"/>
            <a:r>
              <a:rPr lang="ru-RU" sz="4000" b="1" noProof="1">
                <a:cs typeface="Arial" panose="020B0604020202020204"/>
              </a:rPr>
              <a:t>Lunch</a:t>
            </a:r>
          </a:p>
          <a:p>
            <a:pPr algn="ctr"/>
            <a:endParaRPr lang="ru-RU" sz="4000" b="1" noProof="1">
              <a:cs typeface="Arial" panose="020B0604020202020204"/>
            </a:endParaRPr>
          </a:p>
          <a:p>
            <a:pPr algn="ctr"/>
            <a:endParaRPr lang="ru-RU" sz="4000" b="1" noProof="1">
              <a:cs typeface="Arial" panose="020B0604020202020204"/>
            </a:endParaRPr>
          </a:p>
        </p:txBody>
      </p:sp>
    </p:spTree>
    <p:extLst>
      <p:ext uri="{BB962C8B-B14F-4D97-AF65-F5344CB8AC3E}">
        <p14:creationId xmlns:p14="http://schemas.microsoft.com/office/powerpoint/2010/main" val="42608395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8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048F165-81AD-BE3E-5D75-37E59AFB73F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0">
            <a:extLst>
              <a:ext uri="{FF2B5EF4-FFF2-40B4-BE49-F238E27FC236}">
                <a16:creationId xmlns:a16="http://schemas.microsoft.com/office/drawing/2014/main" id="{DEE27C7E-C201-CEFF-281D-F44034E685B9}"/>
              </a:ext>
            </a:extLst>
          </p:cNvPr>
          <p:cNvSpPr/>
          <p:nvPr/>
        </p:nvSpPr>
        <p:spPr>
          <a:xfrm>
            <a:off x="7498080" y="476616"/>
            <a:ext cx="5120640" cy="548640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algn="r"/>
            <a:r>
              <a:rPr lang="ru-RU" sz="35599" b="1" noProof="1">
                <a:solidFill>
                  <a:srgbClr val="0092BB">
                    <a:alpha val="40000"/>
                  </a:srgbClr>
                </a:solidFill>
                <a:latin typeface="Trebuchet MS" pitchFamily="34" charset="0"/>
                <a:ea typeface="Trebuchet MS" pitchFamily="34" charset="-122"/>
                <a:cs typeface="Trebuchet MS" pitchFamily="34" charset="-120"/>
              </a:rPr>
              <a:t>0</a:t>
            </a:r>
          </a:p>
          <a:p>
            <a:pPr algn="r"/>
            <a:r>
              <a:rPr lang="ru-RU" sz="29733" b="1" noProof="1">
                <a:solidFill>
                  <a:srgbClr val="0092BB">
                    <a:alpha val="40000"/>
                  </a:srgbClr>
                </a:solidFill>
                <a:latin typeface="Trebuchet MS" pitchFamily="34" charset="0"/>
                <a:ea typeface="Trebuchet MS" pitchFamily="34" charset="-122"/>
                <a:cs typeface="Trebuchet MS" pitchFamily="34" charset="-120"/>
              </a:rPr>
              <a:t>11</a:t>
            </a:r>
            <a:endParaRPr lang="ru-RU" sz="42666" noProof="1"/>
          </a:p>
        </p:txBody>
      </p:sp>
      <p:sp>
        <p:nvSpPr>
          <p:cNvPr id="3" name="Shape 1">
            <a:extLst>
              <a:ext uri="{FF2B5EF4-FFF2-40B4-BE49-F238E27FC236}">
                <a16:creationId xmlns:a16="http://schemas.microsoft.com/office/drawing/2014/main" id="{498B15A0-33D6-A92B-7691-267C922E10C5}"/>
              </a:ext>
            </a:extLst>
          </p:cNvPr>
          <p:cNvSpPr/>
          <p:nvPr/>
        </p:nvSpPr>
        <p:spPr>
          <a:xfrm>
            <a:off x="680304" y="2190875"/>
            <a:ext cx="101728" cy="2139462"/>
          </a:xfrm>
          <a:prstGeom prst="rect">
            <a:avLst/>
          </a:prstGeom>
          <a:solidFill>
            <a:srgbClr val="FFDC00"/>
          </a:solidFill>
          <a:ln w="12700">
            <a:solidFill>
              <a:srgbClr val="FFDC00"/>
            </a:solidFill>
            <a:prstDash val="solid"/>
          </a:ln>
        </p:spPr>
        <p:txBody>
          <a:bodyPr/>
          <a:lstStyle/>
          <a:p>
            <a:endParaRPr lang="ru-RU" sz="2400" noProof="1"/>
          </a:p>
        </p:txBody>
      </p:sp>
      <p:sp>
        <p:nvSpPr>
          <p:cNvPr id="4" name="Text 2">
            <a:extLst>
              <a:ext uri="{FF2B5EF4-FFF2-40B4-BE49-F238E27FC236}">
                <a16:creationId xmlns:a16="http://schemas.microsoft.com/office/drawing/2014/main" id="{80076BF5-6CDA-A6E1-87B9-1D09A03247A5}"/>
              </a:ext>
            </a:extLst>
          </p:cNvPr>
          <p:cNvSpPr/>
          <p:nvPr/>
        </p:nvSpPr>
        <p:spPr>
          <a:xfrm>
            <a:off x="1099023" y="2397455"/>
            <a:ext cx="9144000" cy="146304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lvl="0">
              <a:defRPr/>
            </a:pPr>
            <a:r>
              <a:rPr lang="ru-RU" sz="3200" b="1" noProof="1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стойчивость работы</a:t>
            </a:r>
            <a:endParaRPr lang="ru-RU" sz="32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Shape 3">
            <a:extLst>
              <a:ext uri="{FF2B5EF4-FFF2-40B4-BE49-F238E27FC236}">
                <a16:creationId xmlns:a16="http://schemas.microsoft.com/office/drawing/2014/main" id="{6BCC5852-A1D1-885A-B4E8-AD9266547E57}"/>
              </a:ext>
            </a:extLst>
          </p:cNvPr>
          <p:cNvSpPr/>
          <p:nvPr/>
        </p:nvSpPr>
        <p:spPr>
          <a:xfrm>
            <a:off x="1099023" y="3818273"/>
            <a:ext cx="3413760" cy="512064"/>
          </a:xfrm>
          <a:prstGeom prst="roundRect">
            <a:avLst>
              <a:gd name="adj" fmla="val 14286"/>
            </a:avLst>
          </a:prstGeom>
          <a:solidFill>
            <a:srgbClr val="FFDC00"/>
          </a:solidFill>
          <a:ln w="12700">
            <a:solidFill>
              <a:srgbClr val="FFDC00"/>
            </a:solidFill>
            <a:prstDash val="solid"/>
          </a:ln>
        </p:spPr>
        <p:txBody>
          <a:bodyPr/>
          <a:lstStyle/>
          <a:p>
            <a:endParaRPr lang="ru-RU" sz="2400" noProof="1"/>
          </a:p>
        </p:txBody>
      </p:sp>
      <p:sp>
        <p:nvSpPr>
          <p:cNvPr id="6" name="Text 4">
            <a:extLst>
              <a:ext uri="{FF2B5EF4-FFF2-40B4-BE49-F238E27FC236}">
                <a16:creationId xmlns:a16="http://schemas.microsoft.com/office/drawing/2014/main" id="{477BCE16-5A25-D2DA-7776-7F39455B42E8}"/>
              </a:ext>
            </a:extLst>
          </p:cNvPr>
          <p:cNvSpPr/>
          <p:nvPr/>
        </p:nvSpPr>
        <p:spPr>
          <a:xfrm>
            <a:off x="1099023" y="3818273"/>
            <a:ext cx="3255264" cy="512064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lvl="0" algn="ctr">
              <a:defRPr/>
            </a:pPr>
            <a:r>
              <a:rPr lang="ru-RU" sz="1867" b="1" noProof="1">
                <a:solidFill>
                  <a:schemeClr val="accent2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14:00 – 15:20  ·  80 минут</a:t>
            </a:r>
            <a:endParaRPr lang="ru-RU" sz="1867" b="1" noProof="1">
              <a:solidFill>
                <a:schemeClr val="accent2"/>
              </a:solidFill>
              <a:latin typeface="Calibri" panose="020F0502020204030204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BEEE9D8C-F5F4-A4C0-A2E4-F91B56F127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99023" y="1796321"/>
            <a:ext cx="10944225" cy="1080120"/>
          </a:xfrm>
        </p:spPr>
        <p:txBody>
          <a:bodyPr/>
          <a:lstStyle/>
          <a:p>
            <a:r>
              <a:rPr lang="ru-RU" sz="3200" noProof="1">
                <a:solidFill>
                  <a:schemeClr val="accent4"/>
                </a:solidFill>
                <a:latin typeface="Arial" panose="020B0604020202020204" pitchFamily="34" charset="0"/>
                <a:ea typeface="Georgia" pitchFamily="34" charset="-122"/>
              </a:rPr>
              <a:t>Сессия 11</a:t>
            </a:r>
            <a:endParaRPr lang="ru-RU" noProof="1">
              <a:solidFill>
                <a:schemeClr val="accent4"/>
              </a:solidFill>
              <a:latin typeface="Arial" panose="020B0604020202020204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C8E2C965-1CA8-FA03-7C17-46AE029AD328}"/>
              </a:ext>
            </a:extLst>
          </p:cNvPr>
          <p:cNvSpPr txBox="1"/>
          <p:nvPr/>
        </p:nvSpPr>
        <p:spPr>
          <a:xfrm>
            <a:off x="940528" y="4333414"/>
            <a:ext cx="427555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ru-RU" sz="1400" i="1" noProof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2480728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8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6FE6EB13-D89C-4D0A-57E5-AB6A252EA1C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noProof="1"/>
              <a:t>Цель и результаты обучения</a:t>
            </a:r>
          </a:p>
        </p:txBody>
      </p:sp>
      <p:sp>
        <p:nvSpPr>
          <p:cNvPr id="4" name="Shape 2">
            <a:extLst>
              <a:ext uri="{FF2B5EF4-FFF2-40B4-BE49-F238E27FC236}">
                <a16:creationId xmlns:a16="http://schemas.microsoft.com/office/drawing/2014/main" id="{66908BB0-A953-613E-DE25-31098C04EC2D}"/>
              </a:ext>
            </a:extLst>
          </p:cNvPr>
          <p:cNvSpPr/>
          <p:nvPr/>
        </p:nvSpPr>
        <p:spPr>
          <a:xfrm>
            <a:off x="635317" y="1379687"/>
            <a:ext cx="11216640" cy="1243584"/>
          </a:xfrm>
          <a:prstGeom prst="rect">
            <a:avLst/>
          </a:prstGeom>
          <a:solidFill>
            <a:srgbClr val="D6F0F3"/>
          </a:solidFill>
          <a:ln w="7620">
            <a:solidFill>
              <a:srgbClr val="B2D8DE"/>
            </a:solidFill>
            <a:prstDash val="solid"/>
          </a:ln>
        </p:spPr>
        <p:txBody>
          <a:bodyPr/>
          <a:lstStyle/>
          <a:p>
            <a:pPr defTabSz="1219170">
              <a:defRPr/>
            </a:pPr>
            <a:endParaRPr lang="ru-RU" sz="24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Text 3">
            <a:extLst>
              <a:ext uri="{FF2B5EF4-FFF2-40B4-BE49-F238E27FC236}">
                <a16:creationId xmlns:a16="http://schemas.microsoft.com/office/drawing/2014/main" id="{B671F192-CF65-A967-25BA-FA369E9EBE9B}"/>
              </a:ext>
            </a:extLst>
          </p:cNvPr>
          <p:cNvSpPr/>
          <p:nvPr/>
        </p:nvSpPr>
        <p:spPr>
          <a:xfrm>
            <a:off x="879157" y="1501607"/>
            <a:ext cx="10972800" cy="36576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467" b="1" kern="0" spc="267" noProof="1">
                <a:solidFill>
                  <a:srgbClr val="027A87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ЦЕЛЬ</a:t>
            </a:r>
            <a:endParaRPr lang="ru-RU" sz="1467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Text 4">
            <a:extLst>
              <a:ext uri="{FF2B5EF4-FFF2-40B4-BE49-F238E27FC236}">
                <a16:creationId xmlns:a16="http://schemas.microsoft.com/office/drawing/2014/main" id="{0BF60946-3B65-33AC-DF88-176B4CFD210C}"/>
              </a:ext>
            </a:extLst>
          </p:cNvPr>
          <p:cNvSpPr/>
          <p:nvPr/>
        </p:nvSpPr>
        <p:spPr>
          <a:xfrm>
            <a:off x="879157" y="1867367"/>
            <a:ext cx="10972800" cy="1341120"/>
          </a:xfrm>
          <a:prstGeom prst="rect">
            <a:avLst/>
          </a:prstGeom>
          <a:noFill/>
          <a:ln/>
        </p:spPr>
        <p:txBody>
          <a:bodyPr wrap="square" rtlCol="0" anchor="t"/>
          <a:lstStyle/>
          <a:p>
            <a:pPr defTabSz="1219170"/>
            <a:r>
              <a:rPr lang="ru-RU" noProof="1">
                <a:solidFill>
                  <a:srgbClr val="16303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йти сегодня с общим планом для вашей страны и личным обязательством, которое вы выполните по возвращении домой.</a:t>
            </a:r>
          </a:p>
        </p:txBody>
      </p:sp>
      <p:sp>
        <p:nvSpPr>
          <p:cNvPr id="7" name="Text 5">
            <a:extLst>
              <a:ext uri="{FF2B5EF4-FFF2-40B4-BE49-F238E27FC236}">
                <a16:creationId xmlns:a16="http://schemas.microsoft.com/office/drawing/2014/main" id="{347ECFFA-7FAD-241D-7EBF-C13AC0E2E21A}"/>
              </a:ext>
            </a:extLst>
          </p:cNvPr>
          <p:cNvSpPr/>
          <p:nvPr/>
        </p:nvSpPr>
        <p:spPr>
          <a:xfrm>
            <a:off x="635317" y="2887065"/>
            <a:ext cx="11460480" cy="36576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467" b="1" kern="0" spc="267" noProof="1">
                <a:solidFill>
                  <a:schemeClr val="bg1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К КОНЦУ ЭТОЙ СЕССИИ ВЫ СМОЖЕТЕ:</a:t>
            </a:r>
            <a:endParaRPr lang="ru-RU" sz="1467" noProof="1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Shape 6">
            <a:extLst>
              <a:ext uri="{FF2B5EF4-FFF2-40B4-BE49-F238E27FC236}">
                <a16:creationId xmlns:a16="http://schemas.microsoft.com/office/drawing/2014/main" id="{388A73E1-E565-C8F1-10F2-15C9D972133A}"/>
              </a:ext>
            </a:extLst>
          </p:cNvPr>
          <p:cNvSpPr/>
          <p:nvPr/>
        </p:nvSpPr>
        <p:spPr>
          <a:xfrm>
            <a:off x="757237" y="3472281"/>
            <a:ext cx="487680" cy="487680"/>
          </a:xfrm>
          <a:prstGeom prst="ellipse">
            <a:avLst/>
          </a:prstGeom>
          <a:solidFill>
            <a:srgbClr val="E8940A"/>
          </a:solidFill>
          <a:ln w="12700">
            <a:solidFill>
              <a:srgbClr val="E8940A"/>
            </a:solidFill>
            <a:prstDash val="solid"/>
          </a:ln>
        </p:spPr>
        <p:txBody>
          <a:bodyPr/>
          <a:lstStyle/>
          <a:p>
            <a:pPr defTabSz="1219170">
              <a:defRPr/>
            </a:pPr>
            <a:endParaRPr lang="ru-RU" sz="2400" noProof="1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Text 7">
            <a:extLst>
              <a:ext uri="{FF2B5EF4-FFF2-40B4-BE49-F238E27FC236}">
                <a16:creationId xmlns:a16="http://schemas.microsoft.com/office/drawing/2014/main" id="{445DFABD-4753-932D-ED1C-E0DAB4CB24B8}"/>
              </a:ext>
            </a:extLst>
          </p:cNvPr>
          <p:cNvSpPr/>
          <p:nvPr/>
        </p:nvSpPr>
        <p:spPr>
          <a:xfrm>
            <a:off x="757237" y="3472281"/>
            <a:ext cx="487680" cy="48768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algn="ctr" defTabSz="1219170">
              <a:defRPr/>
            </a:pPr>
            <a:r>
              <a:rPr lang="ru-RU" sz="1867" b="1" noProof="1">
                <a:solidFill>
                  <a:schemeClr val="bg1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1</a:t>
            </a:r>
            <a:endParaRPr lang="ru-RU" sz="1867" noProof="1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Text 8">
            <a:extLst>
              <a:ext uri="{FF2B5EF4-FFF2-40B4-BE49-F238E27FC236}">
                <a16:creationId xmlns:a16="http://schemas.microsoft.com/office/drawing/2014/main" id="{CE8B15B2-B024-981A-1D75-4E16329F8329}"/>
              </a:ext>
            </a:extLst>
          </p:cNvPr>
          <p:cNvSpPr/>
          <p:nvPr/>
        </p:nvSpPr>
        <p:spPr>
          <a:xfrm>
            <a:off x="1427797" y="3374745"/>
            <a:ext cx="10424160" cy="67056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/>
            <a:r>
              <a:rPr lang="ru-RU" noProof="1">
                <a:solidFill>
                  <a:schemeClr val="bg1"/>
                </a:solidFill>
                <a:latin typeface="Calibri" pitchFamily="34" charset="0"/>
              </a:rPr>
              <a:t>Назвать людей, с которыми необходимо взаимодействовать — лиц принимающих решения, союзников и скептиков</a:t>
            </a:r>
          </a:p>
        </p:txBody>
      </p:sp>
      <p:sp>
        <p:nvSpPr>
          <p:cNvPr id="11" name="Shape 9">
            <a:extLst>
              <a:ext uri="{FF2B5EF4-FFF2-40B4-BE49-F238E27FC236}">
                <a16:creationId xmlns:a16="http://schemas.microsoft.com/office/drawing/2014/main" id="{21413E96-F83A-8B81-967B-FB72AB6BE353}"/>
              </a:ext>
            </a:extLst>
          </p:cNvPr>
          <p:cNvSpPr/>
          <p:nvPr/>
        </p:nvSpPr>
        <p:spPr>
          <a:xfrm>
            <a:off x="757237" y="4203801"/>
            <a:ext cx="487680" cy="487680"/>
          </a:xfrm>
          <a:prstGeom prst="ellipse">
            <a:avLst/>
          </a:prstGeom>
          <a:solidFill>
            <a:srgbClr val="E8940A"/>
          </a:solidFill>
          <a:ln w="12700">
            <a:solidFill>
              <a:srgbClr val="E8940A"/>
            </a:solidFill>
            <a:prstDash val="solid"/>
          </a:ln>
        </p:spPr>
        <p:txBody>
          <a:bodyPr/>
          <a:lstStyle/>
          <a:p>
            <a:pPr defTabSz="1219170">
              <a:defRPr/>
            </a:pPr>
            <a:endParaRPr lang="ru-RU" sz="2400" noProof="1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Text 10">
            <a:extLst>
              <a:ext uri="{FF2B5EF4-FFF2-40B4-BE49-F238E27FC236}">
                <a16:creationId xmlns:a16="http://schemas.microsoft.com/office/drawing/2014/main" id="{ABD59956-FB5C-6177-57FE-019DAD407D81}"/>
              </a:ext>
            </a:extLst>
          </p:cNvPr>
          <p:cNvSpPr/>
          <p:nvPr/>
        </p:nvSpPr>
        <p:spPr>
          <a:xfrm>
            <a:off x="757237" y="4203801"/>
            <a:ext cx="487680" cy="48768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algn="ctr" defTabSz="1219170">
              <a:defRPr/>
            </a:pPr>
            <a:r>
              <a:rPr lang="ru-RU" sz="1867" b="1" noProof="1">
                <a:solidFill>
                  <a:schemeClr val="bg1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2</a:t>
            </a:r>
            <a:endParaRPr lang="ru-RU" sz="1867" noProof="1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Text 11">
            <a:extLst>
              <a:ext uri="{FF2B5EF4-FFF2-40B4-BE49-F238E27FC236}">
                <a16:creationId xmlns:a16="http://schemas.microsoft.com/office/drawing/2014/main" id="{6C894B5A-4195-9E27-A3BE-BAC1024410BB}"/>
              </a:ext>
            </a:extLst>
          </p:cNvPr>
          <p:cNvSpPr/>
          <p:nvPr/>
        </p:nvSpPr>
        <p:spPr>
          <a:xfrm>
            <a:off x="1427797" y="4106265"/>
            <a:ext cx="10668000" cy="67056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/>
            <a:r>
              <a:rPr lang="ru-RU" noProof="1">
                <a:solidFill>
                  <a:schemeClr val="bg1"/>
                </a:solidFill>
                <a:latin typeface="Calibri" pitchFamily="34" charset="0"/>
              </a:rPr>
              <a:t>Договориться как группа о конкретных действиях на этой неделе, в этом месяце и через 90 дней</a:t>
            </a:r>
          </a:p>
        </p:txBody>
      </p:sp>
      <p:sp>
        <p:nvSpPr>
          <p:cNvPr id="14" name="Shape 12">
            <a:extLst>
              <a:ext uri="{FF2B5EF4-FFF2-40B4-BE49-F238E27FC236}">
                <a16:creationId xmlns:a16="http://schemas.microsoft.com/office/drawing/2014/main" id="{83E2328E-BE63-412E-998E-49DBF6BF1FC6}"/>
              </a:ext>
            </a:extLst>
          </p:cNvPr>
          <p:cNvSpPr/>
          <p:nvPr/>
        </p:nvSpPr>
        <p:spPr>
          <a:xfrm>
            <a:off x="757237" y="4935321"/>
            <a:ext cx="487680" cy="487680"/>
          </a:xfrm>
          <a:prstGeom prst="ellipse">
            <a:avLst/>
          </a:prstGeom>
          <a:solidFill>
            <a:srgbClr val="E8940A"/>
          </a:solidFill>
          <a:ln w="12700">
            <a:solidFill>
              <a:srgbClr val="E8940A"/>
            </a:solidFill>
            <a:prstDash val="solid"/>
          </a:ln>
        </p:spPr>
        <p:txBody>
          <a:bodyPr/>
          <a:lstStyle/>
          <a:p>
            <a:pPr defTabSz="1219170">
              <a:defRPr/>
            </a:pPr>
            <a:endParaRPr lang="ru-RU" sz="2400" noProof="1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Text 13">
            <a:extLst>
              <a:ext uri="{FF2B5EF4-FFF2-40B4-BE49-F238E27FC236}">
                <a16:creationId xmlns:a16="http://schemas.microsoft.com/office/drawing/2014/main" id="{3E6E27EA-5449-A834-4FBD-C046F2409D05}"/>
              </a:ext>
            </a:extLst>
          </p:cNvPr>
          <p:cNvSpPr/>
          <p:nvPr/>
        </p:nvSpPr>
        <p:spPr>
          <a:xfrm>
            <a:off x="757237" y="4935321"/>
            <a:ext cx="487680" cy="48768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algn="ctr" defTabSz="1219170">
              <a:defRPr/>
            </a:pPr>
            <a:r>
              <a:rPr lang="ru-RU" sz="1867" b="1" noProof="1">
                <a:solidFill>
                  <a:schemeClr val="bg1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3</a:t>
            </a:r>
            <a:endParaRPr lang="ru-RU" sz="1867" noProof="1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Text 14">
            <a:extLst>
              <a:ext uri="{FF2B5EF4-FFF2-40B4-BE49-F238E27FC236}">
                <a16:creationId xmlns:a16="http://schemas.microsoft.com/office/drawing/2014/main" id="{5B6A526C-4FAA-6797-4228-1FC49A947708}"/>
              </a:ext>
            </a:extLst>
          </p:cNvPr>
          <p:cNvSpPr/>
          <p:nvPr/>
        </p:nvSpPr>
        <p:spPr>
          <a:xfrm>
            <a:off x="1427797" y="4837785"/>
            <a:ext cx="10668000" cy="67056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/>
            <a:r>
              <a:rPr lang="ru-RU" noProof="1">
                <a:solidFill>
                  <a:schemeClr val="bg1"/>
                </a:solidFill>
                <a:latin typeface="Calibri" pitchFamily="34" charset="0"/>
              </a:rPr>
              <a:t>Записать личное обязательство, которое вы возьмёте домой и вернётесь к нему через 90 дней</a:t>
            </a:r>
          </a:p>
        </p:txBody>
      </p:sp>
    </p:spTree>
    <p:extLst>
      <p:ext uri="{BB962C8B-B14F-4D97-AF65-F5344CB8AC3E}">
        <p14:creationId xmlns:p14="http://schemas.microsoft.com/office/powerpoint/2010/main" val="41325170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8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xt10">
            <a:extLst>
              <a:ext uri="{FF2B5EF4-FFF2-40B4-BE49-F238E27FC236}">
                <a16:creationId xmlns:a16="http://schemas.microsoft.com/office/drawing/2014/main" id="{AFE0B193-01F6-2B68-8890-F25D9A479C16}"/>
              </a:ext>
            </a:extLst>
          </p:cNvPr>
          <p:cNvSpPr/>
          <p:nvPr/>
        </p:nvSpPr>
        <p:spPr>
          <a:xfrm>
            <a:off x="635317" y="1802166"/>
            <a:ext cx="11460480" cy="36000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/>
            <a:r>
              <a:rPr lang="ru-RU" sz="1467" b="1" noProof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ПРАЖНЕНИЕ 1  ·  КТО ДОЛЖЕН ЗНАТЬ?  </a:t>
            </a:r>
          </a:p>
        </p:txBody>
      </p:sp>
      <p:sp>
        <p:nvSpPr>
          <p:cNvPr id="5" name="NumCircle1">
            <a:extLst>
              <a:ext uri="{FF2B5EF4-FFF2-40B4-BE49-F238E27FC236}">
                <a16:creationId xmlns:a16="http://schemas.microsoft.com/office/drawing/2014/main" id="{89F50580-6687-1491-A9A0-3C684AF8A33E}"/>
              </a:ext>
            </a:extLst>
          </p:cNvPr>
          <p:cNvSpPr/>
          <p:nvPr/>
        </p:nvSpPr>
        <p:spPr>
          <a:xfrm>
            <a:off x="757237" y="2255499"/>
            <a:ext cx="487680" cy="487680"/>
          </a:xfrm>
          <a:prstGeom prst="ellipse">
            <a:avLst/>
          </a:prstGeom>
          <a:solidFill>
            <a:srgbClr val="027A87"/>
          </a:solidFill>
          <a:ln w="12700">
            <a:solidFill>
              <a:srgbClr val="027A87"/>
            </a:solidFill>
            <a:prstDash val="solid"/>
          </a:ln>
        </p:spPr>
        <p:txBody>
          <a:bodyPr wrap="square" rtlCol="0" anchor="ctr"/>
          <a:lstStyle/>
          <a:p>
            <a:pPr algn="ctr" defTabSz="1219170"/>
            <a:r>
              <a:rPr lang="ru-RU" sz="1867" b="1" noProof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</a:p>
        </p:txBody>
      </p:sp>
      <p:sp>
        <p:nvSpPr>
          <p:cNvPr id="6" name="Txt12">
            <a:extLst>
              <a:ext uri="{FF2B5EF4-FFF2-40B4-BE49-F238E27FC236}">
                <a16:creationId xmlns:a16="http://schemas.microsoft.com/office/drawing/2014/main" id="{FC6C77AC-A04F-7316-D4BB-C319680B147C}"/>
              </a:ext>
            </a:extLst>
          </p:cNvPr>
          <p:cNvSpPr/>
          <p:nvPr/>
        </p:nvSpPr>
        <p:spPr>
          <a:xfrm>
            <a:off x="1427797" y="2202166"/>
            <a:ext cx="10626667" cy="506667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/>
            <a:r>
              <a:rPr lang="ru-RU" sz="1600" noProof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НДИВИДУАЛЬНО (5 мин)  —  Каждый записывает три имени: лицо принимающее решения, союзник, скептик.</a:t>
            </a:r>
          </a:p>
        </p:txBody>
      </p:sp>
      <p:sp>
        <p:nvSpPr>
          <p:cNvPr id="7" name="NumCircle2">
            <a:extLst>
              <a:ext uri="{FF2B5EF4-FFF2-40B4-BE49-F238E27FC236}">
                <a16:creationId xmlns:a16="http://schemas.microsoft.com/office/drawing/2014/main" id="{C0D9E150-31E7-2E3F-9E8F-6BD4EB741BEA}"/>
              </a:ext>
            </a:extLst>
          </p:cNvPr>
          <p:cNvSpPr/>
          <p:nvPr/>
        </p:nvSpPr>
        <p:spPr>
          <a:xfrm>
            <a:off x="757237" y="2855499"/>
            <a:ext cx="487680" cy="487680"/>
          </a:xfrm>
          <a:prstGeom prst="ellipse">
            <a:avLst/>
          </a:prstGeom>
          <a:solidFill>
            <a:srgbClr val="027A87"/>
          </a:solidFill>
          <a:ln w="12700">
            <a:solidFill>
              <a:srgbClr val="027A87"/>
            </a:solidFill>
            <a:prstDash val="solid"/>
          </a:ln>
        </p:spPr>
        <p:txBody>
          <a:bodyPr wrap="square" rtlCol="0" anchor="ctr"/>
          <a:lstStyle/>
          <a:p>
            <a:pPr algn="ctr" defTabSz="1219170"/>
            <a:r>
              <a:rPr lang="ru-RU" sz="1867" b="1" noProof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</a:p>
        </p:txBody>
      </p:sp>
      <p:sp>
        <p:nvSpPr>
          <p:cNvPr id="8" name="Txt14">
            <a:extLst>
              <a:ext uri="{FF2B5EF4-FFF2-40B4-BE49-F238E27FC236}">
                <a16:creationId xmlns:a16="http://schemas.microsoft.com/office/drawing/2014/main" id="{FBCF1268-4639-AC8D-6AAA-C0C74A22B878}"/>
              </a:ext>
            </a:extLst>
          </p:cNvPr>
          <p:cNvSpPr/>
          <p:nvPr/>
        </p:nvSpPr>
        <p:spPr>
          <a:xfrm>
            <a:off x="1427797" y="2802166"/>
            <a:ext cx="10626667" cy="506667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/>
            <a:r>
              <a:rPr lang="ru-RU" sz="1600" noProof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РУППА (20 мин)  —  Поделитесь своими списками. Найдите закономерности: Кто мешает? Кто помогает? Где ваш сильнейший союзник?</a:t>
            </a:r>
          </a:p>
        </p:txBody>
      </p:sp>
      <p:sp>
        <p:nvSpPr>
          <p:cNvPr id="9" name="Txt15">
            <a:extLst>
              <a:ext uri="{FF2B5EF4-FFF2-40B4-BE49-F238E27FC236}">
                <a16:creationId xmlns:a16="http://schemas.microsoft.com/office/drawing/2014/main" id="{DCE8E4E9-AE11-1C0D-B48E-C9C30DA7211E}"/>
              </a:ext>
            </a:extLst>
          </p:cNvPr>
          <p:cNvSpPr/>
          <p:nvPr/>
        </p:nvSpPr>
        <p:spPr>
          <a:xfrm>
            <a:off x="635317" y="3455499"/>
            <a:ext cx="11460480" cy="8000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/>
            <a:endParaRPr lang="ru-RU" sz="2400" noProof="1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Txt20">
            <a:extLst>
              <a:ext uri="{FF2B5EF4-FFF2-40B4-BE49-F238E27FC236}">
                <a16:creationId xmlns:a16="http://schemas.microsoft.com/office/drawing/2014/main" id="{AE55B4D3-491F-C516-28B1-DEDF0E07A534}"/>
              </a:ext>
            </a:extLst>
          </p:cNvPr>
          <p:cNvSpPr/>
          <p:nvPr/>
        </p:nvSpPr>
        <p:spPr>
          <a:xfrm>
            <a:off x="635317" y="3562166"/>
            <a:ext cx="11460480" cy="36000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/>
            <a:r>
              <a:rPr lang="ru-RU" sz="1467" b="1" noProof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ПРАЖНЕНИЕ 2  ·  СПРИНТ НА 90 ДНЕЙ  ·  35 минут</a:t>
            </a:r>
          </a:p>
        </p:txBody>
      </p:sp>
      <p:sp>
        <p:nvSpPr>
          <p:cNvPr id="11" name="Txt21">
            <a:extLst>
              <a:ext uri="{FF2B5EF4-FFF2-40B4-BE49-F238E27FC236}">
                <a16:creationId xmlns:a16="http://schemas.microsoft.com/office/drawing/2014/main" id="{8C8AE36A-36E5-64D0-C4A3-5D025B7B7501}"/>
              </a:ext>
            </a:extLst>
          </p:cNvPr>
          <p:cNvSpPr/>
          <p:nvPr/>
        </p:nvSpPr>
        <p:spPr>
          <a:xfrm>
            <a:off x="635317" y="3988833"/>
            <a:ext cx="11460480" cy="453333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/>
            <a:r>
              <a:rPr lang="ru-RU" sz="1600" b="1" noProof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Флипчарт группы. Три столбца: НА ЭТОЙ НЕДЕЛЕ  |  В ЭТОМ МЕСЯЦЕ  |  ЧЕРЕЗ 90 ДНЕЙ</a:t>
            </a:r>
          </a:p>
        </p:txBody>
      </p:sp>
      <p:sp>
        <p:nvSpPr>
          <p:cNvPr id="12" name="Txt22">
            <a:extLst>
              <a:ext uri="{FF2B5EF4-FFF2-40B4-BE49-F238E27FC236}">
                <a16:creationId xmlns:a16="http://schemas.microsoft.com/office/drawing/2014/main" id="{CF5AAD7D-3499-A752-4E85-7F2F34C1A2E8}"/>
              </a:ext>
            </a:extLst>
          </p:cNvPr>
          <p:cNvSpPr/>
          <p:nvPr/>
        </p:nvSpPr>
        <p:spPr>
          <a:xfrm>
            <a:off x="635317" y="4522166"/>
            <a:ext cx="11460480" cy="453333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/>
            <a:r>
              <a:rPr lang="ru-RU" sz="1600" noProof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аждое действие должно указывать ответственного и быть достаточно конкретным, чтобы посторонний человек мог проверить его выполнение.</a:t>
            </a:r>
          </a:p>
        </p:txBody>
      </p:sp>
      <p:sp>
        <p:nvSpPr>
          <p:cNvPr id="13" name="Txt23">
            <a:extLst>
              <a:ext uri="{FF2B5EF4-FFF2-40B4-BE49-F238E27FC236}">
                <a16:creationId xmlns:a16="http://schemas.microsoft.com/office/drawing/2014/main" id="{C924BC4A-5A89-A65D-240C-C3D18454863E}"/>
              </a:ext>
            </a:extLst>
          </p:cNvPr>
          <p:cNvSpPr/>
          <p:nvPr/>
        </p:nvSpPr>
        <p:spPr>
          <a:xfrm>
            <a:off x="635317" y="5028833"/>
            <a:ext cx="11460480" cy="373333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/>
            <a:r>
              <a:rPr lang="ru-RU" sz="1600" i="1" noProof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спользуйте свои списки из Задания 1 — люди, которых вы назвали, должны появиться в этом плане. </a:t>
            </a:r>
          </a:p>
        </p:txBody>
      </p:sp>
      <p:sp>
        <p:nvSpPr>
          <p:cNvPr id="14" name="Rectangle 1">
            <a:extLst>
              <a:ext uri="{FF2B5EF4-FFF2-40B4-BE49-F238E27FC236}">
                <a16:creationId xmlns:a16="http://schemas.microsoft.com/office/drawing/2014/main" id="{653332E7-10AB-4978-F55E-74C893070952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635318" y="454673"/>
            <a:ext cx="10368480" cy="10156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i="0" u="none" strike="noStrike" cap="none" normalizeH="0" baseline="0" noProof="1">
                <a:ln>
                  <a:noFill/>
                </a:ln>
                <a:effectLst/>
                <a:latin typeface="Arial" panose="020B0604020202020204" pitchFamily="34" charset="0"/>
              </a:rPr>
              <a:t>Два упражнения. Работаете вместе. Упражнение 1 - основа для Упражнения 2.</a:t>
            </a:r>
          </a:p>
        </p:txBody>
      </p:sp>
    </p:spTree>
    <p:extLst>
      <p:ext uri="{BB962C8B-B14F-4D97-AF65-F5344CB8AC3E}">
        <p14:creationId xmlns:p14="http://schemas.microsoft.com/office/powerpoint/2010/main" val="92695369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8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07ACEC6-E782-5619-4393-B75973E14EA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C66B4742-1903-580D-8AEE-99FAAD51699C}"/>
              </a:ext>
            </a:extLst>
          </p:cNvPr>
          <p:cNvSpPr/>
          <p:nvPr/>
        </p:nvSpPr>
        <p:spPr>
          <a:xfrm>
            <a:off x="552450" y="219075"/>
            <a:ext cx="1943100" cy="12287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noProof="1"/>
          </a:p>
        </p:txBody>
      </p:sp>
      <p:pic>
        <p:nvPicPr>
          <p:cNvPr id="10" name="Picture 9" descr="A blue flag with yellow stars&#10;&#10;AI-generated content may be incorrect.">
            <a:extLst>
              <a:ext uri="{FF2B5EF4-FFF2-40B4-BE49-F238E27FC236}">
                <a16:creationId xmlns:a16="http://schemas.microsoft.com/office/drawing/2014/main" id="{CCD0DF77-A106-1298-7D97-0C70AC0D7DE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67" r="-524" b="5181"/>
          <a:stretch>
            <a:fillRect/>
          </a:stretch>
        </p:blipFill>
        <p:spPr bwMode="auto">
          <a:xfrm>
            <a:off x="10242394" y="85444"/>
            <a:ext cx="1783073" cy="1715333"/>
          </a:xfrm>
          <a:prstGeom prst="rect">
            <a:avLst/>
          </a:prstGeom>
          <a:noFill/>
        </p:spPr>
      </p:pic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5F8BAA80-834F-01C8-0B44-FE723F09484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/>
        <p:txBody>
          <a:bodyPr/>
          <a:lstStyle/>
          <a:p>
            <a:endParaRPr lang="ru-RU" noProof="1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3D493DF8-FE57-76BC-EA93-AA95EED2047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ru-RU" noProof="1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474B34F2-7917-7240-FA77-5EC3CBDB3AA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ru-RU" noProof="1"/>
          </a:p>
        </p:txBody>
      </p:sp>
      <p:pic>
        <p:nvPicPr>
          <p:cNvPr id="12" name="Picture 11" descr="A blue text on a black background&#10;&#10;AI-generated content may be incorrect.">
            <a:extLst>
              <a:ext uri="{FF2B5EF4-FFF2-40B4-BE49-F238E27FC236}">
                <a16:creationId xmlns:a16="http://schemas.microsoft.com/office/drawing/2014/main" id="{8CC599A6-8CEC-8B63-CEFD-E74DAA2866F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5293" y="89083"/>
            <a:ext cx="2030830" cy="1224303"/>
          </a:xfrm>
          <a:prstGeom prst="rect">
            <a:avLst/>
          </a:prstGeom>
          <a:noFill/>
        </p:spPr>
      </p:pic>
      <p:pic>
        <p:nvPicPr>
          <p:cNvPr id="15" name="Picture 14" descr="A logo with stars and text&#10;&#10;AI-generated content may be incorrect.">
            <a:extLst>
              <a:ext uri="{FF2B5EF4-FFF2-40B4-BE49-F238E27FC236}">
                <a16:creationId xmlns:a16="http://schemas.microsoft.com/office/drawing/2014/main" id="{5AA59B71-040E-669F-B32C-19A0E61835A7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81196" y="5210046"/>
            <a:ext cx="2111127" cy="1713490"/>
          </a:xfrm>
          <a:prstGeom prst="rect">
            <a:avLst/>
          </a:prstGeom>
        </p:spPr>
      </p:pic>
      <p:sp>
        <p:nvSpPr>
          <p:cNvPr id="2" name="TextBox 2">
            <a:extLst>
              <a:ext uri="{FF2B5EF4-FFF2-40B4-BE49-F238E27FC236}">
                <a16:creationId xmlns:a16="http://schemas.microsoft.com/office/drawing/2014/main" id="{B9853279-394B-D306-264E-7BB99B424F01}"/>
              </a:ext>
            </a:extLst>
          </p:cNvPr>
          <p:cNvSpPr txBox="1"/>
          <p:nvPr/>
        </p:nvSpPr>
        <p:spPr>
          <a:xfrm>
            <a:off x="176045" y="2020180"/>
            <a:ext cx="7361854" cy="3427861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>
            <a:defPPr>
              <a:defRPr lang="en-GB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ru-RU" sz="3600" b="1" kern="100" noProof="1">
                <a:solidFill>
                  <a:schemeClr val="tx1">
                    <a:lumMod val="65000"/>
                    <a:lumOff val="35000"/>
                  </a:schemeClr>
                </a:solidFill>
                <a:ea typeface="+mn-lt"/>
                <a:cs typeface="+mn-lt"/>
              </a:rPr>
              <a:t>Перерыв на кофе</a:t>
            </a:r>
            <a:endParaRPr lang="ru-RU" sz="3600" b="1" noProof="1">
              <a:solidFill>
                <a:schemeClr val="tx1">
                  <a:lumMod val="65000"/>
                  <a:lumOff val="35000"/>
                </a:schemeClr>
              </a:solidFill>
              <a:cs typeface="Arial"/>
            </a:endParaRPr>
          </a:p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ru-RU" sz="3600" b="1" kern="100" noProof="1">
                <a:solidFill>
                  <a:schemeClr val="tx1">
                    <a:lumMod val="65000"/>
                    <a:lumOff val="35000"/>
                  </a:schemeClr>
                </a:solidFill>
                <a:cs typeface="Arial"/>
              </a:rPr>
              <a:t>15:</a:t>
            </a:r>
            <a:r>
              <a:rPr lang="en-US" sz="3600" b="1" kern="100" noProof="1">
                <a:solidFill>
                  <a:schemeClr val="tx1">
                    <a:lumMod val="65000"/>
                    <a:lumOff val="35000"/>
                  </a:schemeClr>
                </a:solidFill>
                <a:cs typeface="Arial"/>
              </a:rPr>
              <a:t>3</a:t>
            </a:r>
            <a:r>
              <a:rPr lang="ru-RU" sz="3600" b="1" kern="100" noProof="1">
                <a:solidFill>
                  <a:schemeClr val="tx1">
                    <a:lumMod val="65000"/>
                    <a:lumOff val="35000"/>
                  </a:schemeClr>
                </a:solidFill>
                <a:cs typeface="Arial"/>
              </a:rPr>
              <a:t>0 – 15:</a:t>
            </a:r>
            <a:r>
              <a:rPr lang="en-US" sz="3600" b="1" kern="100" noProof="1">
                <a:solidFill>
                  <a:schemeClr val="tx1">
                    <a:lumMod val="65000"/>
                    <a:lumOff val="35000"/>
                  </a:schemeClr>
                </a:solidFill>
                <a:cs typeface="Arial"/>
              </a:rPr>
              <a:t>5</a:t>
            </a:r>
            <a:r>
              <a:rPr lang="ru-RU" sz="3600" b="1" kern="100" noProof="1">
                <a:solidFill>
                  <a:schemeClr val="tx1">
                    <a:lumMod val="65000"/>
                    <a:lumOff val="35000"/>
                  </a:schemeClr>
                </a:solidFill>
                <a:cs typeface="Arial"/>
              </a:rPr>
              <a:t>5</a:t>
            </a:r>
          </a:p>
          <a:p>
            <a:pPr algn="ctr">
              <a:lnSpc>
                <a:spcPct val="107000"/>
              </a:lnSpc>
              <a:spcAft>
                <a:spcPts val="800"/>
              </a:spcAft>
            </a:pPr>
            <a:endParaRPr lang="ru-RU" sz="3600" b="1" kern="100" noProof="1">
              <a:solidFill>
                <a:schemeClr val="tx1">
                  <a:lumMod val="65000"/>
                  <a:lumOff val="35000"/>
                </a:schemeClr>
              </a:solidFill>
              <a:cs typeface="Arial"/>
            </a:endParaRPr>
          </a:p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ru-RU" sz="3600" b="1" kern="100" noProof="1">
                <a:solidFill>
                  <a:schemeClr val="tx1">
                    <a:lumMod val="65000"/>
                    <a:lumOff val="35000"/>
                  </a:schemeClr>
                </a:solidFill>
                <a:cs typeface="Arial"/>
              </a:rPr>
              <a:t>Coffee break</a:t>
            </a:r>
          </a:p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ru-RU" sz="3600" b="1" kern="100" noProof="1">
                <a:solidFill>
                  <a:schemeClr val="tx1">
                    <a:lumMod val="65000"/>
                    <a:lumOff val="35000"/>
                  </a:schemeClr>
                </a:solidFill>
                <a:cs typeface="Arial"/>
              </a:rPr>
              <a:t>15:20 – 15:45</a:t>
            </a:r>
          </a:p>
        </p:txBody>
      </p:sp>
    </p:spTree>
    <p:extLst>
      <p:ext uri="{BB962C8B-B14F-4D97-AF65-F5344CB8AC3E}">
        <p14:creationId xmlns:p14="http://schemas.microsoft.com/office/powerpoint/2010/main" val="155890109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8B7DBBD1-537C-0A04-4625-B7E9E21CB1E0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DB84476-BC29-4407-9D57-B2E562B8968B}" type="slidenum">
              <a:rPr lang="ru-RU" noProof="1" smtClean="0"/>
              <a:pPr/>
              <a:t>19</a:t>
            </a:fld>
            <a:endParaRPr lang="ru-RU" noProof="1"/>
          </a:p>
        </p:txBody>
      </p:sp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F965C102-B609-B5F2-5FCE-6B68EB4291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51033945"/>
              </p:ext>
            </p:extLst>
          </p:nvPr>
        </p:nvGraphicFramePr>
        <p:xfrm>
          <a:off x="562997" y="307137"/>
          <a:ext cx="11066006" cy="6204734"/>
        </p:xfrm>
        <a:graphic>
          <a:graphicData uri="http://schemas.openxmlformats.org/drawingml/2006/table">
            <a:tbl>
              <a:tblPr>
                <a:tableStyleId>{D113A9D2-9D6B-4929-AA2D-F23B5EE8CBE7}</a:tableStyleId>
              </a:tblPr>
              <a:tblGrid>
                <a:gridCol w="9113842">
                  <a:extLst>
                    <a:ext uri="{9D8B030D-6E8A-4147-A177-3AD203B41FA5}">
                      <a16:colId xmlns:a16="http://schemas.microsoft.com/office/drawing/2014/main" val="2307094671"/>
                    </a:ext>
                  </a:extLst>
                </a:gridCol>
                <a:gridCol w="1952164">
                  <a:extLst>
                    <a:ext uri="{9D8B030D-6E8A-4147-A177-3AD203B41FA5}">
                      <a16:colId xmlns:a16="http://schemas.microsoft.com/office/drawing/2014/main" val="327918821"/>
                    </a:ext>
                  </a:extLst>
                </a:gridCol>
              </a:tblGrid>
              <a:tr h="388464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ru-RU" sz="2000" b="1" noProof="1"/>
                        <a:t>Примеры 8 утверждений и их связь с индикаторами качества</a:t>
                      </a:r>
                    </a:p>
                  </a:txBody>
                  <a:tcPr marL="43891" marR="43891" marT="21945" marB="21945"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ru-RU" sz="2000" b="1" noProof="1"/>
                        <a:t>Индикатор качества</a:t>
                      </a:r>
                    </a:p>
                  </a:txBody>
                  <a:tcPr marL="43891" marR="43891" marT="21945" marB="21945" anchor="ctr"/>
                </a:tc>
                <a:extLst>
                  <a:ext uri="{0D108BD9-81ED-4DB2-BD59-A6C34878D82A}">
                    <a16:rowId xmlns:a16="http://schemas.microsoft.com/office/drawing/2014/main" val="498993763"/>
                  </a:ext>
                </a:extLst>
              </a:tr>
              <a:tr h="554949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ru-RU" sz="1800" noProof="1"/>
                        <a:t>1. Один учебный день редко приводит к устойчивым изменениям в педагогической практике.</a:t>
                      </a:r>
                    </a:p>
                  </a:txBody>
                  <a:tcPr marL="43891" marR="43891" marT="21945" marB="21945"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ru-RU" sz="1800" noProof="1"/>
                        <a:t>ИК 2</a:t>
                      </a:r>
                    </a:p>
                  </a:txBody>
                  <a:tcPr marL="43891" marR="43891" marT="21945" marB="21945" anchor="ctr"/>
                </a:tc>
                <a:extLst>
                  <a:ext uri="{0D108BD9-81ED-4DB2-BD59-A6C34878D82A}">
                    <a16:rowId xmlns:a16="http://schemas.microsoft.com/office/drawing/2014/main" val="1144478640"/>
                  </a:ext>
                </a:extLst>
              </a:tr>
              <a:tr h="554949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ru-RU" sz="1800" noProof="1"/>
                        <a:t>2. Педагоги с большей вероятностью изменят практику, когда могут попробовать что-то в своём классе и осмыслить произошедшее.</a:t>
                      </a:r>
                    </a:p>
                  </a:txBody>
                  <a:tcPr marL="43891" marR="43891" marT="21945" marB="21945"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ru-RU" sz="1800" noProof="1"/>
                        <a:t>ИК 3</a:t>
                      </a:r>
                    </a:p>
                  </a:txBody>
                  <a:tcPr marL="43891" marR="43891" marT="21945" marB="21945" anchor="ctr"/>
                </a:tc>
                <a:extLst>
                  <a:ext uri="{0D108BD9-81ED-4DB2-BD59-A6C34878D82A}">
                    <a16:rowId xmlns:a16="http://schemas.microsoft.com/office/drawing/2014/main" val="3191716726"/>
                  </a:ext>
                </a:extLst>
              </a:tr>
              <a:tr h="721434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ru-RU" sz="1800" noProof="1"/>
                        <a:t>3. Взаимное наблюдение и профессиональный диалог оказывают более сильное воздействие на практику, чем обучение под руководством эксперта в одиночку.</a:t>
                      </a:r>
                    </a:p>
                  </a:txBody>
                  <a:tcPr marL="43891" marR="43891" marT="21945" marB="21945"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ru-RU" sz="1800" noProof="1"/>
                        <a:t>ИК 5</a:t>
                      </a:r>
                    </a:p>
                  </a:txBody>
                  <a:tcPr marL="43891" marR="43891" marT="21945" marB="21945" anchor="ctr"/>
                </a:tc>
                <a:extLst>
                  <a:ext uri="{0D108BD9-81ED-4DB2-BD59-A6C34878D82A}">
                    <a16:rowId xmlns:a16="http://schemas.microsoft.com/office/drawing/2014/main" val="353652820"/>
                  </a:ext>
                </a:extLst>
              </a:tr>
              <a:tr h="721434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ru-RU" sz="1800" noProof="1"/>
                        <a:t>4. Профессиональное развитие педагогов, не связанное с предметом учителя или группой обучающихся, как правило, имеет низкий эффект.</a:t>
                      </a:r>
                    </a:p>
                  </a:txBody>
                  <a:tcPr marL="43891" marR="43891" marT="21945" marB="21945"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ru-RU" sz="1800" noProof="1"/>
                        <a:t>ИК 1</a:t>
                      </a:r>
                    </a:p>
                  </a:txBody>
                  <a:tcPr marL="43891" marR="43891" marT="21945" marB="21945" anchor="ctr"/>
                </a:tc>
                <a:extLst>
                  <a:ext uri="{0D108BD9-81ED-4DB2-BD59-A6C34878D82A}">
                    <a16:rowId xmlns:a16="http://schemas.microsoft.com/office/drawing/2014/main" val="3873190746"/>
                  </a:ext>
                </a:extLst>
              </a:tr>
              <a:tr h="721434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ru-RU" sz="1800" noProof="1"/>
                        <a:t>5. Поддержка руководства — один из наиболее сильных предикторов того, приведёт ли профессиональное развитие педагогов к устойчивым изменениям.</a:t>
                      </a:r>
                    </a:p>
                  </a:txBody>
                  <a:tcPr marL="43891" marR="43891" marT="21945" marB="21945"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ru-RU" sz="1800" noProof="1"/>
                        <a:t>ИК 7</a:t>
                      </a:r>
                    </a:p>
                  </a:txBody>
                  <a:tcPr marL="43891" marR="43891" marT="21945" marB="21945" anchor="ctr"/>
                </a:tc>
                <a:extLst>
                  <a:ext uri="{0D108BD9-81ED-4DB2-BD59-A6C34878D82A}">
                    <a16:rowId xmlns:a16="http://schemas.microsoft.com/office/drawing/2014/main" val="1647654473"/>
                  </a:ext>
                </a:extLst>
              </a:tr>
              <a:tr h="554949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ru-RU" sz="1800" noProof="1"/>
                        <a:t>6. Наиболее эффективное профессиональное развитие педагогов происходит на протяжении месяцев, а не дней.</a:t>
                      </a:r>
                    </a:p>
                  </a:txBody>
                  <a:tcPr marL="43891" marR="43891" marT="21945" marB="21945"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ru-RU" sz="1800" noProof="1"/>
                        <a:t>ИК 2</a:t>
                      </a:r>
                    </a:p>
                  </a:txBody>
                  <a:tcPr marL="43891" marR="43891" marT="21945" marB="21945" anchor="ctr"/>
                </a:tc>
                <a:extLst>
                  <a:ext uri="{0D108BD9-81ED-4DB2-BD59-A6C34878D82A}">
                    <a16:rowId xmlns:a16="http://schemas.microsoft.com/office/drawing/2014/main" val="3701772374"/>
                  </a:ext>
                </a:extLst>
              </a:tr>
              <a:tr h="887918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ru-RU" sz="1800" noProof="1"/>
                        <a:t>7. Рефлексия, встроенная в процесс профессионального развития педагогов, обеспечивает более глубокое обучение, чем рефлексия, отданная на усмотрение отдельного педагога.</a:t>
                      </a:r>
                    </a:p>
                  </a:txBody>
                  <a:tcPr marL="43891" marR="43891" marT="21945" marB="21945"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ru-RU" sz="1800" noProof="1"/>
                        <a:t>ИК 8</a:t>
                      </a:r>
                    </a:p>
                  </a:txBody>
                  <a:tcPr marL="43891" marR="43891" marT="21945" marB="21945" anchor="ctr"/>
                </a:tc>
                <a:extLst>
                  <a:ext uri="{0D108BD9-81ED-4DB2-BD59-A6C34878D82A}">
                    <a16:rowId xmlns:a16="http://schemas.microsoft.com/office/drawing/2014/main" val="1760556459"/>
                  </a:ext>
                </a:extLst>
              </a:tr>
              <a:tr h="721434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ru-RU" sz="1800" noProof="1"/>
                        <a:t>8. Активное участие в профессиональном развитии педагогов — через обсуждение, отработку и решение проблем — эффективнее пассивного получения информации.</a:t>
                      </a:r>
                    </a:p>
                  </a:txBody>
                  <a:tcPr marL="43891" marR="43891" marT="21945" marB="21945"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ru-RU" sz="1800" noProof="1"/>
                        <a:t>ИК 4</a:t>
                      </a:r>
                    </a:p>
                  </a:txBody>
                  <a:tcPr marL="43891" marR="43891" marT="21945" marB="21945" anchor="ctr"/>
                </a:tc>
                <a:extLst>
                  <a:ext uri="{0D108BD9-81ED-4DB2-BD59-A6C34878D82A}">
                    <a16:rowId xmlns:a16="http://schemas.microsoft.com/office/drawing/2014/main" val="63775873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64902394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9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F0AE90E-E7C0-63E8-12EA-2BE9A4C0E9AD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DB84476-BC29-4407-9D57-B2E562B8968B}" type="slidenum">
              <a:rPr lang="ru-RU" sz="1800" noProof="1" smtClean="0"/>
              <a:pPr/>
              <a:t>190</a:t>
            </a:fld>
            <a:endParaRPr lang="ru-RU" sz="1800" noProof="1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35D01AF-8C19-2D70-487B-1C31BAA3CBF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3200" noProof="1">
                <a:latin typeface="Arial" panose="020B0604020202020204" pitchFamily="34" charset="0"/>
              </a:rPr>
              <a:t>ОБМЕН</a:t>
            </a:r>
            <a:endParaRPr lang="ru-RU" noProof="1"/>
          </a:p>
        </p:txBody>
      </p:sp>
      <p:sp>
        <p:nvSpPr>
          <p:cNvPr id="4" name="Txt5">
            <a:extLst>
              <a:ext uri="{FF2B5EF4-FFF2-40B4-BE49-F238E27FC236}">
                <a16:creationId xmlns:a16="http://schemas.microsoft.com/office/drawing/2014/main" id="{1B46986C-D57A-0E98-4540-77F426A9A802}"/>
              </a:ext>
            </a:extLst>
          </p:cNvPr>
          <p:cNvSpPr/>
          <p:nvPr/>
        </p:nvSpPr>
        <p:spPr>
          <a:xfrm>
            <a:off x="548642" y="1434181"/>
            <a:ext cx="11460480" cy="373333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/>
            <a:r>
              <a:rPr lang="ru-RU" b="1" noProof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алерея работ </a:t>
            </a:r>
          </a:p>
        </p:txBody>
      </p:sp>
      <p:sp>
        <p:nvSpPr>
          <p:cNvPr id="5" name="Txt6">
            <a:extLst>
              <a:ext uri="{FF2B5EF4-FFF2-40B4-BE49-F238E27FC236}">
                <a16:creationId xmlns:a16="http://schemas.microsoft.com/office/drawing/2014/main" id="{D06FB6E3-5B63-6279-B544-E055B5BCDD4E}"/>
              </a:ext>
            </a:extLst>
          </p:cNvPr>
          <p:cNvSpPr/>
          <p:nvPr/>
        </p:nvSpPr>
        <p:spPr>
          <a:xfrm>
            <a:off x="548642" y="2122245"/>
            <a:ext cx="11460480" cy="373333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/>
            <a:r>
              <a:rPr lang="ru-RU" noProof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азместите все флипчарты на стене. Обойдите и читайте в тишине (5 мин). </a:t>
            </a:r>
          </a:p>
          <a:p>
            <a:pPr defTabSz="1219170"/>
            <a:r>
              <a:rPr lang="ru-RU" noProof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аждая группа: 60 секунд на столбец НА ЭТОЙ НЕДЕЛЕ.</a:t>
            </a:r>
          </a:p>
        </p:txBody>
      </p:sp>
      <p:sp>
        <p:nvSpPr>
          <p:cNvPr id="6" name="BlueBg9">
            <a:extLst>
              <a:ext uri="{FF2B5EF4-FFF2-40B4-BE49-F238E27FC236}">
                <a16:creationId xmlns:a16="http://schemas.microsoft.com/office/drawing/2014/main" id="{F66DF0B3-09AA-4A0B-C667-2BBC56ABD507}"/>
              </a:ext>
            </a:extLst>
          </p:cNvPr>
          <p:cNvSpPr/>
          <p:nvPr/>
        </p:nvSpPr>
        <p:spPr>
          <a:xfrm>
            <a:off x="548642" y="2642245"/>
            <a:ext cx="11460480" cy="66667"/>
          </a:xfrm>
          <a:prstGeom prst="rect">
            <a:avLst/>
          </a:prstGeom>
          <a:solidFill>
            <a:srgbClr val="D6F0F3"/>
          </a:solidFill>
          <a:ln w="7620">
            <a:solidFill>
              <a:srgbClr val="B2D8DE"/>
            </a:solidFill>
            <a:prstDash val="solid"/>
          </a:ln>
        </p:spPr>
        <p:txBody>
          <a:bodyPr/>
          <a:lstStyle/>
          <a:p>
            <a:pPr defTabSz="1219170"/>
            <a:endParaRPr lang="ru-RU" noProof="1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Txt10">
            <a:extLst>
              <a:ext uri="{FF2B5EF4-FFF2-40B4-BE49-F238E27FC236}">
                <a16:creationId xmlns:a16="http://schemas.microsoft.com/office/drawing/2014/main" id="{93BF7021-1C9E-F71E-24CB-22462F8E2A35}"/>
              </a:ext>
            </a:extLst>
          </p:cNvPr>
          <p:cNvSpPr/>
          <p:nvPr/>
        </p:nvSpPr>
        <p:spPr>
          <a:xfrm>
            <a:off x="548642" y="2842245"/>
            <a:ext cx="11460480" cy="373333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/>
            <a:r>
              <a:rPr lang="ru-RU" b="1" noProof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ИСЬМО СЕБЕ  ·  Индивидуально, в тишине</a:t>
            </a:r>
          </a:p>
        </p:txBody>
      </p:sp>
      <p:sp>
        <p:nvSpPr>
          <p:cNvPr id="8" name="Txt11">
            <a:extLst>
              <a:ext uri="{FF2B5EF4-FFF2-40B4-BE49-F238E27FC236}">
                <a16:creationId xmlns:a16="http://schemas.microsoft.com/office/drawing/2014/main" id="{D32F983F-2C29-CC93-B633-84B0DD625706}"/>
              </a:ext>
            </a:extLst>
          </p:cNvPr>
          <p:cNvSpPr/>
          <p:nvPr/>
        </p:nvSpPr>
        <p:spPr>
          <a:xfrm>
            <a:off x="548642" y="3282245"/>
            <a:ext cx="11460480" cy="373333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/>
            <a:r>
              <a:rPr lang="ru-RU" i="1" noProof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Личное. Вы убираете его домой. Никто больше его не читает.</a:t>
            </a:r>
          </a:p>
        </p:txBody>
      </p:sp>
      <p:sp>
        <p:nvSpPr>
          <p:cNvPr id="9" name="NumCircle1">
            <a:extLst>
              <a:ext uri="{FF2B5EF4-FFF2-40B4-BE49-F238E27FC236}">
                <a16:creationId xmlns:a16="http://schemas.microsoft.com/office/drawing/2014/main" id="{34EC0535-8C26-E69A-7797-9C2520CCBF16}"/>
              </a:ext>
            </a:extLst>
          </p:cNvPr>
          <p:cNvSpPr/>
          <p:nvPr/>
        </p:nvSpPr>
        <p:spPr>
          <a:xfrm>
            <a:off x="670562" y="3788911"/>
            <a:ext cx="487680" cy="487680"/>
          </a:xfrm>
          <a:prstGeom prst="ellipse">
            <a:avLst/>
          </a:prstGeom>
          <a:solidFill>
            <a:srgbClr val="027A87"/>
          </a:solidFill>
          <a:ln w="12700">
            <a:solidFill>
              <a:srgbClr val="027A87"/>
            </a:solidFill>
            <a:prstDash val="solid"/>
          </a:ln>
        </p:spPr>
        <p:txBody>
          <a:bodyPr wrap="square" rtlCol="0" anchor="ctr"/>
          <a:lstStyle/>
          <a:p>
            <a:pPr algn="ctr" defTabSz="1219170"/>
            <a:r>
              <a:rPr lang="ru-RU" b="1" noProof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</a:p>
        </p:txBody>
      </p:sp>
      <p:sp>
        <p:nvSpPr>
          <p:cNvPr id="10" name="Txt13">
            <a:extLst>
              <a:ext uri="{FF2B5EF4-FFF2-40B4-BE49-F238E27FC236}">
                <a16:creationId xmlns:a16="http://schemas.microsoft.com/office/drawing/2014/main" id="{4C5D786B-5AB5-FF36-AB8B-B1C55B5668F1}"/>
              </a:ext>
            </a:extLst>
          </p:cNvPr>
          <p:cNvSpPr/>
          <p:nvPr/>
        </p:nvSpPr>
        <p:spPr>
          <a:xfrm>
            <a:off x="1341122" y="3735578"/>
            <a:ext cx="10626667" cy="506667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/>
            <a:r>
              <a:rPr lang="ru-RU" b="1" noProof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Это то, что я обещал сделать.</a:t>
            </a:r>
          </a:p>
        </p:txBody>
      </p:sp>
      <p:sp>
        <p:nvSpPr>
          <p:cNvPr id="11" name="NumCircle2">
            <a:extLst>
              <a:ext uri="{FF2B5EF4-FFF2-40B4-BE49-F238E27FC236}">
                <a16:creationId xmlns:a16="http://schemas.microsoft.com/office/drawing/2014/main" id="{A98A8CA0-9413-7172-80B6-F00C5385E6AE}"/>
              </a:ext>
            </a:extLst>
          </p:cNvPr>
          <p:cNvSpPr/>
          <p:nvPr/>
        </p:nvSpPr>
        <p:spPr>
          <a:xfrm>
            <a:off x="670562" y="4442245"/>
            <a:ext cx="487680" cy="487680"/>
          </a:xfrm>
          <a:prstGeom prst="ellipse">
            <a:avLst/>
          </a:prstGeom>
          <a:solidFill>
            <a:srgbClr val="027A87"/>
          </a:solidFill>
          <a:ln w="12700">
            <a:solidFill>
              <a:srgbClr val="027A87"/>
            </a:solidFill>
            <a:prstDash val="solid"/>
          </a:ln>
        </p:spPr>
        <p:txBody>
          <a:bodyPr wrap="square" rtlCol="0" anchor="ctr"/>
          <a:lstStyle/>
          <a:p>
            <a:pPr algn="ctr" defTabSz="1219170"/>
            <a:r>
              <a:rPr lang="ru-RU" b="1" noProof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</a:p>
        </p:txBody>
      </p:sp>
      <p:sp>
        <p:nvSpPr>
          <p:cNvPr id="12" name="Txt15">
            <a:extLst>
              <a:ext uri="{FF2B5EF4-FFF2-40B4-BE49-F238E27FC236}">
                <a16:creationId xmlns:a16="http://schemas.microsoft.com/office/drawing/2014/main" id="{4FB495DD-41F4-DC8A-39AD-52C9B98B8E02}"/>
              </a:ext>
            </a:extLst>
          </p:cNvPr>
          <p:cNvSpPr/>
          <p:nvPr/>
        </p:nvSpPr>
        <p:spPr>
          <a:xfrm>
            <a:off x="1341122" y="4388911"/>
            <a:ext cx="10626667" cy="506667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/>
            <a:r>
              <a:rPr lang="ru-RU" b="1" noProof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Это то, что, по моему мнению, будет сложным.</a:t>
            </a:r>
          </a:p>
        </p:txBody>
      </p:sp>
      <p:sp>
        <p:nvSpPr>
          <p:cNvPr id="13" name="NumCircle3">
            <a:extLst>
              <a:ext uri="{FF2B5EF4-FFF2-40B4-BE49-F238E27FC236}">
                <a16:creationId xmlns:a16="http://schemas.microsoft.com/office/drawing/2014/main" id="{01B76A7E-72E7-697D-6F19-F6734446327E}"/>
              </a:ext>
            </a:extLst>
          </p:cNvPr>
          <p:cNvSpPr/>
          <p:nvPr/>
        </p:nvSpPr>
        <p:spPr>
          <a:xfrm>
            <a:off x="670562" y="5095578"/>
            <a:ext cx="487680" cy="487680"/>
          </a:xfrm>
          <a:prstGeom prst="ellipse">
            <a:avLst/>
          </a:prstGeom>
          <a:solidFill>
            <a:srgbClr val="027A87"/>
          </a:solidFill>
          <a:ln w="12700">
            <a:solidFill>
              <a:srgbClr val="027A87"/>
            </a:solidFill>
            <a:prstDash val="solid"/>
          </a:ln>
        </p:spPr>
        <p:txBody>
          <a:bodyPr wrap="square" rtlCol="0" anchor="ctr"/>
          <a:lstStyle/>
          <a:p>
            <a:pPr algn="ctr" defTabSz="1219170"/>
            <a:r>
              <a:rPr lang="ru-RU" b="1" noProof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</a:t>
            </a:r>
          </a:p>
        </p:txBody>
      </p:sp>
      <p:sp>
        <p:nvSpPr>
          <p:cNvPr id="14" name="Txt17">
            <a:extLst>
              <a:ext uri="{FF2B5EF4-FFF2-40B4-BE49-F238E27FC236}">
                <a16:creationId xmlns:a16="http://schemas.microsoft.com/office/drawing/2014/main" id="{7F19D3BC-52F8-2DB8-D9B6-DC8D216B5D62}"/>
              </a:ext>
            </a:extLst>
          </p:cNvPr>
          <p:cNvSpPr/>
          <p:nvPr/>
        </p:nvSpPr>
        <p:spPr>
          <a:xfrm>
            <a:off x="1341122" y="5042245"/>
            <a:ext cx="10626667" cy="506667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/>
            <a:r>
              <a:rPr lang="ru-RU" b="1" noProof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Это то, о чём я прошу себя вспомнить через 90 дней.</a:t>
            </a:r>
          </a:p>
        </p:txBody>
      </p:sp>
      <p:sp>
        <p:nvSpPr>
          <p:cNvPr id="15" name="Txt18">
            <a:extLst>
              <a:ext uri="{FF2B5EF4-FFF2-40B4-BE49-F238E27FC236}">
                <a16:creationId xmlns:a16="http://schemas.microsoft.com/office/drawing/2014/main" id="{BCB2AD1A-BF5A-5033-0556-CEB65EEDB593}"/>
              </a:ext>
            </a:extLst>
          </p:cNvPr>
          <p:cNvSpPr/>
          <p:nvPr/>
        </p:nvSpPr>
        <p:spPr>
          <a:xfrm>
            <a:off x="548642" y="5735578"/>
            <a:ext cx="11460480" cy="373333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/>
            <a:r>
              <a:rPr lang="ru-RU" i="1" noProof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арточка остаётся у вас. Флипчарты будут сфотографированы и отправлены вам.</a:t>
            </a:r>
          </a:p>
        </p:txBody>
      </p:sp>
    </p:spTree>
    <p:extLst>
      <p:ext uri="{BB962C8B-B14F-4D97-AF65-F5344CB8AC3E}">
        <p14:creationId xmlns:p14="http://schemas.microsoft.com/office/powerpoint/2010/main" val="117227386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9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5665892-DC9A-6249-94FD-2442C4EA048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noProof="1"/>
              <a:t>Опросник по итогу Дня 3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D295EE6E-61CA-5B8C-5A38-145C8260729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35317" y="1502564"/>
            <a:ext cx="4449336" cy="44493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5252092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9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6F0D534-ACF4-C5DF-F6AD-9B6F71E7C72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noProof="1"/>
              <a:t>Присоединяйтесь к сообществу DARYA SCAFFOLD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FA00056B-D9CF-5D7B-224E-53D1D301C40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35317" y="1836575"/>
            <a:ext cx="4212772" cy="4212772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893AAC00-AEAC-AF1A-91CB-DFF06C0CC31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914054" y="1836575"/>
            <a:ext cx="4212772" cy="42127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2913182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9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59B94A4-3FFF-39B2-E158-2847AEA20C9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AF4EAA61-4185-ADA1-EBDF-E030FA72D64F}"/>
              </a:ext>
            </a:extLst>
          </p:cNvPr>
          <p:cNvSpPr/>
          <p:nvPr/>
        </p:nvSpPr>
        <p:spPr>
          <a:xfrm>
            <a:off x="552450" y="219075"/>
            <a:ext cx="1943100" cy="12287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noProof="1"/>
          </a:p>
        </p:txBody>
      </p:sp>
      <p:pic>
        <p:nvPicPr>
          <p:cNvPr id="10" name="Picture 9" descr="A blue flag with yellow stars&#10;&#10;AI-generated content may be incorrect.">
            <a:extLst>
              <a:ext uri="{FF2B5EF4-FFF2-40B4-BE49-F238E27FC236}">
                <a16:creationId xmlns:a16="http://schemas.microsoft.com/office/drawing/2014/main" id="{ADC7626C-5BE9-7C9B-E7F6-B9C6921C6CC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67" r="-524" b="5181"/>
          <a:stretch>
            <a:fillRect/>
          </a:stretch>
        </p:blipFill>
        <p:spPr bwMode="auto">
          <a:xfrm>
            <a:off x="10242394" y="85444"/>
            <a:ext cx="1783073" cy="1715333"/>
          </a:xfrm>
          <a:prstGeom prst="rect">
            <a:avLst/>
          </a:prstGeom>
          <a:noFill/>
        </p:spPr>
      </p:pic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571758D6-CEB4-D123-04A2-BC0817A9B02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ru-RU" noProof="1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3EA331A1-CE00-3BA3-151A-F6F5A6B2E84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ru-RU" noProof="1"/>
          </a:p>
        </p:txBody>
      </p:sp>
      <p:pic>
        <p:nvPicPr>
          <p:cNvPr id="12" name="Picture 11" descr="A blue text on a black background&#10;&#10;AI-generated content may be incorrect.">
            <a:extLst>
              <a:ext uri="{FF2B5EF4-FFF2-40B4-BE49-F238E27FC236}">
                <a16:creationId xmlns:a16="http://schemas.microsoft.com/office/drawing/2014/main" id="{796ACD71-E788-AD75-809E-8F39A738002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5293" y="89083"/>
            <a:ext cx="2030830" cy="1224303"/>
          </a:xfrm>
          <a:prstGeom prst="rect">
            <a:avLst/>
          </a:prstGeom>
          <a:noFill/>
        </p:spPr>
      </p:pic>
      <p:pic>
        <p:nvPicPr>
          <p:cNvPr id="15" name="Picture 14" descr="A logo with stars and text&#10;&#10;AI-generated content may be incorrect.">
            <a:extLst>
              <a:ext uri="{FF2B5EF4-FFF2-40B4-BE49-F238E27FC236}">
                <a16:creationId xmlns:a16="http://schemas.microsoft.com/office/drawing/2014/main" id="{779CB5EE-5815-FCFB-0A04-938BFB9EC830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81196" y="5210046"/>
            <a:ext cx="2111127" cy="1713490"/>
          </a:xfrm>
          <a:prstGeom prst="rect">
            <a:avLst/>
          </a:prstGeom>
        </p:spPr>
      </p:pic>
      <p:sp>
        <p:nvSpPr>
          <p:cNvPr id="2" name="TextBox 2">
            <a:extLst>
              <a:ext uri="{FF2B5EF4-FFF2-40B4-BE49-F238E27FC236}">
                <a16:creationId xmlns:a16="http://schemas.microsoft.com/office/drawing/2014/main" id="{0E82C7AF-62E2-B74D-AF5F-E74758AD8D06}"/>
              </a:ext>
            </a:extLst>
          </p:cNvPr>
          <p:cNvSpPr txBox="1"/>
          <p:nvPr/>
        </p:nvSpPr>
        <p:spPr>
          <a:xfrm>
            <a:off x="435293" y="1935982"/>
            <a:ext cx="7361854" cy="4191532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>
            <a:defPPr>
              <a:defRPr lang="en-GB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3600" b="1" kern="100" noProof="1">
                <a:solidFill>
                  <a:schemeClr val="tx1">
                    <a:lumMod val="65000"/>
                    <a:lumOff val="35000"/>
                  </a:schemeClr>
                </a:solidFill>
                <a:ea typeface="+mn-lt"/>
                <a:cs typeface="+mn-lt"/>
              </a:rPr>
              <a:t>Give</a:t>
            </a:r>
            <a:r>
              <a:rPr lang="ru-RU" sz="3600" b="1" kern="100" noProof="1">
                <a:solidFill>
                  <a:schemeClr val="tx1">
                    <a:lumMod val="65000"/>
                    <a:lumOff val="35000"/>
                  </a:schemeClr>
                </a:solidFill>
                <a:cs typeface="Arial"/>
              </a:rPr>
              <a:t> us your feedback!</a:t>
            </a:r>
          </a:p>
          <a:p>
            <a:pPr algn="ctr"/>
            <a:endParaRPr lang="ru-RU" sz="3600" b="1" kern="100" noProof="1">
              <a:solidFill>
                <a:schemeClr val="tx1">
                  <a:lumMod val="65000"/>
                  <a:lumOff val="35000"/>
                </a:schemeClr>
              </a:solidFill>
              <a:cs typeface="Arial"/>
            </a:endParaRPr>
          </a:p>
          <a:p>
            <a:pPr algn="ctr"/>
            <a:r>
              <a:rPr lang="ru-RU" sz="3600" b="1" kern="100" noProof="1">
                <a:solidFill>
                  <a:schemeClr val="tx1">
                    <a:lumMod val="65000"/>
                    <a:lumOff val="35000"/>
                  </a:schemeClr>
                </a:solidFill>
                <a:cs typeface="Arial"/>
              </a:rPr>
              <a:t>Поделитесь с нами своим </a:t>
            </a:r>
          </a:p>
          <a:p>
            <a:pPr algn="ctr"/>
            <a:r>
              <a:rPr lang="ru-RU" sz="3600" b="1" kern="100" noProof="1">
                <a:solidFill>
                  <a:schemeClr val="tx1">
                    <a:lumMod val="65000"/>
                    <a:lumOff val="35000"/>
                  </a:schemeClr>
                </a:solidFill>
                <a:cs typeface="Arial"/>
              </a:rPr>
              <a:t>мнением!</a:t>
            </a:r>
          </a:p>
          <a:p>
            <a:pPr algn="ctr">
              <a:lnSpc>
                <a:spcPct val="107000"/>
              </a:lnSpc>
              <a:spcAft>
                <a:spcPts val="800"/>
              </a:spcAft>
            </a:pPr>
            <a:endParaRPr lang="ru-RU" sz="3600" b="1" kern="100" noProof="1">
              <a:solidFill>
                <a:schemeClr val="tx1">
                  <a:lumMod val="65000"/>
                  <a:lumOff val="35000"/>
                </a:schemeClr>
              </a:solidFill>
              <a:cs typeface="Arial"/>
            </a:endParaRPr>
          </a:p>
          <a:p>
            <a:pPr algn="ctr">
              <a:lnSpc>
                <a:spcPct val="107000"/>
              </a:lnSpc>
              <a:spcAft>
                <a:spcPts val="800"/>
              </a:spcAft>
            </a:pPr>
            <a:endParaRPr lang="ru-RU" sz="3600" b="1" kern="100" noProof="1">
              <a:solidFill>
                <a:schemeClr val="tx1">
                  <a:lumMod val="65000"/>
                  <a:lumOff val="35000"/>
                </a:schemeClr>
              </a:solidFill>
              <a:cs typeface="Arial"/>
            </a:endParaRPr>
          </a:p>
          <a:p>
            <a:endParaRPr lang="ru-RU" sz="3200" b="1" noProof="1">
              <a:cs typeface="Arial" panose="020B0604020202020204"/>
            </a:endParaRPr>
          </a:p>
        </p:txBody>
      </p:sp>
      <p:pic>
        <p:nvPicPr>
          <p:cNvPr id="1028" name="Picture 4">
            <a:extLst>
              <a:ext uri="{FF2B5EF4-FFF2-40B4-BE49-F238E27FC236}">
                <a16:creationId xmlns:a16="http://schemas.microsoft.com/office/drawing/2014/main" id="{DC5042CA-0029-9DFB-0EF1-9C15F163BF5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26308" y="4223571"/>
            <a:ext cx="2699965" cy="26999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29129336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4FB9D4D-FCDC-C00C-86BB-991CC6E904F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ru-RU" sz="4000" noProof="1"/>
              <a:t>Как разработать и реализовать профессиональное развитие педагогов, которое действительно меняет практику?</a:t>
            </a:r>
          </a:p>
          <a:p>
            <a:endParaRPr lang="ru-RU" sz="4000" noProof="1"/>
          </a:p>
          <a:p>
            <a:r>
              <a:rPr lang="ru-RU" sz="4000" noProof="1"/>
              <a:t>Понять – Разработать – Реализовать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73FE0E49-A7FF-4CEA-1E07-4C3409C0F18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ru-RU" noProof="1"/>
          </a:p>
        </p:txBody>
      </p:sp>
    </p:spTree>
    <p:extLst>
      <p:ext uri="{BB962C8B-B14F-4D97-AF65-F5344CB8AC3E}">
        <p14:creationId xmlns:p14="http://schemas.microsoft.com/office/powerpoint/2010/main" val="128358785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3A0B51D2-A186-A383-95EE-EC8F90FCC08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DB84476-BC29-4407-9D57-B2E562B8968B}" type="slidenum">
              <a:rPr lang="ru-RU" noProof="1" smtClean="0"/>
              <a:pPr/>
              <a:t>20</a:t>
            </a:fld>
            <a:endParaRPr lang="ru-RU" noProof="1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998FFB5A-4459-5351-3224-033D4574F16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5317" y="422444"/>
            <a:ext cx="10645259" cy="1080120"/>
          </a:xfrm>
        </p:spPr>
        <p:txBody>
          <a:bodyPr>
            <a:normAutofit/>
          </a:bodyPr>
          <a:lstStyle/>
          <a:p>
            <a:r>
              <a:rPr lang="ru-RU" noProof="1"/>
              <a:t>Какой формат профессионального развития педагогов вы предпочитаете больше всего… [выберите топ-3]?</a:t>
            </a: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367ECD65-9166-A385-3980-0EA3AB7D017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53621947"/>
              </p:ext>
            </p:extLst>
          </p:nvPr>
        </p:nvGraphicFramePr>
        <p:xfrm>
          <a:off x="635317" y="1502564"/>
          <a:ext cx="10933112" cy="4358640"/>
        </p:xfrm>
        <a:graphic>
          <a:graphicData uri="http://schemas.openxmlformats.org/drawingml/2006/table">
            <a:tbl>
              <a:tblPr/>
              <a:tblGrid>
                <a:gridCol w="10933112">
                  <a:extLst>
                    <a:ext uri="{9D8B030D-6E8A-4147-A177-3AD203B41FA5}">
                      <a16:colId xmlns:a16="http://schemas.microsoft.com/office/drawing/2014/main" val="1822888231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>
                        <a:buNone/>
                      </a:pPr>
                      <a:endParaRPr lang="ru-RU" sz="2000" b="1" noProof="1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670893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ru-RU" sz="2000" noProof="1">
                          <a:solidFill>
                            <a:schemeClr val="bg1"/>
                          </a:solidFill>
                        </a:rPr>
                        <a:t>1. Учебные курсы / воркшопы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1260273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ru-RU" sz="2000" noProof="1">
                          <a:solidFill>
                            <a:schemeClr val="bg1"/>
                          </a:solidFill>
                        </a:rPr>
                        <a:t>2. Коучинг / наставничество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450891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ru-RU" sz="2000" noProof="1">
                          <a:solidFill>
                            <a:schemeClr val="bg1"/>
                          </a:solidFill>
                        </a:rPr>
                        <a:t>3. Онлайн-обучение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5442440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ru-RU" sz="2000" noProof="1">
                          <a:solidFill>
                            <a:schemeClr val="bg1"/>
                          </a:solidFill>
                        </a:rPr>
                        <a:t>4. Чтение профессиональной литературы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98382446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ru-RU" sz="2000" noProof="1">
                          <a:solidFill>
                            <a:schemeClr val="bg1"/>
                          </a:solidFill>
                        </a:rPr>
                        <a:t>5. Профессиональный диалог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9589435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ru-RU" sz="2000" noProof="1">
                          <a:solidFill>
                            <a:schemeClr val="bg1"/>
                          </a:solidFill>
                        </a:rPr>
                        <a:t>6. Социальные сети, например Telegram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4201113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ru-RU" sz="2000" noProof="1">
                          <a:solidFill>
                            <a:schemeClr val="bg1"/>
                          </a:solidFill>
                        </a:rPr>
                        <a:t>7. Исследование собственной практики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3621212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ru-RU" sz="2000" noProof="1">
                          <a:solidFill>
                            <a:schemeClr val="bg1"/>
                          </a:solidFill>
                        </a:rPr>
                        <a:t>8. Наблюдение за уроком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3494785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ru-RU" sz="2000" noProof="1">
                          <a:solidFill>
                            <a:schemeClr val="bg1"/>
                          </a:solidFill>
                        </a:rPr>
                        <a:t>9. Посещение других учебных заведений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4098226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ru-RU" sz="2000" noProof="1">
                          <a:solidFill>
                            <a:schemeClr val="bg1"/>
                          </a:solidFill>
                        </a:rPr>
                        <a:t>10. Конференции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5261216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85240290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72F67E3-5C73-2DC3-4536-4735678D8A1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5317" y="247317"/>
            <a:ext cx="7815651" cy="1080120"/>
          </a:xfrm>
        </p:spPr>
        <p:txBody>
          <a:bodyPr/>
          <a:lstStyle/>
          <a:p>
            <a:r>
              <a:rPr lang="ru-RU" noProof="1"/>
              <a:t>Рефлексия по итогу сессии</a:t>
            </a:r>
          </a:p>
        </p:txBody>
      </p:sp>
      <p:sp>
        <p:nvSpPr>
          <p:cNvPr id="4" name="Text 3">
            <a:extLst>
              <a:ext uri="{FF2B5EF4-FFF2-40B4-BE49-F238E27FC236}">
                <a16:creationId xmlns:a16="http://schemas.microsoft.com/office/drawing/2014/main" id="{A6DC141A-56FE-01AD-DDAD-6DA58635393B}"/>
              </a:ext>
            </a:extLst>
          </p:cNvPr>
          <p:cNvSpPr/>
          <p:nvPr/>
        </p:nvSpPr>
        <p:spPr>
          <a:xfrm>
            <a:off x="487680" y="1197026"/>
            <a:ext cx="11094720" cy="390144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r>
              <a:rPr lang="ru-RU" sz="1600" i="1" noProof="1">
                <a:solidFill>
                  <a:schemeClr val="bg1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Заполняется по QR-коду — индивидуально, не выносится на пленарное обсуждение</a:t>
            </a:r>
            <a:endParaRPr lang="ru-RU" sz="1600" noProof="1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Shape 4">
            <a:extLst>
              <a:ext uri="{FF2B5EF4-FFF2-40B4-BE49-F238E27FC236}">
                <a16:creationId xmlns:a16="http://schemas.microsoft.com/office/drawing/2014/main" id="{97D5F147-B41B-AD99-9AD6-AFCB2F068591}"/>
              </a:ext>
            </a:extLst>
          </p:cNvPr>
          <p:cNvSpPr/>
          <p:nvPr/>
        </p:nvSpPr>
        <p:spPr>
          <a:xfrm>
            <a:off x="487680" y="1848075"/>
            <a:ext cx="7763185" cy="1036320"/>
          </a:xfrm>
          <a:prstGeom prst="rect">
            <a:avLst/>
          </a:prstGeom>
          <a:solidFill>
            <a:srgbClr val="FFFFFF"/>
          </a:solidFill>
          <a:ln w="10160">
            <a:solidFill>
              <a:srgbClr val="B2D8DE"/>
            </a:solidFill>
            <a:prstDash val="solid"/>
          </a:ln>
          <a:effectLst>
            <a:outerShdw blurRad="76200" dist="38100" dir="8100000" algn="bl" rotWithShape="0">
              <a:srgbClr val="000000">
                <a:alpha val="10000"/>
              </a:srgbClr>
            </a:outerShdw>
          </a:effectLst>
        </p:spPr>
        <p:txBody>
          <a:bodyPr/>
          <a:lstStyle/>
          <a:p>
            <a:endParaRPr lang="ru-RU" sz="2400" noProof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Shape 5">
            <a:extLst>
              <a:ext uri="{FF2B5EF4-FFF2-40B4-BE49-F238E27FC236}">
                <a16:creationId xmlns:a16="http://schemas.microsoft.com/office/drawing/2014/main" id="{678304C4-3E0D-160B-56E0-3532C3B38294}"/>
              </a:ext>
            </a:extLst>
          </p:cNvPr>
          <p:cNvSpPr/>
          <p:nvPr/>
        </p:nvSpPr>
        <p:spPr>
          <a:xfrm>
            <a:off x="609600" y="2055339"/>
            <a:ext cx="609600" cy="609600"/>
          </a:xfrm>
          <a:prstGeom prst="ellipse">
            <a:avLst/>
          </a:prstGeom>
          <a:solidFill>
            <a:srgbClr val="027A87"/>
          </a:solidFill>
          <a:ln w="12700">
            <a:solidFill>
              <a:srgbClr val="027A87"/>
            </a:solidFill>
            <a:prstDash val="solid"/>
          </a:ln>
        </p:spPr>
        <p:txBody>
          <a:bodyPr/>
          <a:lstStyle/>
          <a:p>
            <a:endParaRPr lang="ru-RU" sz="2400" noProof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Text 6">
            <a:extLst>
              <a:ext uri="{FF2B5EF4-FFF2-40B4-BE49-F238E27FC236}">
                <a16:creationId xmlns:a16="http://schemas.microsoft.com/office/drawing/2014/main" id="{9B94ECD1-4873-6B67-BC5A-F0AA1CFA0E34}"/>
              </a:ext>
            </a:extLst>
          </p:cNvPr>
          <p:cNvSpPr/>
          <p:nvPr/>
        </p:nvSpPr>
        <p:spPr>
          <a:xfrm>
            <a:off x="609600" y="2055339"/>
            <a:ext cx="609600" cy="60960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algn="ctr"/>
            <a:r>
              <a:rPr lang="ru-RU" sz="2133" b="1" noProof="1">
                <a:solidFill>
                  <a:srgbClr val="FFFFFF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1</a:t>
            </a:r>
            <a:endParaRPr lang="ru-RU" sz="2133" noProof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Text 7">
            <a:extLst>
              <a:ext uri="{FF2B5EF4-FFF2-40B4-BE49-F238E27FC236}">
                <a16:creationId xmlns:a16="http://schemas.microsoft.com/office/drawing/2014/main" id="{07C001E7-10AC-C3F4-3E65-C3A450639CB5}"/>
              </a:ext>
            </a:extLst>
          </p:cNvPr>
          <p:cNvSpPr/>
          <p:nvPr/>
        </p:nvSpPr>
        <p:spPr>
          <a:xfrm>
            <a:off x="1463040" y="1994379"/>
            <a:ext cx="6987928" cy="755904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r>
              <a:rPr lang="ru-RU" sz="1867" i="1" noProof="1">
                <a:solidFill>
                  <a:srgbClr val="16303A"/>
                </a:solidFill>
                <a:latin typeface="Arial" panose="020B0604020202020204" pitchFamily="34" charset="0"/>
                <a:ea typeface="Georgia" pitchFamily="34" charset="-122"/>
                <a:cs typeface="Arial" panose="020B0604020202020204" pitchFamily="34" charset="0"/>
              </a:rPr>
              <a:t>Одно, что я теперь понимаю более чётко об эффективном профессиональном развитии педагогов</a:t>
            </a:r>
            <a:endParaRPr lang="ru-RU" sz="1867" noProof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Shape 8">
            <a:extLst>
              <a:ext uri="{FF2B5EF4-FFF2-40B4-BE49-F238E27FC236}">
                <a16:creationId xmlns:a16="http://schemas.microsoft.com/office/drawing/2014/main" id="{114053C0-CEC3-F0BD-1534-B3C04B03CFC2}"/>
              </a:ext>
            </a:extLst>
          </p:cNvPr>
          <p:cNvSpPr/>
          <p:nvPr/>
        </p:nvSpPr>
        <p:spPr>
          <a:xfrm>
            <a:off x="487680" y="3042891"/>
            <a:ext cx="7763185" cy="1036320"/>
          </a:xfrm>
          <a:prstGeom prst="rect">
            <a:avLst/>
          </a:prstGeom>
          <a:solidFill>
            <a:srgbClr val="FFFFFF"/>
          </a:solidFill>
          <a:ln w="10160">
            <a:solidFill>
              <a:srgbClr val="B2D8DE"/>
            </a:solidFill>
            <a:prstDash val="solid"/>
          </a:ln>
          <a:effectLst>
            <a:outerShdw blurRad="76200" dist="38100" dir="8100000" algn="bl" rotWithShape="0">
              <a:srgbClr val="000000">
                <a:alpha val="10000"/>
              </a:srgbClr>
            </a:outerShdw>
          </a:effectLst>
        </p:spPr>
        <p:txBody>
          <a:bodyPr/>
          <a:lstStyle/>
          <a:p>
            <a:endParaRPr lang="ru-RU" sz="2400" noProof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Shape 9">
            <a:extLst>
              <a:ext uri="{FF2B5EF4-FFF2-40B4-BE49-F238E27FC236}">
                <a16:creationId xmlns:a16="http://schemas.microsoft.com/office/drawing/2014/main" id="{AB6E8469-42E0-3B19-D690-EC419151F98F}"/>
              </a:ext>
            </a:extLst>
          </p:cNvPr>
          <p:cNvSpPr/>
          <p:nvPr/>
        </p:nvSpPr>
        <p:spPr>
          <a:xfrm>
            <a:off x="609600" y="3250155"/>
            <a:ext cx="609600" cy="609600"/>
          </a:xfrm>
          <a:prstGeom prst="ellipse">
            <a:avLst/>
          </a:prstGeom>
          <a:solidFill>
            <a:srgbClr val="027A87"/>
          </a:solidFill>
          <a:ln w="12700">
            <a:solidFill>
              <a:srgbClr val="027A87"/>
            </a:solidFill>
            <a:prstDash val="solid"/>
          </a:ln>
        </p:spPr>
        <p:txBody>
          <a:bodyPr/>
          <a:lstStyle/>
          <a:p>
            <a:endParaRPr lang="ru-RU" sz="2400" noProof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Text 10">
            <a:extLst>
              <a:ext uri="{FF2B5EF4-FFF2-40B4-BE49-F238E27FC236}">
                <a16:creationId xmlns:a16="http://schemas.microsoft.com/office/drawing/2014/main" id="{D8462AD3-4ADC-24DA-36BB-2ECD75792970}"/>
              </a:ext>
            </a:extLst>
          </p:cNvPr>
          <p:cNvSpPr/>
          <p:nvPr/>
        </p:nvSpPr>
        <p:spPr>
          <a:xfrm>
            <a:off x="609600" y="3250155"/>
            <a:ext cx="609600" cy="60960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algn="ctr"/>
            <a:r>
              <a:rPr lang="ru-RU" sz="2133" b="1" noProof="1">
                <a:solidFill>
                  <a:srgbClr val="FFFFFF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2</a:t>
            </a:r>
            <a:endParaRPr lang="ru-RU" sz="2133" noProof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Text 11">
            <a:extLst>
              <a:ext uri="{FF2B5EF4-FFF2-40B4-BE49-F238E27FC236}">
                <a16:creationId xmlns:a16="http://schemas.microsoft.com/office/drawing/2014/main" id="{6D0699DC-E754-02AE-A1BB-5FB711E337CF}"/>
              </a:ext>
            </a:extLst>
          </p:cNvPr>
          <p:cNvSpPr/>
          <p:nvPr/>
        </p:nvSpPr>
        <p:spPr>
          <a:xfrm>
            <a:off x="1463040" y="3189195"/>
            <a:ext cx="6277829" cy="755904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r>
              <a:rPr lang="ru-RU" sz="1867" i="1" noProof="1">
                <a:solidFill>
                  <a:srgbClr val="16303A"/>
                </a:solidFill>
                <a:latin typeface="Arial" panose="020B0604020202020204" pitchFamily="34" charset="0"/>
                <a:ea typeface="Georgia" pitchFamily="34" charset="-122"/>
                <a:cs typeface="Arial" panose="020B0604020202020204" pitchFamily="34" charset="0"/>
              </a:rPr>
              <a:t>Одно, в чём я всё ещё не уверен(а)</a:t>
            </a:r>
            <a:endParaRPr lang="ru-RU" sz="1867" noProof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Shape 12">
            <a:extLst>
              <a:ext uri="{FF2B5EF4-FFF2-40B4-BE49-F238E27FC236}">
                <a16:creationId xmlns:a16="http://schemas.microsoft.com/office/drawing/2014/main" id="{C8A7BE01-03AD-5583-4212-FA4ECD49BD61}"/>
              </a:ext>
            </a:extLst>
          </p:cNvPr>
          <p:cNvSpPr/>
          <p:nvPr/>
        </p:nvSpPr>
        <p:spPr>
          <a:xfrm>
            <a:off x="487680" y="4237707"/>
            <a:ext cx="7763185" cy="1036320"/>
          </a:xfrm>
          <a:prstGeom prst="rect">
            <a:avLst/>
          </a:prstGeom>
          <a:solidFill>
            <a:srgbClr val="FFFFFF"/>
          </a:solidFill>
          <a:ln w="10160">
            <a:solidFill>
              <a:srgbClr val="B2D8DE"/>
            </a:solidFill>
            <a:prstDash val="solid"/>
          </a:ln>
          <a:effectLst>
            <a:outerShdw blurRad="76200" dist="38100" dir="8100000" algn="bl" rotWithShape="0">
              <a:srgbClr val="000000">
                <a:alpha val="10000"/>
              </a:srgbClr>
            </a:outerShdw>
          </a:effectLst>
        </p:spPr>
        <p:txBody>
          <a:bodyPr/>
          <a:lstStyle/>
          <a:p>
            <a:endParaRPr lang="ru-RU" sz="2400" noProof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Shape 13">
            <a:extLst>
              <a:ext uri="{FF2B5EF4-FFF2-40B4-BE49-F238E27FC236}">
                <a16:creationId xmlns:a16="http://schemas.microsoft.com/office/drawing/2014/main" id="{32DA547B-E98B-25A8-A084-6ECB66408193}"/>
              </a:ext>
            </a:extLst>
          </p:cNvPr>
          <p:cNvSpPr/>
          <p:nvPr/>
        </p:nvSpPr>
        <p:spPr>
          <a:xfrm>
            <a:off x="609600" y="4444971"/>
            <a:ext cx="609600" cy="609600"/>
          </a:xfrm>
          <a:prstGeom prst="ellipse">
            <a:avLst/>
          </a:prstGeom>
          <a:solidFill>
            <a:srgbClr val="027A87"/>
          </a:solidFill>
          <a:ln w="12700">
            <a:solidFill>
              <a:srgbClr val="027A87"/>
            </a:solidFill>
            <a:prstDash val="solid"/>
          </a:ln>
        </p:spPr>
        <p:txBody>
          <a:bodyPr/>
          <a:lstStyle/>
          <a:p>
            <a:endParaRPr lang="ru-RU" sz="2400" noProof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Text 14">
            <a:extLst>
              <a:ext uri="{FF2B5EF4-FFF2-40B4-BE49-F238E27FC236}">
                <a16:creationId xmlns:a16="http://schemas.microsoft.com/office/drawing/2014/main" id="{26DF72EE-FCDF-8D11-F61E-F25A2E3DCF31}"/>
              </a:ext>
            </a:extLst>
          </p:cNvPr>
          <p:cNvSpPr/>
          <p:nvPr/>
        </p:nvSpPr>
        <p:spPr>
          <a:xfrm>
            <a:off x="609600" y="4444971"/>
            <a:ext cx="609600" cy="60960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algn="ctr"/>
            <a:r>
              <a:rPr lang="ru-RU" sz="2133" b="1" noProof="1">
                <a:solidFill>
                  <a:srgbClr val="FFFFFF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3</a:t>
            </a:r>
            <a:endParaRPr lang="ru-RU" sz="2133" noProof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Text 15">
            <a:extLst>
              <a:ext uri="{FF2B5EF4-FFF2-40B4-BE49-F238E27FC236}">
                <a16:creationId xmlns:a16="http://schemas.microsoft.com/office/drawing/2014/main" id="{051A175C-A02C-4144-1511-910C3C70D19B}"/>
              </a:ext>
            </a:extLst>
          </p:cNvPr>
          <p:cNvSpPr/>
          <p:nvPr/>
        </p:nvSpPr>
        <p:spPr>
          <a:xfrm>
            <a:off x="1463040" y="4384011"/>
            <a:ext cx="6987928" cy="755904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r>
              <a:rPr lang="ru-RU" sz="1867" i="1" noProof="1">
                <a:solidFill>
                  <a:srgbClr val="16303A"/>
                </a:solidFill>
                <a:latin typeface="Arial" panose="020B0604020202020204" pitchFamily="34" charset="0"/>
                <a:ea typeface="Georgia" pitchFamily="34" charset="-122"/>
                <a:cs typeface="Arial" panose="020B0604020202020204" pitchFamily="34" charset="0"/>
              </a:rPr>
              <a:t>Один вопрос, который я несу с собой на остаток сегодняшнего дня</a:t>
            </a:r>
            <a:endParaRPr lang="ru-RU" sz="1867" noProof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Shape 16">
            <a:extLst>
              <a:ext uri="{FF2B5EF4-FFF2-40B4-BE49-F238E27FC236}">
                <a16:creationId xmlns:a16="http://schemas.microsoft.com/office/drawing/2014/main" id="{2FD06621-B80F-72C1-C47D-27CAAEF8E63D}"/>
              </a:ext>
            </a:extLst>
          </p:cNvPr>
          <p:cNvSpPr/>
          <p:nvPr/>
        </p:nvSpPr>
        <p:spPr>
          <a:xfrm>
            <a:off x="487680" y="5566635"/>
            <a:ext cx="11429764" cy="463296"/>
          </a:xfrm>
          <a:prstGeom prst="rect">
            <a:avLst/>
          </a:prstGeom>
          <a:solidFill>
            <a:srgbClr val="FDF3DC"/>
          </a:solidFill>
          <a:ln w="10160">
            <a:solidFill>
              <a:srgbClr val="E8940A"/>
            </a:solidFill>
            <a:prstDash val="solid"/>
          </a:ln>
        </p:spPr>
        <p:txBody>
          <a:bodyPr/>
          <a:lstStyle/>
          <a:p>
            <a:endParaRPr lang="ru-RU" sz="2400" noProof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Text 17">
            <a:extLst>
              <a:ext uri="{FF2B5EF4-FFF2-40B4-BE49-F238E27FC236}">
                <a16:creationId xmlns:a16="http://schemas.microsoft.com/office/drawing/2014/main" id="{D9422DEC-C6B5-1A78-7AB3-B4D65B0DF973}"/>
              </a:ext>
            </a:extLst>
          </p:cNvPr>
          <p:cNvSpPr/>
          <p:nvPr/>
        </p:nvSpPr>
        <p:spPr>
          <a:xfrm>
            <a:off x="731520" y="5566635"/>
            <a:ext cx="10850880" cy="463296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r>
              <a:rPr lang="ru-RU" sz="1333" i="1" noProof="1">
                <a:solidFill>
                  <a:srgbClr val="16303A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Названная карточка SCAFFOLD: Метод оценивания — саморефлексия на выходе. Со-фасилитатор собирает ответы; темы кратко доводятся до участников в конце 1-го дня.</a:t>
            </a:r>
            <a:endParaRPr lang="ru-RU" sz="1333" noProof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657C8EE3-CE3D-750A-4896-2FBCE8EBCD8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91492" y="1848075"/>
            <a:ext cx="3425952" cy="34259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9244856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F205F86-45D5-1D67-F6C6-E04335B4284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noProof="1"/>
              <a:t>Сессия 1  ·  Cписок материалов</a:t>
            </a:r>
          </a:p>
        </p:txBody>
      </p:sp>
      <p:sp>
        <p:nvSpPr>
          <p:cNvPr id="3" name="Shape 2">
            <a:extLst>
              <a:ext uri="{FF2B5EF4-FFF2-40B4-BE49-F238E27FC236}">
                <a16:creationId xmlns:a16="http://schemas.microsoft.com/office/drawing/2014/main" id="{2D381E6B-37EB-17D6-BAD7-8523CD8BB7E8}"/>
              </a:ext>
            </a:extLst>
          </p:cNvPr>
          <p:cNvSpPr/>
          <p:nvPr/>
        </p:nvSpPr>
        <p:spPr>
          <a:xfrm>
            <a:off x="543099" y="1338904"/>
            <a:ext cx="11460480" cy="609600"/>
          </a:xfrm>
          <a:prstGeom prst="rect">
            <a:avLst/>
          </a:prstGeom>
          <a:solidFill>
            <a:srgbClr val="FFFFFF"/>
          </a:solidFill>
          <a:ln w="5080">
            <a:solidFill>
              <a:srgbClr val="B2D8DE"/>
            </a:solidFill>
            <a:prstDash val="solid"/>
          </a:ln>
        </p:spPr>
        <p:txBody>
          <a:bodyPr/>
          <a:lstStyle/>
          <a:p>
            <a:endParaRPr lang="ru-RU" sz="2400" noProof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Shape 3">
            <a:extLst>
              <a:ext uri="{FF2B5EF4-FFF2-40B4-BE49-F238E27FC236}">
                <a16:creationId xmlns:a16="http://schemas.microsoft.com/office/drawing/2014/main" id="{9A45E670-D745-0729-15D9-7926D8159B4B}"/>
              </a:ext>
            </a:extLst>
          </p:cNvPr>
          <p:cNvSpPr/>
          <p:nvPr/>
        </p:nvSpPr>
        <p:spPr>
          <a:xfrm>
            <a:off x="665019" y="1460824"/>
            <a:ext cx="365760" cy="365760"/>
          </a:xfrm>
          <a:prstGeom prst="rect">
            <a:avLst/>
          </a:prstGeom>
          <a:solidFill>
            <a:srgbClr val="FFFFFF"/>
          </a:solidFill>
          <a:ln w="19050">
            <a:solidFill>
              <a:srgbClr val="027A87"/>
            </a:solidFill>
            <a:prstDash val="solid"/>
          </a:ln>
        </p:spPr>
        <p:txBody>
          <a:bodyPr/>
          <a:lstStyle/>
          <a:p>
            <a:endParaRPr lang="ru-RU" sz="2400" noProof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Text 4">
            <a:extLst>
              <a:ext uri="{FF2B5EF4-FFF2-40B4-BE49-F238E27FC236}">
                <a16:creationId xmlns:a16="http://schemas.microsoft.com/office/drawing/2014/main" id="{1890BECF-228F-F393-F786-4F73FD1954F7}"/>
              </a:ext>
            </a:extLst>
          </p:cNvPr>
          <p:cNvSpPr/>
          <p:nvPr/>
        </p:nvSpPr>
        <p:spPr>
          <a:xfrm>
            <a:off x="1274619" y="1338904"/>
            <a:ext cx="4267200" cy="60960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r>
              <a:rPr lang="ru-RU" sz="1467" b="1" noProof="1">
                <a:solidFill>
                  <a:srgbClr val="16303A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Слайды с данными вводного вебинара</a:t>
            </a:r>
            <a:endParaRPr lang="ru-RU" sz="1467" noProof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Text 5">
            <a:extLst>
              <a:ext uri="{FF2B5EF4-FFF2-40B4-BE49-F238E27FC236}">
                <a16:creationId xmlns:a16="http://schemas.microsoft.com/office/drawing/2014/main" id="{B685AFB4-441F-6621-8194-B6CBC71960F3}"/>
              </a:ext>
            </a:extLst>
          </p:cNvPr>
          <p:cNvSpPr/>
          <p:nvPr/>
        </p:nvSpPr>
        <p:spPr>
          <a:xfrm>
            <a:off x="5663739" y="1338904"/>
            <a:ext cx="6217920" cy="60960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r>
              <a:rPr lang="ru-RU" sz="1400" noProof="1">
                <a:solidFill>
                  <a:srgbClr val="3D6673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Топ-3 отсутствующих индикатора качества  ·  индикатор с наименьшей оценкой  ·  2 анонимных высказывания по рефлексии</a:t>
            </a:r>
            <a:endParaRPr lang="ru-RU" sz="1400" noProof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Shape 6">
            <a:extLst>
              <a:ext uri="{FF2B5EF4-FFF2-40B4-BE49-F238E27FC236}">
                <a16:creationId xmlns:a16="http://schemas.microsoft.com/office/drawing/2014/main" id="{73AFB26E-6E31-5B30-E136-CF9CCDAFF37F}"/>
              </a:ext>
            </a:extLst>
          </p:cNvPr>
          <p:cNvSpPr/>
          <p:nvPr/>
        </p:nvSpPr>
        <p:spPr>
          <a:xfrm>
            <a:off x="543099" y="2009464"/>
            <a:ext cx="11460480" cy="609600"/>
          </a:xfrm>
          <a:prstGeom prst="rect">
            <a:avLst/>
          </a:prstGeom>
          <a:solidFill>
            <a:srgbClr val="D6F0F3"/>
          </a:solidFill>
          <a:ln w="5080">
            <a:solidFill>
              <a:srgbClr val="B2D8DE"/>
            </a:solidFill>
            <a:prstDash val="solid"/>
          </a:ln>
        </p:spPr>
        <p:txBody>
          <a:bodyPr/>
          <a:lstStyle/>
          <a:p>
            <a:endParaRPr lang="ru-RU" sz="2400" noProof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Shape 7">
            <a:extLst>
              <a:ext uri="{FF2B5EF4-FFF2-40B4-BE49-F238E27FC236}">
                <a16:creationId xmlns:a16="http://schemas.microsoft.com/office/drawing/2014/main" id="{9A5FD1D5-31AA-27A6-15F0-915F7B8A0B9C}"/>
              </a:ext>
            </a:extLst>
          </p:cNvPr>
          <p:cNvSpPr/>
          <p:nvPr/>
        </p:nvSpPr>
        <p:spPr>
          <a:xfrm>
            <a:off x="665019" y="2131384"/>
            <a:ext cx="365760" cy="365760"/>
          </a:xfrm>
          <a:prstGeom prst="rect">
            <a:avLst/>
          </a:prstGeom>
          <a:solidFill>
            <a:srgbClr val="FFFFFF"/>
          </a:solidFill>
          <a:ln w="19050">
            <a:solidFill>
              <a:srgbClr val="027A87"/>
            </a:solidFill>
            <a:prstDash val="solid"/>
          </a:ln>
        </p:spPr>
        <p:txBody>
          <a:bodyPr/>
          <a:lstStyle/>
          <a:p>
            <a:endParaRPr lang="ru-RU" sz="2400" noProof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Text 8">
            <a:extLst>
              <a:ext uri="{FF2B5EF4-FFF2-40B4-BE49-F238E27FC236}">
                <a16:creationId xmlns:a16="http://schemas.microsoft.com/office/drawing/2014/main" id="{CEEC8A0D-E395-9429-E587-2C8D9869B96F}"/>
              </a:ext>
            </a:extLst>
          </p:cNvPr>
          <p:cNvSpPr/>
          <p:nvPr/>
        </p:nvSpPr>
        <p:spPr>
          <a:xfrm>
            <a:off x="1274619" y="2009464"/>
            <a:ext cx="4267200" cy="60960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r>
              <a:rPr lang="ru-RU" sz="1467" b="1" noProof="1">
                <a:solidFill>
                  <a:srgbClr val="16303A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Карточки «SCAFFOLD в действии»</a:t>
            </a:r>
            <a:endParaRPr lang="ru-RU" sz="1467" noProof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Text 9">
            <a:extLst>
              <a:ext uri="{FF2B5EF4-FFF2-40B4-BE49-F238E27FC236}">
                <a16:creationId xmlns:a16="http://schemas.microsoft.com/office/drawing/2014/main" id="{D060EEBC-EA7C-B77E-74A1-B9CE8EEBCB61}"/>
              </a:ext>
            </a:extLst>
          </p:cNvPr>
          <p:cNvSpPr/>
          <p:nvPr/>
        </p:nvSpPr>
        <p:spPr>
          <a:xfrm>
            <a:off x="5663739" y="2009464"/>
            <a:ext cx="6217920" cy="60960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r>
              <a:rPr lang="ru-RU" sz="1400" noProof="1">
                <a:solidFill>
                  <a:srgbClr val="3D6673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По одной на стол  ·  остаётся все три дня</a:t>
            </a:r>
            <a:endParaRPr lang="ru-RU" sz="1400" noProof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Shape 10">
            <a:extLst>
              <a:ext uri="{FF2B5EF4-FFF2-40B4-BE49-F238E27FC236}">
                <a16:creationId xmlns:a16="http://schemas.microsoft.com/office/drawing/2014/main" id="{A7E67669-DF04-6AF5-7034-89802090D69C}"/>
              </a:ext>
            </a:extLst>
          </p:cNvPr>
          <p:cNvSpPr/>
          <p:nvPr/>
        </p:nvSpPr>
        <p:spPr>
          <a:xfrm>
            <a:off x="543099" y="2680024"/>
            <a:ext cx="11460480" cy="609600"/>
          </a:xfrm>
          <a:prstGeom prst="rect">
            <a:avLst/>
          </a:prstGeom>
          <a:solidFill>
            <a:srgbClr val="FFFFFF"/>
          </a:solidFill>
          <a:ln w="5080">
            <a:solidFill>
              <a:srgbClr val="B2D8DE"/>
            </a:solidFill>
            <a:prstDash val="solid"/>
          </a:ln>
        </p:spPr>
        <p:txBody>
          <a:bodyPr/>
          <a:lstStyle/>
          <a:p>
            <a:endParaRPr lang="ru-RU" sz="2400" noProof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Shape 11">
            <a:extLst>
              <a:ext uri="{FF2B5EF4-FFF2-40B4-BE49-F238E27FC236}">
                <a16:creationId xmlns:a16="http://schemas.microsoft.com/office/drawing/2014/main" id="{ED8DFA81-EA4C-075F-1985-4B94198475EE}"/>
              </a:ext>
            </a:extLst>
          </p:cNvPr>
          <p:cNvSpPr/>
          <p:nvPr/>
        </p:nvSpPr>
        <p:spPr>
          <a:xfrm>
            <a:off x="665019" y="2801944"/>
            <a:ext cx="365760" cy="365760"/>
          </a:xfrm>
          <a:prstGeom prst="rect">
            <a:avLst/>
          </a:prstGeom>
          <a:solidFill>
            <a:srgbClr val="FFFFFF"/>
          </a:solidFill>
          <a:ln w="19050">
            <a:solidFill>
              <a:srgbClr val="027A87"/>
            </a:solidFill>
            <a:prstDash val="solid"/>
          </a:ln>
        </p:spPr>
        <p:txBody>
          <a:bodyPr/>
          <a:lstStyle/>
          <a:p>
            <a:endParaRPr lang="ru-RU" sz="2400" noProof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Text 12">
            <a:extLst>
              <a:ext uri="{FF2B5EF4-FFF2-40B4-BE49-F238E27FC236}">
                <a16:creationId xmlns:a16="http://schemas.microsoft.com/office/drawing/2014/main" id="{FD935BDC-5307-A4B6-6B76-CE88251F83C3}"/>
              </a:ext>
            </a:extLst>
          </p:cNvPr>
          <p:cNvSpPr/>
          <p:nvPr/>
        </p:nvSpPr>
        <p:spPr>
          <a:xfrm>
            <a:off x="1274619" y="2680024"/>
            <a:ext cx="4267200" cy="60960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r>
              <a:rPr lang="ru-RU" sz="1467" b="1" noProof="1">
                <a:solidFill>
                  <a:srgbClr val="16303A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Конверты с утверждениями для «Сортировки свидетельств»</a:t>
            </a:r>
            <a:endParaRPr lang="ru-RU" sz="1467" noProof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Text 13">
            <a:extLst>
              <a:ext uri="{FF2B5EF4-FFF2-40B4-BE49-F238E27FC236}">
                <a16:creationId xmlns:a16="http://schemas.microsoft.com/office/drawing/2014/main" id="{875473B6-68F4-ACEA-7C9F-3F5255678310}"/>
              </a:ext>
            </a:extLst>
          </p:cNvPr>
          <p:cNvSpPr/>
          <p:nvPr/>
        </p:nvSpPr>
        <p:spPr>
          <a:xfrm>
            <a:off x="5663739" y="2680024"/>
            <a:ext cx="6217920" cy="60960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r>
              <a:rPr lang="ru-RU" sz="1400" noProof="1">
                <a:solidFill>
                  <a:srgbClr val="3D6673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16 карточек в конверте  ·  по одному на стол (12 основанных на данных, 4 неподтверждённых)</a:t>
            </a:r>
            <a:endParaRPr lang="ru-RU" sz="1400" noProof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Shape 14">
            <a:extLst>
              <a:ext uri="{FF2B5EF4-FFF2-40B4-BE49-F238E27FC236}">
                <a16:creationId xmlns:a16="http://schemas.microsoft.com/office/drawing/2014/main" id="{6383BF9A-50FF-E94C-4AF6-90E3D1DC650C}"/>
              </a:ext>
            </a:extLst>
          </p:cNvPr>
          <p:cNvSpPr/>
          <p:nvPr/>
        </p:nvSpPr>
        <p:spPr>
          <a:xfrm>
            <a:off x="543099" y="3350584"/>
            <a:ext cx="11460480" cy="609600"/>
          </a:xfrm>
          <a:prstGeom prst="rect">
            <a:avLst/>
          </a:prstGeom>
          <a:solidFill>
            <a:srgbClr val="D6F0F3"/>
          </a:solidFill>
          <a:ln w="5080">
            <a:solidFill>
              <a:srgbClr val="B2D8DE"/>
            </a:solidFill>
            <a:prstDash val="solid"/>
          </a:ln>
        </p:spPr>
        <p:txBody>
          <a:bodyPr/>
          <a:lstStyle/>
          <a:p>
            <a:endParaRPr lang="ru-RU" sz="2400" noProof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Shape 15">
            <a:extLst>
              <a:ext uri="{FF2B5EF4-FFF2-40B4-BE49-F238E27FC236}">
                <a16:creationId xmlns:a16="http://schemas.microsoft.com/office/drawing/2014/main" id="{264806F9-36A1-F903-3D28-F34012E53E61}"/>
              </a:ext>
            </a:extLst>
          </p:cNvPr>
          <p:cNvSpPr/>
          <p:nvPr/>
        </p:nvSpPr>
        <p:spPr>
          <a:xfrm>
            <a:off x="665019" y="3472504"/>
            <a:ext cx="365760" cy="365760"/>
          </a:xfrm>
          <a:prstGeom prst="rect">
            <a:avLst/>
          </a:prstGeom>
          <a:solidFill>
            <a:srgbClr val="FFFFFF"/>
          </a:solidFill>
          <a:ln w="19050">
            <a:solidFill>
              <a:srgbClr val="027A87"/>
            </a:solidFill>
            <a:prstDash val="solid"/>
          </a:ln>
        </p:spPr>
        <p:txBody>
          <a:bodyPr/>
          <a:lstStyle/>
          <a:p>
            <a:endParaRPr lang="ru-RU" sz="2400" noProof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Text 16">
            <a:extLst>
              <a:ext uri="{FF2B5EF4-FFF2-40B4-BE49-F238E27FC236}">
                <a16:creationId xmlns:a16="http://schemas.microsoft.com/office/drawing/2014/main" id="{853C4E18-7CE9-269F-7E29-B93D92FEEBA9}"/>
              </a:ext>
            </a:extLst>
          </p:cNvPr>
          <p:cNvSpPr/>
          <p:nvPr/>
        </p:nvSpPr>
        <p:spPr>
          <a:xfrm>
            <a:off x="1274619" y="3350584"/>
            <a:ext cx="4267200" cy="60960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r>
              <a:rPr lang="ru-RU" sz="1467" b="1" noProof="1">
                <a:solidFill>
                  <a:srgbClr val="16303A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Сортировочные таблицы формата А3</a:t>
            </a:r>
            <a:endParaRPr lang="ru-RU" sz="1467" noProof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Text 17">
            <a:extLst>
              <a:ext uri="{FF2B5EF4-FFF2-40B4-BE49-F238E27FC236}">
                <a16:creationId xmlns:a16="http://schemas.microsoft.com/office/drawing/2014/main" id="{3B129949-B5DB-1AB3-8850-C904038A7E91}"/>
              </a:ext>
            </a:extLst>
          </p:cNvPr>
          <p:cNvSpPr/>
          <p:nvPr/>
        </p:nvSpPr>
        <p:spPr>
          <a:xfrm>
            <a:off x="5663739" y="3350584"/>
            <a:ext cx="6217920" cy="60960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r>
              <a:rPr lang="ru-RU" sz="1400" noProof="1">
                <a:solidFill>
                  <a:srgbClr val="3D6673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По одному на стол  ·  три колонки напечатаны заранее</a:t>
            </a:r>
            <a:endParaRPr lang="ru-RU" sz="1400" noProof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Shape 18">
            <a:extLst>
              <a:ext uri="{FF2B5EF4-FFF2-40B4-BE49-F238E27FC236}">
                <a16:creationId xmlns:a16="http://schemas.microsoft.com/office/drawing/2014/main" id="{A6011248-CA69-0875-092B-ACA9F77A240B}"/>
              </a:ext>
            </a:extLst>
          </p:cNvPr>
          <p:cNvSpPr/>
          <p:nvPr/>
        </p:nvSpPr>
        <p:spPr>
          <a:xfrm>
            <a:off x="543099" y="4021144"/>
            <a:ext cx="11460480" cy="609600"/>
          </a:xfrm>
          <a:prstGeom prst="rect">
            <a:avLst/>
          </a:prstGeom>
          <a:solidFill>
            <a:srgbClr val="FFFFFF"/>
          </a:solidFill>
          <a:ln w="5080">
            <a:solidFill>
              <a:srgbClr val="B2D8DE"/>
            </a:solidFill>
            <a:prstDash val="solid"/>
          </a:ln>
        </p:spPr>
        <p:txBody>
          <a:bodyPr/>
          <a:lstStyle/>
          <a:p>
            <a:endParaRPr lang="ru-RU" sz="2400" noProof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" name="Shape 19">
            <a:extLst>
              <a:ext uri="{FF2B5EF4-FFF2-40B4-BE49-F238E27FC236}">
                <a16:creationId xmlns:a16="http://schemas.microsoft.com/office/drawing/2014/main" id="{21F5299D-B52F-7B77-65B9-EFDA24033F8F}"/>
              </a:ext>
            </a:extLst>
          </p:cNvPr>
          <p:cNvSpPr/>
          <p:nvPr/>
        </p:nvSpPr>
        <p:spPr>
          <a:xfrm>
            <a:off x="665019" y="4143064"/>
            <a:ext cx="365760" cy="365760"/>
          </a:xfrm>
          <a:prstGeom prst="rect">
            <a:avLst/>
          </a:prstGeom>
          <a:solidFill>
            <a:srgbClr val="FFFFFF"/>
          </a:solidFill>
          <a:ln w="19050">
            <a:solidFill>
              <a:srgbClr val="027A87"/>
            </a:solidFill>
            <a:prstDash val="solid"/>
          </a:ln>
        </p:spPr>
        <p:txBody>
          <a:bodyPr/>
          <a:lstStyle/>
          <a:p>
            <a:endParaRPr lang="ru-RU" sz="2400" noProof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" name="Text 20">
            <a:extLst>
              <a:ext uri="{FF2B5EF4-FFF2-40B4-BE49-F238E27FC236}">
                <a16:creationId xmlns:a16="http://schemas.microsoft.com/office/drawing/2014/main" id="{AEEECB76-DBF4-A116-C40C-9BFFAC5E97E7}"/>
              </a:ext>
            </a:extLst>
          </p:cNvPr>
          <p:cNvSpPr/>
          <p:nvPr/>
        </p:nvSpPr>
        <p:spPr>
          <a:xfrm>
            <a:off x="1274619" y="4021144"/>
            <a:ext cx="4267200" cy="60960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r>
              <a:rPr lang="ru-RU" sz="1467" b="1" noProof="1">
                <a:solidFill>
                  <a:srgbClr val="16303A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Карточки SCAFFOLD</a:t>
            </a:r>
            <a:endParaRPr lang="ru-RU" sz="1467" noProof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2" name="Text 21">
            <a:extLst>
              <a:ext uri="{FF2B5EF4-FFF2-40B4-BE49-F238E27FC236}">
                <a16:creationId xmlns:a16="http://schemas.microsoft.com/office/drawing/2014/main" id="{4F4AD326-C219-9CF0-6EC1-5A53C36B3EA4}"/>
              </a:ext>
            </a:extLst>
          </p:cNvPr>
          <p:cNvSpPr/>
          <p:nvPr/>
        </p:nvSpPr>
        <p:spPr>
          <a:xfrm>
            <a:off x="5663739" y="4021144"/>
            <a:ext cx="6217920" cy="60960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r>
              <a:rPr lang="ru-RU" sz="1400" noProof="1">
                <a:solidFill>
                  <a:srgbClr val="3D6673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По одной на стол</a:t>
            </a:r>
            <a:endParaRPr lang="ru-RU" sz="1400" noProof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3" name="Shape 22">
            <a:extLst>
              <a:ext uri="{FF2B5EF4-FFF2-40B4-BE49-F238E27FC236}">
                <a16:creationId xmlns:a16="http://schemas.microsoft.com/office/drawing/2014/main" id="{CD9C166A-9E5E-E84E-8EA1-808B0E79221F}"/>
              </a:ext>
            </a:extLst>
          </p:cNvPr>
          <p:cNvSpPr/>
          <p:nvPr/>
        </p:nvSpPr>
        <p:spPr>
          <a:xfrm>
            <a:off x="543099" y="4691704"/>
            <a:ext cx="11460480" cy="609600"/>
          </a:xfrm>
          <a:prstGeom prst="rect">
            <a:avLst/>
          </a:prstGeom>
          <a:solidFill>
            <a:srgbClr val="D6F0F3"/>
          </a:solidFill>
          <a:ln w="5080">
            <a:solidFill>
              <a:srgbClr val="B2D8DE"/>
            </a:solidFill>
            <a:prstDash val="solid"/>
          </a:ln>
        </p:spPr>
        <p:txBody>
          <a:bodyPr/>
          <a:lstStyle/>
          <a:p>
            <a:endParaRPr lang="ru-RU" sz="2400" noProof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4" name="Shape 23">
            <a:extLst>
              <a:ext uri="{FF2B5EF4-FFF2-40B4-BE49-F238E27FC236}">
                <a16:creationId xmlns:a16="http://schemas.microsoft.com/office/drawing/2014/main" id="{C74E7AEF-60A0-B166-1D22-DFCD146FFDEC}"/>
              </a:ext>
            </a:extLst>
          </p:cNvPr>
          <p:cNvSpPr/>
          <p:nvPr/>
        </p:nvSpPr>
        <p:spPr>
          <a:xfrm>
            <a:off x="665019" y="4813624"/>
            <a:ext cx="365760" cy="365760"/>
          </a:xfrm>
          <a:prstGeom prst="rect">
            <a:avLst/>
          </a:prstGeom>
          <a:solidFill>
            <a:srgbClr val="FFFFFF"/>
          </a:solidFill>
          <a:ln w="19050">
            <a:solidFill>
              <a:srgbClr val="027A87"/>
            </a:solidFill>
            <a:prstDash val="solid"/>
          </a:ln>
        </p:spPr>
        <p:txBody>
          <a:bodyPr/>
          <a:lstStyle/>
          <a:p>
            <a:endParaRPr lang="ru-RU" sz="2400" noProof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5" name="Text 24">
            <a:extLst>
              <a:ext uri="{FF2B5EF4-FFF2-40B4-BE49-F238E27FC236}">
                <a16:creationId xmlns:a16="http://schemas.microsoft.com/office/drawing/2014/main" id="{8F96ADED-7B79-E158-A830-CF7F904F9BE5}"/>
              </a:ext>
            </a:extLst>
          </p:cNvPr>
          <p:cNvSpPr/>
          <p:nvPr/>
        </p:nvSpPr>
        <p:spPr>
          <a:xfrm>
            <a:off x="1274619" y="4691704"/>
            <a:ext cx="4267200" cy="60960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r>
              <a:rPr lang="ru-RU" sz="1467" b="1" noProof="1">
                <a:solidFill>
                  <a:srgbClr val="16303A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Стикеры (2 цвета)</a:t>
            </a:r>
            <a:endParaRPr lang="ru-RU" sz="1467" noProof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6" name="Text 25">
            <a:extLst>
              <a:ext uri="{FF2B5EF4-FFF2-40B4-BE49-F238E27FC236}">
                <a16:creationId xmlns:a16="http://schemas.microsoft.com/office/drawing/2014/main" id="{FF81B552-E334-D885-F584-92AC3691F988}"/>
              </a:ext>
            </a:extLst>
          </p:cNvPr>
          <p:cNvSpPr/>
          <p:nvPr/>
        </p:nvSpPr>
        <p:spPr>
          <a:xfrm>
            <a:off x="5663739" y="4691704"/>
            <a:ext cx="6217920" cy="60960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r>
              <a:rPr lang="ru-RU" sz="1400" noProof="1">
                <a:solidFill>
                  <a:srgbClr val="3D6673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Для активности «Спектр»</a:t>
            </a:r>
            <a:endParaRPr lang="ru-RU" sz="1400" noProof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7" name="Shape 26">
            <a:extLst>
              <a:ext uri="{FF2B5EF4-FFF2-40B4-BE49-F238E27FC236}">
                <a16:creationId xmlns:a16="http://schemas.microsoft.com/office/drawing/2014/main" id="{E7C322CC-6C19-3855-99BC-497E17CB46DF}"/>
              </a:ext>
            </a:extLst>
          </p:cNvPr>
          <p:cNvSpPr/>
          <p:nvPr/>
        </p:nvSpPr>
        <p:spPr>
          <a:xfrm>
            <a:off x="543099" y="5362264"/>
            <a:ext cx="11460480" cy="609600"/>
          </a:xfrm>
          <a:prstGeom prst="rect">
            <a:avLst/>
          </a:prstGeom>
          <a:solidFill>
            <a:srgbClr val="FFFFFF"/>
          </a:solidFill>
          <a:ln w="5080">
            <a:solidFill>
              <a:srgbClr val="B2D8DE"/>
            </a:solidFill>
            <a:prstDash val="solid"/>
          </a:ln>
        </p:spPr>
        <p:txBody>
          <a:bodyPr/>
          <a:lstStyle/>
          <a:p>
            <a:endParaRPr lang="ru-RU" sz="2400" noProof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8" name="Shape 27">
            <a:extLst>
              <a:ext uri="{FF2B5EF4-FFF2-40B4-BE49-F238E27FC236}">
                <a16:creationId xmlns:a16="http://schemas.microsoft.com/office/drawing/2014/main" id="{33C4301C-72D3-7B9F-3EBF-94AD1360113A}"/>
              </a:ext>
            </a:extLst>
          </p:cNvPr>
          <p:cNvSpPr/>
          <p:nvPr/>
        </p:nvSpPr>
        <p:spPr>
          <a:xfrm>
            <a:off x="665019" y="5484184"/>
            <a:ext cx="365760" cy="365760"/>
          </a:xfrm>
          <a:prstGeom prst="rect">
            <a:avLst/>
          </a:prstGeom>
          <a:solidFill>
            <a:srgbClr val="FFFFFF"/>
          </a:solidFill>
          <a:ln w="19050">
            <a:solidFill>
              <a:srgbClr val="027A87"/>
            </a:solidFill>
            <a:prstDash val="solid"/>
          </a:ln>
        </p:spPr>
        <p:txBody>
          <a:bodyPr/>
          <a:lstStyle/>
          <a:p>
            <a:endParaRPr lang="ru-RU" sz="2400" noProof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9" name="Text 28">
            <a:extLst>
              <a:ext uri="{FF2B5EF4-FFF2-40B4-BE49-F238E27FC236}">
                <a16:creationId xmlns:a16="http://schemas.microsoft.com/office/drawing/2014/main" id="{51E47323-0615-E442-6724-5A8C9E3748BB}"/>
              </a:ext>
            </a:extLst>
          </p:cNvPr>
          <p:cNvSpPr/>
          <p:nvPr/>
        </p:nvSpPr>
        <p:spPr>
          <a:xfrm>
            <a:off x="1274619" y="5362264"/>
            <a:ext cx="4267200" cy="60960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r>
              <a:rPr lang="ru-RU" sz="1467" b="1" noProof="1">
                <a:solidFill>
                  <a:srgbClr val="16303A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Демонстрация QR-кода</a:t>
            </a:r>
            <a:endParaRPr lang="ru-RU" sz="1467" noProof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0" name="Text 29">
            <a:extLst>
              <a:ext uri="{FF2B5EF4-FFF2-40B4-BE49-F238E27FC236}">
                <a16:creationId xmlns:a16="http://schemas.microsoft.com/office/drawing/2014/main" id="{204C6577-96D1-B40D-E3C7-57833D1EBCC5}"/>
              </a:ext>
            </a:extLst>
          </p:cNvPr>
          <p:cNvSpPr/>
          <p:nvPr/>
        </p:nvSpPr>
        <p:spPr>
          <a:xfrm>
            <a:off x="5663739" y="5362264"/>
            <a:ext cx="6217920" cy="60960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r>
              <a:rPr lang="ru-RU" sz="1400" noProof="1">
                <a:solidFill>
                  <a:srgbClr val="3D6673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Слайд или распечатанная карточка для рефлексии</a:t>
            </a:r>
            <a:endParaRPr lang="ru-RU" sz="1400" noProof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1" name="Shape 30">
            <a:extLst>
              <a:ext uri="{FF2B5EF4-FFF2-40B4-BE49-F238E27FC236}">
                <a16:creationId xmlns:a16="http://schemas.microsoft.com/office/drawing/2014/main" id="{2A748BA3-B93D-D4ED-0827-2C7CADD40648}"/>
              </a:ext>
            </a:extLst>
          </p:cNvPr>
          <p:cNvSpPr/>
          <p:nvPr/>
        </p:nvSpPr>
        <p:spPr>
          <a:xfrm>
            <a:off x="543099" y="6032824"/>
            <a:ext cx="11460480" cy="609600"/>
          </a:xfrm>
          <a:prstGeom prst="rect">
            <a:avLst/>
          </a:prstGeom>
          <a:solidFill>
            <a:srgbClr val="D6F0F3"/>
          </a:solidFill>
          <a:ln w="5080">
            <a:solidFill>
              <a:srgbClr val="B2D8DE"/>
            </a:solidFill>
            <a:prstDash val="solid"/>
          </a:ln>
        </p:spPr>
        <p:txBody>
          <a:bodyPr/>
          <a:lstStyle/>
          <a:p>
            <a:endParaRPr lang="ru-RU" sz="2400" noProof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2" name="Shape 31">
            <a:extLst>
              <a:ext uri="{FF2B5EF4-FFF2-40B4-BE49-F238E27FC236}">
                <a16:creationId xmlns:a16="http://schemas.microsoft.com/office/drawing/2014/main" id="{4E52BB62-DF68-6F31-AE85-519A54882967}"/>
              </a:ext>
            </a:extLst>
          </p:cNvPr>
          <p:cNvSpPr/>
          <p:nvPr/>
        </p:nvSpPr>
        <p:spPr>
          <a:xfrm>
            <a:off x="665019" y="6154744"/>
            <a:ext cx="365760" cy="365760"/>
          </a:xfrm>
          <a:prstGeom prst="rect">
            <a:avLst/>
          </a:prstGeom>
          <a:solidFill>
            <a:srgbClr val="FFFFFF"/>
          </a:solidFill>
          <a:ln w="19050">
            <a:solidFill>
              <a:srgbClr val="027A87"/>
            </a:solidFill>
            <a:prstDash val="solid"/>
          </a:ln>
        </p:spPr>
        <p:txBody>
          <a:bodyPr/>
          <a:lstStyle/>
          <a:p>
            <a:endParaRPr lang="ru-RU" sz="2400" noProof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3" name="Text 32">
            <a:extLst>
              <a:ext uri="{FF2B5EF4-FFF2-40B4-BE49-F238E27FC236}">
                <a16:creationId xmlns:a16="http://schemas.microsoft.com/office/drawing/2014/main" id="{BE946188-336A-5876-92A9-2284DBF13007}"/>
              </a:ext>
            </a:extLst>
          </p:cNvPr>
          <p:cNvSpPr/>
          <p:nvPr/>
        </p:nvSpPr>
        <p:spPr>
          <a:xfrm>
            <a:off x="1274619" y="6032824"/>
            <a:ext cx="4267200" cy="60960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r>
              <a:rPr lang="ru-RU" sz="1467" b="1" noProof="1">
                <a:solidFill>
                  <a:srgbClr val="16303A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Место на стене или флипчарт</a:t>
            </a:r>
            <a:endParaRPr lang="ru-RU" sz="1467" noProof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4" name="Text 33">
            <a:extLst>
              <a:ext uri="{FF2B5EF4-FFF2-40B4-BE49-F238E27FC236}">
                <a16:creationId xmlns:a16="http://schemas.microsoft.com/office/drawing/2014/main" id="{F4DE670E-A8B1-A495-1E0B-039E8CE5F611}"/>
              </a:ext>
            </a:extLst>
          </p:cNvPr>
          <p:cNvSpPr/>
          <p:nvPr/>
        </p:nvSpPr>
        <p:spPr>
          <a:xfrm>
            <a:off x="5663739" y="6032824"/>
            <a:ext cx="6217920" cy="60960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r>
              <a:rPr lang="ru-RU" sz="1400" noProof="1">
                <a:solidFill>
                  <a:srgbClr val="3D6673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Для группировки по «Спектру» — остаётся все три дня</a:t>
            </a:r>
            <a:endParaRPr lang="ru-RU" sz="1400" noProof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4019964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941183520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4911E04-2D80-1786-5E52-6D960903E4A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AF90EA15-ECBE-3156-2E29-EB39EED6E815}"/>
              </a:ext>
            </a:extLst>
          </p:cNvPr>
          <p:cNvSpPr/>
          <p:nvPr/>
        </p:nvSpPr>
        <p:spPr>
          <a:xfrm>
            <a:off x="552450" y="219075"/>
            <a:ext cx="1943100" cy="12287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noProof="1"/>
          </a:p>
        </p:txBody>
      </p:sp>
      <p:pic>
        <p:nvPicPr>
          <p:cNvPr id="10" name="Picture 9" descr="A blue flag with yellow stars&#10;&#10;AI-generated content may be incorrect.">
            <a:extLst>
              <a:ext uri="{FF2B5EF4-FFF2-40B4-BE49-F238E27FC236}">
                <a16:creationId xmlns:a16="http://schemas.microsoft.com/office/drawing/2014/main" id="{FC81A909-C9A7-4617-B081-CB0555E19F3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67" r="-524" b="5181"/>
          <a:stretch>
            <a:fillRect/>
          </a:stretch>
        </p:blipFill>
        <p:spPr bwMode="auto">
          <a:xfrm>
            <a:off x="10242394" y="7290"/>
            <a:ext cx="1783073" cy="1715333"/>
          </a:xfrm>
          <a:prstGeom prst="rect">
            <a:avLst/>
          </a:prstGeom>
          <a:noFill/>
        </p:spPr>
      </p:pic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3EDB2BB9-F625-4183-29AF-12408EBEF26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/>
        <p:txBody>
          <a:bodyPr/>
          <a:lstStyle/>
          <a:p>
            <a:endParaRPr lang="ru-RU" noProof="1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3208010A-70CF-B221-8A32-FEFEB8E42BB6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ru-RU" noProof="1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9746138B-11C5-BC0A-1A02-AAEB807FD11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ru-RU" noProof="1"/>
          </a:p>
        </p:txBody>
      </p:sp>
      <p:pic>
        <p:nvPicPr>
          <p:cNvPr id="12" name="Picture 11" descr="A blue text on a black background&#10;&#10;AI-generated content may be incorrect.">
            <a:extLst>
              <a:ext uri="{FF2B5EF4-FFF2-40B4-BE49-F238E27FC236}">
                <a16:creationId xmlns:a16="http://schemas.microsoft.com/office/drawing/2014/main" id="{ADF9B449-39D3-6717-2924-F3AE57B8A59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5293" y="89083"/>
            <a:ext cx="2030830" cy="1224303"/>
          </a:xfrm>
          <a:prstGeom prst="rect">
            <a:avLst/>
          </a:prstGeom>
          <a:noFill/>
        </p:spPr>
      </p:pic>
      <p:pic>
        <p:nvPicPr>
          <p:cNvPr id="15" name="Picture 14" descr="A logo with stars and text&#10;&#10;AI-generated content may be incorrect.">
            <a:extLst>
              <a:ext uri="{FF2B5EF4-FFF2-40B4-BE49-F238E27FC236}">
                <a16:creationId xmlns:a16="http://schemas.microsoft.com/office/drawing/2014/main" id="{27F5E540-267A-3B94-0D74-6A8667F373AE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81196" y="5210046"/>
            <a:ext cx="2111127" cy="1713490"/>
          </a:xfrm>
          <a:prstGeom prst="rect">
            <a:avLst/>
          </a:prstGeom>
        </p:spPr>
      </p:pic>
      <p:sp>
        <p:nvSpPr>
          <p:cNvPr id="2" name="TextBox 2">
            <a:extLst>
              <a:ext uri="{FF2B5EF4-FFF2-40B4-BE49-F238E27FC236}">
                <a16:creationId xmlns:a16="http://schemas.microsoft.com/office/drawing/2014/main" id="{675529F2-CB54-7F0D-BB69-21BA2555F505}"/>
              </a:ext>
            </a:extLst>
          </p:cNvPr>
          <p:cNvSpPr txBox="1"/>
          <p:nvPr/>
        </p:nvSpPr>
        <p:spPr>
          <a:xfrm>
            <a:off x="176045" y="2020180"/>
            <a:ext cx="7361854" cy="4016356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>
            <a:defPPr>
              <a:defRPr lang="en-GB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ru-RU" sz="3600" b="1" kern="100" noProof="1">
                <a:solidFill>
                  <a:schemeClr val="tx1">
                    <a:lumMod val="65000"/>
                    <a:lumOff val="35000"/>
                  </a:schemeClr>
                </a:solidFill>
                <a:ea typeface="+mn-lt"/>
                <a:cs typeface="+mn-lt"/>
              </a:rPr>
              <a:t>Перерыв на кофе и общее фото</a:t>
            </a:r>
            <a:endParaRPr lang="ru-RU" sz="3600" b="1" noProof="1">
              <a:solidFill>
                <a:schemeClr val="tx1">
                  <a:lumMod val="65000"/>
                  <a:lumOff val="35000"/>
                </a:schemeClr>
              </a:solidFill>
              <a:cs typeface="Arial"/>
            </a:endParaRPr>
          </a:p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ru-RU" sz="3600" b="1" kern="100" noProof="1">
                <a:solidFill>
                  <a:schemeClr val="tx1">
                    <a:lumMod val="65000"/>
                    <a:lumOff val="35000"/>
                  </a:schemeClr>
                </a:solidFill>
                <a:cs typeface="Arial"/>
              </a:rPr>
              <a:t>10:45 – 11:10</a:t>
            </a:r>
          </a:p>
          <a:p>
            <a:pPr algn="ctr">
              <a:lnSpc>
                <a:spcPct val="107000"/>
              </a:lnSpc>
              <a:spcAft>
                <a:spcPts val="800"/>
              </a:spcAft>
            </a:pPr>
            <a:endParaRPr lang="ru-RU" sz="3600" b="1" kern="100" noProof="1">
              <a:solidFill>
                <a:schemeClr val="tx1">
                  <a:lumMod val="65000"/>
                  <a:lumOff val="35000"/>
                </a:schemeClr>
              </a:solidFill>
              <a:cs typeface="Arial"/>
            </a:endParaRPr>
          </a:p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ru-RU" sz="3600" b="1" kern="100" noProof="1">
                <a:solidFill>
                  <a:schemeClr val="tx1">
                    <a:lumMod val="65000"/>
                    <a:lumOff val="35000"/>
                  </a:schemeClr>
                </a:solidFill>
                <a:cs typeface="Arial"/>
              </a:rPr>
              <a:t>Coffee break and group photo</a:t>
            </a:r>
          </a:p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ru-RU" sz="3600" b="1" kern="100" noProof="1">
                <a:solidFill>
                  <a:schemeClr val="tx1">
                    <a:lumMod val="65000"/>
                    <a:lumOff val="35000"/>
                  </a:schemeClr>
                </a:solidFill>
                <a:cs typeface="Arial"/>
              </a:rPr>
              <a:t>10:45 – 11:10</a:t>
            </a:r>
            <a:endParaRPr lang="ru-RU" sz="3200" b="1" noProof="1">
              <a:cs typeface="Arial" panose="020B0604020202020204"/>
            </a:endParaRPr>
          </a:p>
        </p:txBody>
      </p:sp>
    </p:spTree>
    <p:extLst>
      <p:ext uri="{BB962C8B-B14F-4D97-AF65-F5344CB8AC3E}">
        <p14:creationId xmlns:p14="http://schemas.microsoft.com/office/powerpoint/2010/main" val="216762171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FBAB178-7BBA-E894-411A-ACC55FBB84E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0">
            <a:extLst>
              <a:ext uri="{FF2B5EF4-FFF2-40B4-BE49-F238E27FC236}">
                <a16:creationId xmlns:a16="http://schemas.microsoft.com/office/drawing/2014/main" id="{15DA4ED3-D024-FC1D-2947-869B9AF20E44}"/>
              </a:ext>
            </a:extLst>
          </p:cNvPr>
          <p:cNvSpPr/>
          <p:nvPr/>
        </p:nvSpPr>
        <p:spPr>
          <a:xfrm>
            <a:off x="7315200" y="-487680"/>
            <a:ext cx="5120640" cy="548640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algn="r"/>
            <a:r>
              <a:rPr lang="ru-RU" sz="42666" b="1" noProof="1">
                <a:solidFill>
                  <a:srgbClr val="0092BB">
                    <a:alpha val="40000"/>
                  </a:srgbClr>
                </a:solidFill>
                <a:latin typeface="Arial" panose="020B0604020202020204" pitchFamily="34" charset="0"/>
                <a:ea typeface="Trebuchet MS" pitchFamily="34" charset="-122"/>
                <a:cs typeface="Arial" panose="020B0604020202020204" pitchFamily="34" charset="0"/>
              </a:rPr>
              <a:t>02</a:t>
            </a:r>
            <a:endParaRPr lang="ru-RU" sz="42666" noProof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Shape 1">
            <a:extLst>
              <a:ext uri="{FF2B5EF4-FFF2-40B4-BE49-F238E27FC236}">
                <a16:creationId xmlns:a16="http://schemas.microsoft.com/office/drawing/2014/main" id="{2C8D8619-3955-915E-D32A-8708F28A2BC9}"/>
              </a:ext>
            </a:extLst>
          </p:cNvPr>
          <p:cNvSpPr/>
          <p:nvPr/>
        </p:nvSpPr>
        <p:spPr>
          <a:xfrm>
            <a:off x="670560" y="1524000"/>
            <a:ext cx="85344" cy="2743200"/>
          </a:xfrm>
          <a:prstGeom prst="rect">
            <a:avLst/>
          </a:prstGeom>
          <a:solidFill>
            <a:srgbClr val="FFDC00"/>
          </a:solidFill>
          <a:ln w="12700">
            <a:solidFill>
              <a:srgbClr val="FFDC00"/>
            </a:solidFill>
            <a:prstDash val="solid"/>
          </a:ln>
        </p:spPr>
        <p:txBody>
          <a:bodyPr/>
          <a:lstStyle/>
          <a:p>
            <a:endParaRPr lang="ru-RU" sz="2400" noProof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Text 2">
            <a:extLst>
              <a:ext uri="{FF2B5EF4-FFF2-40B4-BE49-F238E27FC236}">
                <a16:creationId xmlns:a16="http://schemas.microsoft.com/office/drawing/2014/main" id="{3EAC5895-9B42-A9AF-1EAB-77DE1E4C6844}"/>
              </a:ext>
            </a:extLst>
          </p:cNvPr>
          <p:cNvSpPr/>
          <p:nvPr/>
        </p:nvSpPr>
        <p:spPr>
          <a:xfrm>
            <a:off x="914400" y="1975104"/>
            <a:ext cx="9144000" cy="146304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lvl="0">
              <a:defRPr/>
            </a:pPr>
            <a:r>
              <a:rPr lang="ru-RU" sz="3200" b="1" noProof="1">
                <a:solidFill>
                  <a:srgbClr val="FFFFFF"/>
                </a:solidFill>
                <a:latin typeface="Arial" panose="020B0604020202020204" pitchFamily="34" charset="0"/>
                <a:ea typeface="Georgia" pitchFamily="34" charset="-122"/>
                <a:cs typeface="Arial" panose="020B0604020202020204" pitchFamily="34" charset="0"/>
              </a:rPr>
              <a:t>Ваш компас профессионального развития педагога</a:t>
            </a:r>
            <a:endParaRPr lang="ru-RU" sz="32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Shape 3">
            <a:extLst>
              <a:ext uri="{FF2B5EF4-FFF2-40B4-BE49-F238E27FC236}">
                <a16:creationId xmlns:a16="http://schemas.microsoft.com/office/drawing/2014/main" id="{79DDE542-ECDD-1E2D-1482-BE62D4532A39}"/>
              </a:ext>
            </a:extLst>
          </p:cNvPr>
          <p:cNvSpPr/>
          <p:nvPr/>
        </p:nvSpPr>
        <p:spPr>
          <a:xfrm>
            <a:off x="1072896" y="3779520"/>
            <a:ext cx="3413760" cy="512064"/>
          </a:xfrm>
          <a:prstGeom prst="roundRect">
            <a:avLst>
              <a:gd name="adj" fmla="val 14286"/>
            </a:avLst>
          </a:prstGeom>
          <a:solidFill>
            <a:srgbClr val="FFDC00"/>
          </a:solidFill>
          <a:ln w="12700">
            <a:solidFill>
              <a:srgbClr val="FFDC00"/>
            </a:solidFill>
            <a:prstDash val="solid"/>
          </a:ln>
        </p:spPr>
        <p:txBody>
          <a:bodyPr/>
          <a:lstStyle/>
          <a:p>
            <a:endParaRPr lang="ru-RU" sz="2400" noProof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Text 4">
            <a:extLst>
              <a:ext uri="{FF2B5EF4-FFF2-40B4-BE49-F238E27FC236}">
                <a16:creationId xmlns:a16="http://schemas.microsoft.com/office/drawing/2014/main" id="{5D1F9528-9DE1-86FC-DD6C-28E1CE45F7E1}"/>
              </a:ext>
            </a:extLst>
          </p:cNvPr>
          <p:cNvSpPr/>
          <p:nvPr/>
        </p:nvSpPr>
        <p:spPr>
          <a:xfrm>
            <a:off x="1072896" y="3779520"/>
            <a:ext cx="3255264" cy="512064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lvl="0" algn="ctr">
              <a:defRPr/>
            </a:pPr>
            <a:r>
              <a:rPr lang="ru-RU" sz="1867" b="1" noProof="1">
                <a:solidFill>
                  <a:schemeClr val="accent2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11:10 – 13:00  |  120 минут</a:t>
            </a:r>
            <a:endParaRPr lang="ru-RU" sz="1867" noProof="1">
              <a:solidFill>
                <a:schemeClr val="accent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800BD92-E824-D881-2D41-364EEE9F806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72897" y="1175400"/>
            <a:ext cx="10944225" cy="1080120"/>
          </a:xfrm>
        </p:spPr>
        <p:txBody>
          <a:bodyPr/>
          <a:lstStyle/>
          <a:p>
            <a:r>
              <a:rPr lang="ru-RU" sz="3200" noProof="1">
                <a:solidFill>
                  <a:schemeClr val="accent4"/>
                </a:solidFill>
                <a:latin typeface="Arial" panose="020B0604020202020204" pitchFamily="34" charset="0"/>
                <a:ea typeface="Georgia" pitchFamily="34" charset="-122"/>
              </a:rPr>
              <a:t>Сессия 2</a:t>
            </a:r>
            <a:endParaRPr lang="ru-RU" noProof="1">
              <a:solidFill>
                <a:schemeClr val="accent4"/>
              </a:solidFill>
              <a:latin typeface="Arial" panose="020B0604020202020204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659B247F-B5AD-0789-EFD9-F50567CFACD0}"/>
              </a:ext>
            </a:extLst>
          </p:cNvPr>
          <p:cNvSpPr txBox="1"/>
          <p:nvPr/>
        </p:nvSpPr>
        <p:spPr>
          <a:xfrm>
            <a:off x="914401" y="4444724"/>
            <a:ext cx="427555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ru-RU" sz="1400" i="1" noProof="1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Shape 7">
            <a:extLst>
              <a:ext uri="{FF2B5EF4-FFF2-40B4-BE49-F238E27FC236}">
                <a16:creationId xmlns:a16="http://schemas.microsoft.com/office/drawing/2014/main" id="{B7D4CC95-30CF-C6F8-54DE-CF5D4B38632B}"/>
              </a:ext>
            </a:extLst>
          </p:cNvPr>
          <p:cNvSpPr/>
          <p:nvPr/>
        </p:nvSpPr>
        <p:spPr>
          <a:xfrm>
            <a:off x="670560" y="4754880"/>
            <a:ext cx="3779520" cy="1662545"/>
          </a:xfrm>
          <a:prstGeom prst="rect">
            <a:avLst/>
          </a:prstGeom>
          <a:noFill/>
          <a:ln w="10160">
            <a:solidFill>
              <a:srgbClr val="039AAA"/>
            </a:solidFill>
            <a:prstDash val="solid"/>
          </a:ln>
        </p:spPr>
        <p:txBody>
          <a:bodyPr/>
          <a:lstStyle/>
          <a:p>
            <a:pPr defTabSz="1219170">
              <a:defRPr/>
            </a:pPr>
            <a:endParaRPr lang="ru-RU" sz="16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Text 8">
            <a:extLst>
              <a:ext uri="{FF2B5EF4-FFF2-40B4-BE49-F238E27FC236}">
                <a16:creationId xmlns:a16="http://schemas.microsoft.com/office/drawing/2014/main" id="{CF9713D2-2536-771C-E676-B388547C5B7F}"/>
              </a:ext>
            </a:extLst>
          </p:cNvPr>
          <p:cNvSpPr/>
          <p:nvPr/>
        </p:nvSpPr>
        <p:spPr>
          <a:xfrm>
            <a:off x="853440" y="4840224"/>
            <a:ext cx="3509555" cy="453421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600" b="1" kern="0" spc="200" noProof="1">
                <a:solidFill>
                  <a:schemeClr val="accent4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ЧАСТЬ 1</a:t>
            </a:r>
            <a:endParaRPr lang="ru-RU" sz="1600" noProof="1">
              <a:solidFill>
                <a:schemeClr val="accent4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Text 9">
            <a:extLst>
              <a:ext uri="{FF2B5EF4-FFF2-40B4-BE49-F238E27FC236}">
                <a16:creationId xmlns:a16="http://schemas.microsoft.com/office/drawing/2014/main" id="{16BF8F52-13F8-0843-C356-E892C61488F9}"/>
              </a:ext>
            </a:extLst>
          </p:cNvPr>
          <p:cNvSpPr/>
          <p:nvPr/>
        </p:nvSpPr>
        <p:spPr>
          <a:xfrm>
            <a:off x="853440" y="5218176"/>
            <a:ext cx="3509555" cy="528992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600" b="1" noProof="1">
                <a:solidFill>
                  <a:srgbClr val="FFFFFF"/>
                </a:solidFill>
                <a:latin typeface="Arial" panose="020B0604020202020204" pitchFamily="34" charset="0"/>
                <a:ea typeface="Georgia" pitchFamily="34" charset="-122"/>
                <a:cs typeface="Arial" panose="020B0604020202020204" pitchFamily="34" charset="0"/>
              </a:rPr>
              <a:t>CPD COMPASS</a:t>
            </a:r>
            <a:endParaRPr lang="ru-RU" sz="16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Text 10">
            <a:extLst>
              <a:ext uri="{FF2B5EF4-FFF2-40B4-BE49-F238E27FC236}">
                <a16:creationId xmlns:a16="http://schemas.microsoft.com/office/drawing/2014/main" id="{F4807801-B79D-F6BD-4C59-9B2FDAFA8CF0}"/>
              </a:ext>
            </a:extLst>
          </p:cNvPr>
          <p:cNvSpPr/>
          <p:nvPr/>
        </p:nvSpPr>
        <p:spPr>
          <a:xfrm>
            <a:off x="853440" y="5669280"/>
            <a:ext cx="3509555" cy="423193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600" noProof="1">
                <a:solidFill>
                  <a:schemeClr val="bg1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11:00 – 11:45</a:t>
            </a:r>
            <a:endParaRPr lang="ru-RU" sz="1600" noProof="1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Shape 11">
            <a:extLst>
              <a:ext uri="{FF2B5EF4-FFF2-40B4-BE49-F238E27FC236}">
                <a16:creationId xmlns:a16="http://schemas.microsoft.com/office/drawing/2014/main" id="{09AE0FE7-5E38-36FD-99D8-5491820EAE1C}"/>
              </a:ext>
            </a:extLst>
          </p:cNvPr>
          <p:cNvSpPr/>
          <p:nvPr/>
        </p:nvSpPr>
        <p:spPr>
          <a:xfrm>
            <a:off x="4871257" y="4754880"/>
            <a:ext cx="3779520" cy="1662545"/>
          </a:xfrm>
          <a:prstGeom prst="rect">
            <a:avLst/>
          </a:prstGeom>
          <a:noFill/>
          <a:ln w="10160">
            <a:solidFill>
              <a:srgbClr val="039AAA"/>
            </a:solidFill>
            <a:prstDash val="solid"/>
          </a:ln>
        </p:spPr>
        <p:txBody>
          <a:bodyPr/>
          <a:lstStyle/>
          <a:p>
            <a:pPr defTabSz="1219170">
              <a:defRPr/>
            </a:pPr>
            <a:endParaRPr lang="ru-RU" sz="16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Text 12">
            <a:extLst>
              <a:ext uri="{FF2B5EF4-FFF2-40B4-BE49-F238E27FC236}">
                <a16:creationId xmlns:a16="http://schemas.microsoft.com/office/drawing/2014/main" id="{17DCDB8F-F05D-A884-2575-6DD48D676C8B}"/>
              </a:ext>
            </a:extLst>
          </p:cNvPr>
          <p:cNvSpPr/>
          <p:nvPr/>
        </p:nvSpPr>
        <p:spPr>
          <a:xfrm>
            <a:off x="5054137" y="4840224"/>
            <a:ext cx="3509555" cy="453421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600" b="1" kern="0" spc="200" noProof="1">
                <a:solidFill>
                  <a:schemeClr val="accent4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ЧАСТЬ 2</a:t>
            </a:r>
            <a:endParaRPr lang="ru-RU" sz="1600" noProof="1">
              <a:solidFill>
                <a:schemeClr val="accent4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Text 13">
            <a:extLst>
              <a:ext uri="{FF2B5EF4-FFF2-40B4-BE49-F238E27FC236}">
                <a16:creationId xmlns:a16="http://schemas.microsoft.com/office/drawing/2014/main" id="{BDBEA66D-45D0-C387-F3C0-61AA56061C87}"/>
              </a:ext>
            </a:extLst>
          </p:cNvPr>
          <p:cNvSpPr/>
          <p:nvPr/>
        </p:nvSpPr>
        <p:spPr>
          <a:xfrm>
            <a:off x="5054137" y="5218176"/>
            <a:ext cx="3509555" cy="528992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600" b="1" noProof="1">
                <a:solidFill>
                  <a:srgbClr val="FFFFFF"/>
                </a:solidFill>
                <a:latin typeface="Arial" panose="020B0604020202020204" pitchFamily="34" charset="0"/>
                <a:ea typeface="Georgia" pitchFamily="34" charset="-122"/>
                <a:cs typeface="Arial" panose="020B0604020202020204" pitchFamily="34" charset="0"/>
              </a:rPr>
              <a:t>Сопоставление с рамками</a:t>
            </a:r>
            <a:endParaRPr lang="ru-RU" sz="16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Text 14">
            <a:extLst>
              <a:ext uri="{FF2B5EF4-FFF2-40B4-BE49-F238E27FC236}">
                <a16:creationId xmlns:a16="http://schemas.microsoft.com/office/drawing/2014/main" id="{5CF24851-D614-D543-6955-FDD5829D1636}"/>
              </a:ext>
            </a:extLst>
          </p:cNvPr>
          <p:cNvSpPr/>
          <p:nvPr/>
        </p:nvSpPr>
        <p:spPr>
          <a:xfrm>
            <a:off x="5054137" y="5669280"/>
            <a:ext cx="3509555" cy="423193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600" noProof="1">
                <a:solidFill>
                  <a:schemeClr val="bg1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11:45 – 13:00</a:t>
            </a:r>
            <a:endParaRPr lang="ru-RU" sz="1600" noProof="1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0055185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0307D81C-5EEB-FE36-8836-0C31CB8A608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DB84476-BC29-4407-9D57-B2E562B8968B}" type="slidenum">
              <a:rPr lang="ru-RU" noProof="1" smtClean="0"/>
              <a:pPr/>
              <a:t>26</a:t>
            </a:fld>
            <a:endParaRPr lang="ru-RU" noProof="1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F8390D50-A728-3625-451C-14786B3E746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noProof="1"/>
              <a:t>Ожидаемые результаты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2D7BB886-6054-D355-1EBC-3C9BC8ABA7F6}"/>
              </a:ext>
            </a:extLst>
          </p:cNvPr>
          <p:cNvSpPr txBox="1"/>
          <p:nvPr/>
        </p:nvSpPr>
        <p:spPr>
          <a:xfrm>
            <a:off x="635316" y="1502564"/>
            <a:ext cx="10069469" cy="132343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2000" noProof="1">
                <a:solidFill>
                  <a:schemeClr val="bg1"/>
                </a:solidFill>
              </a:rPr>
              <a:t>Проанализировать профессиональное развитие педагогов в контексте вашей работы и страны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2000" noProof="1">
                <a:solidFill>
                  <a:schemeClr val="bg1"/>
                </a:solidFill>
              </a:rPr>
              <a:t>Определить способы развития или улучшения одной программы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2000" noProof="1">
                <a:solidFill>
                  <a:schemeClr val="bg1"/>
                </a:solidFill>
              </a:rPr>
              <a:t>Выявить барьеры для такого развития</a:t>
            </a:r>
          </a:p>
        </p:txBody>
      </p:sp>
    </p:spTree>
    <p:extLst>
      <p:ext uri="{BB962C8B-B14F-4D97-AF65-F5344CB8AC3E}">
        <p14:creationId xmlns:p14="http://schemas.microsoft.com/office/powerpoint/2010/main" val="420958234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D1FC845C-C3B1-0F3F-EB91-07F82942FE4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noProof="1">
                <a:latin typeface="Arial" panose="020B0604020202020204" pitchFamily="34" charset="0"/>
              </a:rPr>
              <a:t>СЕССИЯ 2  |  ОБЗОР</a:t>
            </a:r>
          </a:p>
        </p:txBody>
      </p:sp>
      <p:sp>
        <p:nvSpPr>
          <p:cNvPr id="4" name="Text 2">
            <a:extLst>
              <a:ext uri="{FF2B5EF4-FFF2-40B4-BE49-F238E27FC236}">
                <a16:creationId xmlns:a16="http://schemas.microsoft.com/office/drawing/2014/main" id="{77B82A74-27F9-3095-4D67-17A8582A22FE}"/>
              </a:ext>
            </a:extLst>
          </p:cNvPr>
          <p:cNvSpPr/>
          <p:nvPr/>
        </p:nvSpPr>
        <p:spPr>
          <a:xfrm>
            <a:off x="696277" y="1289204"/>
            <a:ext cx="1950720" cy="42672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333" b="1" kern="0" spc="133" noProof="1">
                <a:solidFill>
                  <a:schemeClr val="bg1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ВРЕМЯ</a:t>
            </a:r>
            <a:endParaRPr lang="ru-RU" sz="1333" noProof="1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Text 3">
            <a:extLst>
              <a:ext uri="{FF2B5EF4-FFF2-40B4-BE49-F238E27FC236}">
                <a16:creationId xmlns:a16="http://schemas.microsoft.com/office/drawing/2014/main" id="{40DBCC9F-7192-D2BB-9371-EECE2C69893E}"/>
              </a:ext>
            </a:extLst>
          </p:cNvPr>
          <p:cNvSpPr/>
          <p:nvPr/>
        </p:nvSpPr>
        <p:spPr>
          <a:xfrm>
            <a:off x="2890837" y="1289204"/>
            <a:ext cx="6949440" cy="42672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333" b="1" kern="0" spc="133" noProof="1">
                <a:solidFill>
                  <a:schemeClr val="bg1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АКТИВНОСТЬ</a:t>
            </a:r>
            <a:endParaRPr lang="ru-RU" sz="1333" noProof="1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Text 4">
            <a:extLst>
              <a:ext uri="{FF2B5EF4-FFF2-40B4-BE49-F238E27FC236}">
                <a16:creationId xmlns:a16="http://schemas.microsoft.com/office/drawing/2014/main" id="{E3E1C3B0-BA04-0CAC-C831-3C9675B65142}"/>
              </a:ext>
            </a:extLst>
          </p:cNvPr>
          <p:cNvSpPr/>
          <p:nvPr/>
        </p:nvSpPr>
        <p:spPr>
          <a:xfrm>
            <a:off x="8977745" y="1311931"/>
            <a:ext cx="2194560" cy="42672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333" b="1" kern="0" spc="133" noProof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ФОРМАТ</a:t>
            </a:r>
            <a:endParaRPr lang="ru-RU" sz="1333" noProof="1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Shape 5">
            <a:extLst>
              <a:ext uri="{FF2B5EF4-FFF2-40B4-BE49-F238E27FC236}">
                <a16:creationId xmlns:a16="http://schemas.microsoft.com/office/drawing/2014/main" id="{977C00AB-FCE6-6435-0CE5-FE285F87EA51}"/>
              </a:ext>
            </a:extLst>
          </p:cNvPr>
          <p:cNvSpPr/>
          <p:nvPr/>
        </p:nvSpPr>
        <p:spPr>
          <a:xfrm>
            <a:off x="635317" y="1764692"/>
            <a:ext cx="11216640" cy="438912"/>
          </a:xfrm>
          <a:prstGeom prst="rect">
            <a:avLst/>
          </a:prstGeom>
          <a:solidFill>
            <a:schemeClr val="accent2"/>
          </a:solidFill>
          <a:ln w="12700">
            <a:solidFill>
              <a:srgbClr val="027A87"/>
            </a:solidFill>
            <a:prstDash val="solid"/>
          </a:ln>
        </p:spPr>
        <p:txBody>
          <a:bodyPr/>
          <a:lstStyle/>
          <a:p>
            <a:pPr defTabSz="1219170">
              <a:defRPr/>
            </a:pPr>
            <a:endParaRPr lang="ru-RU" sz="24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Text 6">
            <a:extLst>
              <a:ext uri="{FF2B5EF4-FFF2-40B4-BE49-F238E27FC236}">
                <a16:creationId xmlns:a16="http://schemas.microsoft.com/office/drawing/2014/main" id="{8B02D841-5855-93CA-CAFC-507F7FADE71A}"/>
              </a:ext>
            </a:extLst>
          </p:cNvPr>
          <p:cNvSpPr/>
          <p:nvPr/>
        </p:nvSpPr>
        <p:spPr>
          <a:xfrm>
            <a:off x="879157" y="1764692"/>
            <a:ext cx="11216640" cy="438912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333" b="1" kern="0" spc="133" noProof="1">
                <a:solidFill>
                  <a:srgbClr val="FFFFFF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ЧАСТЬ 1 —Компас профессионального развития педагога</a:t>
            </a:r>
            <a:endParaRPr lang="ru-RU" sz="1333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Shape 7">
            <a:extLst>
              <a:ext uri="{FF2B5EF4-FFF2-40B4-BE49-F238E27FC236}">
                <a16:creationId xmlns:a16="http://schemas.microsoft.com/office/drawing/2014/main" id="{BF15FD33-DBDB-6485-3ADE-9FA2ADED4D53}"/>
              </a:ext>
            </a:extLst>
          </p:cNvPr>
          <p:cNvSpPr/>
          <p:nvPr/>
        </p:nvSpPr>
        <p:spPr>
          <a:xfrm>
            <a:off x="635319" y="2264564"/>
            <a:ext cx="11216640" cy="463296"/>
          </a:xfrm>
          <a:prstGeom prst="rect">
            <a:avLst/>
          </a:prstGeom>
          <a:solidFill>
            <a:srgbClr val="D6F0F3"/>
          </a:solidFill>
          <a:ln w="5080">
            <a:solidFill>
              <a:srgbClr val="B2D8DE"/>
            </a:solidFill>
            <a:prstDash val="solid"/>
          </a:ln>
        </p:spPr>
        <p:txBody>
          <a:bodyPr/>
          <a:lstStyle/>
          <a:p>
            <a:pPr defTabSz="1219170">
              <a:defRPr/>
            </a:pPr>
            <a:endParaRPr lang="ru-RU" sz="24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Text 8">
            <a:extLst>
              <a:ext uri="{FF2B5EF4-FFF2-40B4-BE49-F238E27FC236}">
                <a16:creationId xmlns:a16="http://schemas.microsoft.com/office/drawing/2014/main" id="{AD511301-F753-D998-6EF2-C62739FBB1D9}"/>
              </a:ext>
            </a:extLst>
          </p:cNvPr>
          <p:cNvSpPr/>
          <p:nvPr/>
        </p:nvSpPr>
        <p:spPr>
          <a:xfrm>
            <a:off x="696277" y="2301140"/>
            <a:ext cx="1950720" cy="390144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333" b="1" noProof="1">
                <a:solidFill>
                  <a:srgbClr val="027A87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11:00 – 11:05</a:t>
            </a:r>
            <a:endParaRPr lang="ru-RU" sz="1333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Text 9">
            <a:extLst>
              <a:ext uri="{FF2B5EF4-FFF2-40B4-BE49-F238E27FC236}">
                <a16:creationId xmlns:a16="http://schemas.microsoft.com/office/drawing/2014/main" id="{84775E65-E2A4-BEF9-4F49-DD7286296E7F}"/>
              </a:ext>
            </a:extLst>
          </p:cNvPr>
          <p:cNvSpPr/>
          <p:nvPr/>
        </p:nvSpPr>
        <p:spPr>
          <a:xfrm>
            <a:off x="2890837" y="2301140"/>
            <a:ext cx="6949440" cy="390144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400" noProof="1">
                <a:solidFill>
                  <a:srgbClr val="16303A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Введение фасилитатора — оси CPD COMPASS</a:t>
            </a:r>
            <a:endParaRPr lang="ru-RU" sz="14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Text 10">
            <a:extLst>
              <a:ext uri="{FF2B5EF4-FFF2-40B4-BE49-F238E27FC236}">
                <a16:creationId xmlns:a16="http://schemas.microsoft.com/office/drawing/2014/main" id="{A2CAD25B-6B03-AE0B-B0D0-56641B2197BD}"/>
              </a:ext>
            </a:extLst>
          </p:cNvPr>
          <p:cNvSpPr/>
          <p:nvPr/>
        </p:nvSpPr>
        <p:spPr>
          <a:xfrm>
            <a:off x="8977745" y="2301140"/>
            <a:ext cx="2392075" cy="390144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267" noProof="1">
                <a:solidFill>
                  <a:srgbClr val="3D6673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Пленарное заседание</a:t>
            </a:r>
            <a:endParaRPr lang="ru-RU" sz="1267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Shape 11">
            <a:extLst>
              <a:ext uri="{FF2B5EF4-FFF2-40B4-BE49-F238E27FC236}">
                <a16:creationId xmlns:a16="http://schemas.microsoft.com/office/drawing/2014/main" id="{0837D13E-8C42-0634-8858-FA2FAC3F2388}"/>
              </a:ext>
            </a:extLst>
          </p:cNvPr>
          <p:cNvSpPr/>
          <p:nvPr/>
        </p:nvSpPr>
        <p:spPr>
          <a:xfrm>
            <a:off x="635317" y="2764436"/>
            <a:ext cx="11216640" cy="463296"/>
          </a:xfrm>
          <a:prstGeom prst="rect">
            <a:avLst/>
          </a:prstGeom>
          <a:solidFill>
            <a:srgbClr val="FFFFFF"/>
          </a:solidFill>
          <a:ln w="5080">
            <a:solidFill>
              <a:srgbClr val="B2D8DE"/>
            </a:solidFill>
            <a:prstDash val="solid"/>
          </a:ln>
        </p:spPr>
        <p:txBody>
          <a:bodyPr/>
          <a:lstStyle/>
          <a:p>
            <a:pPr defTabSz="1219170">
              <a:defRPr/>
            </a:pPr>
            <a:endParaRPr lang="ru-RU" sz="24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Text 12">
            <a:extLst>
              <a:ext uri="{FF2B5EF4-FFF2-40B4-BE49-F238E27FC236}">
                <a16:creationId xmlns:a16="http://schemas.microsoft.com/office/drawing/2014/main" id="{E29C411E-5C72-341F-EAE3-DFB2F4248F39}"/>
              </a:ext>
            </a:extLst>
          </p:cNvPr>
          <p:cNvSpPr/>
          <p:nvPr/>
        </p:nvSpPr>
        <p:spPr>
          <a:xfrm>
            <a:off x="696277" y="2801012"/>
            <a:ext cx="1950720" cy="390144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333" b="1" noProof="1">
                <a:solidFill>
                  <a:srgbClr val="027A87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11:05 – 11:20</a:t>
            </a:r>
            <a:endParaRPr lang="ru-RU" sz="1333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Text 13">
            <a:extLst>
              <a:ext uri="{FF2B5EF4-FFF2-40B4-BE49-F238E27FC236}">
                <a16:creationId xmlns:a16="http://schemas.microsoft.com/office/drawing/2014/main" id="{4F8713F0-EA3B-2386-A186-BBF34A4AB6FD}"/>
              </a:ext>
            </a:extLst>
          </p:cNvPr>
          <p:cNvSpPr/>
          <p:nvPr/>
        </p:nvSpPr>
        <p:spPr>
          <a:xfrm>
            <a:off x="2890837" y="2801012"/>
            <a:ext cx="6949440" cy="390144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400" noProof="1">
                <a:solidFill>
                  <a:srgbClr val="16303A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Индивидуальное картирование и картирование за столом</a:t>
            </a:r>
            <a:endParaRPr lang="ru-RU" sz="14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Text 14">
            <a:extLst>
              <a:ext uri="{FF2B5EF4-FFF2-40B4-BE49-F238E27FC236}">
                <a16:creationId xmlns:a16="http://schemas.microsoft.com/office/drawing/2014/main" id="{EAB0564C-2189-8350-DEEF-399B75F9B8F7}"/>
              </a:ext>
            </a:extLst>
          </p:cNvPr>
          <p:cNvSpPr/>
          <p:nvPr/>
        </p:nvSpPr>
        <p:spPr>
          <a:xfrm>
            <a:off x="8977746" y="2801012"/>
            <a:ext cx="3034925" cy="390144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267" noProof="1">
                <a:solidFill>
                  <a:srgbClr val="3D6673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Индивидуально, затем смешанные (по странам) группы за столами</a:t>
            </a:r>
            <a:endParaRPr lang="ru-RU" sz="1267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Shape 15">
            <a:extLst>
              <a:ext uri="{FF2B5EF4-FFF2-40B4-BE49-F238E27FC236}">
                <a16:creationId xmlns:a16="http://schemas.microsoft.com/office/drawing/2014/main" id="{5A59780A-BC11-076F-FE5F-24A0CDA509C2}"/>
              </a:ext>
            </a:extLst>
          </p:cNvPr>
          <p:cNvSpPr/>
          <p:nvPr/>
        </p:nvSpPr>
        <p:spPr>
          <a:xfrm>
            <a:off x="635317" y="3264308"/>
            <a:ext cx="11216640" cy="463296"/>
          </a:xfrm>
          <a:prstGeom prst="rect">
            <a:avLst/>
          </a:prstGeom>
          <a:solidFill>
            <a:srgbClr val="D6F0F3"/>
          </a:solidFill>
          <a:ln w="5080">
            <a:solidFill>
              <a:srgbClr val="B2D8DE"/>
            </a:solidFill>
            <a:prstDash val="solid"/>
          </a:ln>
        </p:spPr>
        <p:txBody>
          <a:bodyPr/>
          <a:lstStyle/>
          <a:p>
            <a:pPr defTabSz="1219170">
              <a:defRPr/>
            </a:pPr>
            <a:endParaRPr lang="ru-RU" sz="24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Text 16">
            <a:extLst>
              <a:ext uri="{FF2B5EF4-FFF2-40B4-BE49-F238E27FC236}">
                <a16:creationId xmlns:a16="http://schemas.microsoft.com/office/drawing/2014/main" id="{03B93334-C14C-42C6-93CC-A2AB99AA53D4}"/>
              </a:ext>
            </a:extLst>
          </p:cNvPr>
          <p:cNvSpPr/>
          <p:nvPr/>
        </p:nvSpPr>
        <p:spPr>
          <a:xfrm>
            <a:off x="696277" y="3300884"/>
            <a:ext cx="1950720" cy="390144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333" b="1" noProof="1">
                <a:solidFill>
                  <a:srgbClr val="027A87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11:20 – 11:35</a:t>
            </a:r>
            <a:endParaRPr lang="ru-RU" sz="1333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Text 17">
            <a:extLst>
              <a:ext uri="{FF2B5EF4-FFF2-40B4-BE49-F238E27FC236}">
                <a16:creationId xmlns:a16="http://schemas.microsoft.com/office/drawing/2014/main" id="{D62E21D0-CD0F-76D7-D683-5157190139D4}"/>
              </a:ext>
            </a:extLst>
          </p:cNvPr>
          <p:cNvSpPr/>
          <p:nvPr/>
        </p:nvSpPr>
        <p:spPr>
          <a:xfrm>
            <a:off x="2890837" y="3300884"/>
            <a:ext cx="6949440" cy="390144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400" noProof="1">
                <a:solidFill>
                  <a:srgbClr val="16303A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Коллективное картирование по страновым группам</a:t>
            </a:r>
            <a:endParaRPr lang="ru-RU" sz="14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" name="Text 18">
            <a:extLst>
              <a:ext uri="{FF2B5EF4-FFF2-40B4-BE49-F238E27FC236}">
                <a16:creationId xmlns:a16="http://schemas.microsoft.com/office/drawing/2014/main" id="{37C74E6C-6FB8-A028-AE15-D549B92639AA}"/>
              </a:ext>
            </a:extLst>
          </p:cNvPr>
          <p:cNvSpPr/>
          <p:nvPr/>
        </p:nvSpPr>
        <p:spPr>
          <a:xfrm>
            <a:off x="8977746" y="3300884"/>
            <a:ext cx="2913005" cy="390144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267" noProof="1">
                <a:solidFill>
                  <a:srgbClr val="3D6673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Страновые группы</a:t>
            </a:r>
            <a:endParaRPr lang="ru-RU" sz="1267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" name="Shape 19">
            <a:extLst>
              <a:ext uri="{FF2B5EF4-FFF2-40B4-BE49-F238E27FC236}">
                <a16:creationId xmlns:a16="http://schemas.microsoft.com/office/drawing/2014/main" id="{A86485B5-0A1C-A4DE-0D19-9A2B4DBDD553}"/>
              </a:ext>
            </a:extLst>
          </p:cNvPr>
          <p:cNvSpPr/>
          <p:nvPr/>
        </p:nvSpPr>
        <p:spPr>
          <a:xfrm>
            <a:off x="635317" y="3764180"/>
            <a:ext cx="11216640" cy="463296"/>
          </a:xfrm>
          <a:prstGeom prst="rect">
            <a:avLst/>
          </a:prstGeom>
          <a:solidFill>
            <a:srgbClr val="FFFFFF"/>
          </a:solidFill>
          <a:ln w="5080">
            <a:solidFill>
              <a:srgbClr val="B2D8DE"/>
            </a:solidFill>
            <a:prstDash val="solid"/>
          </a:ln>
        </p:spPr>
        <p:txBody>
          <a:bodyPr/>
          <a:lstStyle/>
          <a:p>
            <a:pPr defTabSz="1219170">
              <a:defRPr/>
            </a:pPr>
            <a:endParaRPr lang="ru-RU" sz="24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2" name="Text 20">
            <a:extLst>
              <a:ext uri="{FF2B5EF4-FFF2-40B4-BE49-F238E27FC236}">
                <a16:creationId xmlns:a16="http://schemas.microsoft.com/office/drawing/2014/main" id="{43943538-32B9-46F2-A76E-2859B712049E}"/>
              </a:ext>
            </a:extLst>
          </p:cNvPr>
          <p:cNvSpPr/>
          <p:nvPr/>
        </p:nvSpPr>
        <p:spPr>
          <a:xfrm>
            <a:off x="696277" y="3800756"/>
            <a:ext cx="1950720" cy="390144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333" b="1" noProof="1">
                <a:solidFill>
                  <a:srgbClr val="027A87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11:35 – 11:45</a:t>
            </a:r>
            <a:endParaRPr lang="ru-RU" sz="1333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3" name="Text 21">
            <a:extLst>
              <a:ext uri="{FF2B5EF4-FFF2-40B4-BE49-F238E27FC236}">
                <a16:creationId xmlns:a16="http://schemas.microsoft.com/office/drawing/2014/main" id="{93B6F832-51C1-1921-E2B1-77434D548330}"/>
              </a:ext>
            </a:extLst>
          </p:cNvPr>
          <p:cNvSpPr/>
          <p:nvPr/>
        </p:nvSpPr>
        <p:spPr>
          <a:xfrm>
            <a:off x="2890837" y="3800756"/>
            <a:ext cx="6949440" cy="390144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400" noProof="1">
                <a:solidFill>
                  <a:srgbClr val="16303A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Галерея и синтез фасилитатора</a:t>
            </a:r>
            <a:endParaRPr lang="ru-RU" sz="14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4" name="Text 22">
            <a:extLst>
              <a:ext uri="{FF2B5EF4-FFF2-40B4-BE49-F238E27FC236}">
                <a16:creationId xmlns:a16="http://schemas.microsoft.com/office/drawing/2014/main" id="{B0551BE8-4B97-3250-9A76-A3B440E8BE9D}"/>
              </a:ext>
            </a:extLst>
          </p:cNvPr>
          <p:cNvSpPr/>
          <p:nvPr/>
        </p:nvSpPr>
        <p:spPr>
          <a:xfrm>
            <a:off x="8977745" y="3800756"/>
            <a:ext cx="2392075" cy="390144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267" noProof="1">
                <a:solidFill>
                  <a:srgbClr val="3D6673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Пленарное заседание</a:t>
            </a:r>
            <a:endParaRPr lang="ru-RU" sz="1267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5" name="Shape 33">
            <a:extLst>
              <a:ext uri="{FF2B5EF4-FFF2-40B4-BE49-F238E27FC236}">
                <a16:creationId xmlns:a16="http://schemas.microsoft.com/office/drawing/2014/main" id="{6A0B7775-D5D3-9DFF-E7B4-9FBDFB35EF48}"/>
              </a:ext>
            </a:extLst>
          </p:cNvPr>
          <p:cNvSpPr/>
          <p:nvPr/>
        </p:nvSpPr>
        <p:spPr>
          <a:xfrm>
            <a:off x="635319" y="4274027"/>
            <a:ext cx="11216640" cy="463296"/>
          </a:xfrm>
          <a:prstGeom prst="rect">
            <a:avLst/>
          </a:prstGeom>
          <a:solidFill>
            <a:srgbClr val="FFFFFF"/>
          </a:solidFill>
          <a:ln w="5080">
            <a:solidFill>
              <a:srgbClr val="B2D8DE"/>
            </a:solidFill>
            <a:prstDash val="solid"/>
          </a:ln>
        </p:spPr>
        <p:txBody>
          <a:bodyPr/>
          <a:lstStyle/>
          <a:p>
            <a:pPr defTabSz="1219170">
              <a:defRPr/>
            </a:pPr>
            <a:endParaRPr lang="ru-RU" sz="24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6" name="Text 34">
            <a:extLst>
              <a:ext uri="{FF2B5EF4-FFF2-40B4-BE49-F238E27FC236}">
                <a16:creationId xmlns:a16="http://schemas.microsoft.com/office/drawing/2014/main" id="{F3DFA415-0009-65E1-880C-DAD4F93B1CC1}"/>
              </a:ext>
            </a:extLst>
          </p:cNvPr>
          <p:cNvSpPr/>
          <p:nvPr/>
        </p:nvSpPr>
        <p:spPr>
          <a:xfrm>
            <a:off x="696277" y="4325051"/>
            <a:ext cx="1950720" cy="390144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333" b="1" noProof="1">
                <a:solidFill>
                  <a:srgbClr val="027A87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12:25 – 12:45</a:t>
            </a:r>
            <a:endParaRPr lang="ru-RU" sz="1333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7" name="Text 35">
            <a:extLst>
              <a:ext uri="{FF2B5EF4-FFF2-40B4-BE49-F238E27FC236}">
                <a16:creationId xmlns:a16="http://schemas.microsoft.com/office/drawing/2014/main" id="{BB2828B3-D9C7-6699-6287-532295C6A5BC}"/>
              </a:ext>
            </a:extLst>
          </p:cNvPr>
          <p:cNvSpPr/>
          <p:nvPr/>
        </p:nvSpPr>
        <p:spPr>
          <a:xfrm>
            <a:off x="2890837" y="4298560"/>
            <a:ext cx="6949440" cy="390144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400" noProof="1">
                <a:solidFill>
                  <a:srgbClr val="16303A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Выявление пробелов по страновым группам</a:t>
            </a:r>
            <a:endParaRPr lang="ru-RU" sz="14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8" name="Shape 37">
            <a:extLst>
              <a:ext uri="{FF2B5EF4-FFF2-40B4-BE49-F238E27FC236}">
                <a16:creationId xmlns:a16="http://schemas.microsoft.com/office/drawing/2014/main" id="{63FFA063-3938-A4AC-F36A-9FB26BB43CD9}"/>
              </a:ext>
            </a:extLst>
          </p:cNvPr>
          <p:cNvSpPr/>
          <p:nvPr/>
        </p:nvSpPr>
        <p:spPr>
          <a:xfrm>
            <a:off x="635319" y="4801255"/>
            <a:ext cx="11216640" cy="463296"/>
          </a:xfrm>
          <a:prstGeom prst="rect">
            <a:avLst/>
          </a:prstGeom>
          <a:solidFill>
            <a:srgbClr val="D6F0F3"/>
          </a:solidFill>
          <a:ln w="5080">
            <a:solidFill>
              <a:srgbClr val="B2D8DE"/>
            </a:solidFill>
            <a:prstDash val="solid"/>
          </a:ln>
        </p:spPr>
        <p:txBody>
          <a:bodyPr/>
          <a:lstStyle/>
          <a:p>
            <a:pPr defTabSz="1219170">
              <a:defRPr/>
            </a:pPr>
            <a:endParaRPr lang="ru-RU" sz="24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9" name="Text 38">
            <a:extLst>
              <a:ext uri="{FF2B5EF4-FFF2-40B4-BE49-F238E27FC236}">
                <a16:creationId xmlns:a16="http://schemas.microsoft.com/office/drawing/2014/main" id="{F417D76F-EDB4-584D-C218-82A9DF33D799}"/>
              </a:ext>
            </a:extLst>
          </p:cNvPr>
          <p:cNvSpPr/>
          <p:nvPr/>
        </p:nvSpPr>
        <p:spPr>
          <a:xfrm>
            <a:off x="696277" y="4840759"/>
            <a:ext cx="1950720" cy="390144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333" b="1" noProof="1">
                <a:solidFill>
                  <a:srgbClr val="027A87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12:45 – 12:58</a:t>
            </a:r>
            <a:endParaRPr lang="ru-RU" sz="1333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0" name="Text 39">
            <a:extLst>
              <a:ext uri="{FF2B5EF4-FFF2-40B4-BE49-F238E27FC236}">
                <a16:creationId xmlns:a16="http://schemas.microsoft.com/office/drawing/2014/main" id="{56DBC521-72D9-758B-8B75-A293A53521B7}"/>
              </a:ext>
            </a:extLst>
          </p:cNvPr>
          <p:cNvSpPr/>
          <p:nvPr/>
        </p:nvSpPr>
        <p:spPr>
          <a:xfrm>
            <a:off x="2890837" y="4812993"/>
            <a:ext cx="6949440" cy="390144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400" noProof="1">
                <a:solidFill>
                  <a:srgbClr val="16303A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Синтез фасилитатора и переход к послеобеденной части</a:t>
            </a:r>
            <a:endParaRPr lang="ru-RU" sz="14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1" name="Text 40">
            <a:extLst>
              <a:ext uri="{FF2B5EF4-FFF2-40B4-BE49-F238E27FC236}">
                <a16:creationId xmlns:a16="http://schemas.microsoft.com/office/drawing/2014/main" id="{483FCC40-15F7-3F8F-D962-388E75226D1D}"/>
              </a:ext>
            </a:extLst>
          </p:cNvPr>
          <p:cNvSpPr/>
          <p:nvPr/>
        </p:nvSpPr>
        <p:spPr>
          <a:xfrm>
            <a:off x="8977745" y="4838583"/>
            <a:ext cx="2513995" cy="390144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267" noProof="1">
                <a:solidFill>
                  <a:srgbClr val="3D6673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Пленарное заседание</a:t>
            </a:r>
            <a:endParaRPr lang="ru-RU" sz="1267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2" name="Shape 41">
            <a:extLst>
              <a:ext uri="{FF2B5EF4-FFF2-40B4-BE49-F238E27FC236}">
                <a16:creationId xmlns:a16="http://schemas.microsoft.com/office/drawing/2014/main" id="{EBF85C53-3CB5-1AF2-B020-8CF4D508D593}"/>
              </a:ext>
            </a:extLst>
          </p:cNvPr>
          <p:cNvSpPr/>
          <p:nvPr/>
        </p:nvSpPr>
        <p:spPr>
          <a:xfrm>
            <a:off x="635319" y="5317399"/>
            <a:ext cx="11216640" cy="463296"/>
          </a:xfrm>
          <a:prstGeom prst="rect">
            <a:avLst/>
          </a:prstGeom>
          <a:solidFill>
            <a:srgbClr val="FFFFFF"/>
          </a:solidFill>
          <a:ln w="5080">
            <a:solidFill>
              <a:srgbClr val="B2D8DE"/>
            </a:solidFill>
            <a:prstDash val="solid"/>
          </a:ln>
        </p:spPr>
        <p:txBody>
          <a:bodyPr/>
          <a:lstStyle/>
          <a:p>
            <a:pPr defTabSz="1219170">
              <a:defRPr/>
            </a:pPr>
            <a:endParaRPr lang="ru-RU" sz="24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3" name="Text 42">
            <a:extLst>
              <a:ext uri="{FF2B5EF4-FFF2-40B4-BE49-F238E27FC236}">
                <a16:creationId xmlns:a16="http://schemas.microsoft.com/office/drawing/2014/main" id="{D0746065-9E75-C165-645A-194A434F8FCB}"/>
              </a:ext>
            </a:extLst>
          </p:cNvPr>
          <p:cNvSpPr/>
          <p:nvPr/>
        </p:nvSpPr>
        <p:spPr>
          <a:xfrm>
            <a:off x="696277" y="5334928"/>
            <a:ext cx="1950720" cy="390144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333" b="1" noProof="1">
                <a:solidFill>
                  <a:srgbClr val="027A87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12:58 – 13:00</a:t>
            </a:r>
            <a:endParaRPr lang="ru-RU" sz="1333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4" name="Text 43">
            <a:extLst>
              <a:ext uri="{FF2B5EF4-FFF2-40B4-BE49-F238E27FC236}">
                <a16:creationId xmlns:a16="http://schemas.microsoft.com/office/drawing/2014/main" id="{B9E20D5C-88A3-E567-5B4C-F30470C26BD0}"/>
              </a:ext>
            </a:extLst>
          </p:cNvPr>
          <p:cNvSpPr/>
          <p:nvPr/>
        </p:nvSpPr>
        <p:spPr>
          <a:xfrm>
            <a:off x="2890837" y="5329316"/>
            <a:ext cx="6949440" cy="390144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400" noProof="1">
                <a:solidFill>
                  <a:srgbClr val="16303A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Переход к обеду — один вопрос на экране</a:t>
            </a:r>
            <a:endParaRPr lang="ru-RU" sz="14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5" name="Text 44">
            <a:extLst>
              <a:ext uri="{FF2B5EF4-FFF2-40B4-BE49-F238E27FC236}">
                <a16:creationId xmlns:a16="http://schemas.microsoft.com/office/drawing/2014/main" id="{05E63DB0-7960-D0E8-AE58-8F1536DD0ACF}"/>
              </a:ext>
            </a:extLst>
          </p:cNvPr>
          <p:cNvSpPr/>
          <p:nvPr/>
        </p:nvSpPr>
        <p:spPr>
          <a:xfrm>
            <a:off x="8977745" y="5306711"/>
            <a:ext cx="2513995" cy="390144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267" noProof="1">
                <a:solidFill>
                  <a:srgbClr val="3D6673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Индивидуально / обед</a:t>
            </a:r>
            <a:endParaRPr lang="ru-RU" sz="1267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6700553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AF9CCEF-A3C5-E189-C4E4-D779633377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3496" y="280100"/>
            <a:ext cx="7815651" cy="1080120"/>
          </a:xfrm>
        </p:spPr>
        <p:txBody>
          <a:bodyPr/>
          <a:lstStyle/>
          <a:p>
            <a:r>
              <a:rPr lang="ru-RU" noProof="1"/>
              <a:t>Возвращение к Сессии 1</a:t>
            </a:r>
          </a:p>
        </p:txBody>
      </p:sp>
      <p:sp>
        <p:nvSpPr>
          <p:cNvPr id="4" name="Shape 3">
            <a:extLst>
              <a:ext uri="{FF2B5EF4-FFF2-40B4-BE49-F238E27FC236}">
                <a16:creationId xmlns:a16="http://schemas.microsoft.com/office/drawing/2014/main" id="{73310E7B-9410-4C10-BF4B-8ED4230718BE}"/>
              </a:ext>
            </a:extLst>
          </p:cNvPr>
          <p:cNvSpPr/>
          <p:nvPr/>
        </p:nvSpPr>
        <p:spPr>
          <a:xfrm>
            <a:off x="476067" y="1349396"/>
            <a:ext cx="11216640" cy="1524000"/>
          </a:xfrm>
          <a:prstGeom prst="rect">
            <a:avLst/>
          </a:prstGeom>
          <a:solidFill>
            <a:schemeClr val="accent2"/>
          </a:solidFill>
          <a:ln w="12700">
            <a:solidFill>
              <a:srgbClr val="16303A"/>
            </a:solidFill>
            <a:prstDash val="solid"/>
          </a:ln>
        </p:spPr>
        <p:txBody>
          <a:bodyPr/>
          <a:lstStyle/>
          <a:p>
            <a:pPr defTabSz="1219170">
              <a:defRPr/>
            </a:pPr>
            <a:endParaRPr lang="ru-RU" sz="24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Text 4">
            <a:extLst>
              <a:ext uri="{FF2B5EF4-FFF2-40B4-BE49-F238E27FC236}">
                <a16:creationId xmlns:a16="http://schemas.microsoft.com/office/drawing/2014/main" id="{8FE3784D-11CA-AC11-8FC2-67DC112773E5}"/>
              </a:ext>
            </a:extLst>
          </p:cNvPr>
          <p:cNvSpPr/>
          <p:nvPr/>
        </p:nvSpPr>
        <p:spPr>
          <a:xfrm>
            <a:off x="719907" y="1349396"/>
            <a:ext cx="10850880" cy="152400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667" i="1" noProof="1">
                <a:solidFill>
                  <a:srgbClr val="FFFFFF"/>
                </a:solidFill>
                <a:latin typeface="Arial" panose="020B0604020202020204" pitchFamily="34" charset="0"/>
                <a:ea typeface="Georgia" pitchFamily="34" charset="-122"/>
                <a:cs typeface="Arial" panose="020B0604020202020204" pitchFamily="34" charset="0"/>
              </a:rPr>
              <a:t>В предыдущей сессии вы определили, что, согласно данным, делает профессиональное развитие педагогов эффективным. Вы соотнесли часть этих характеристик с индикаторами качества. Теперь мы займёмся чем-то более личным — рассмотрим профессиональное развитие педагогов, которое существует в ваших организациях и системах, и определим, где оно находится.</a:t>
            </a:r>
            <a:endParaRPr lang="ru-RU" sz="1667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Text 5">
            <a:extLst>
              <a:ext uri="{FF2B5EF4-FFF2-40B4-BE49-F238E27FC236}">
                <a16:creationId xmlns:a16="http://schemas.microsoft.com/office/drawing/2014/main" id="{FC3A9236-E68B-874B-E1BE-4C5DAAF207E7}"/>
              </a:ext>
            </a:extLst>
          </p:cNvPr>
          <p:cNvSpPr/>
          <p:nvPr/>
        </p:nvSpPr>
        <p:spPr>
          <a:xfrm>
            <a:off x="476067" y="3031892"/>
            <a:ext cx="11094720" cy="463296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867" b="1" noProof="1">
                <a:solidFill>
                  <a:schemeClr val="bg1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Две оси — простым языком:</a:t>
            </a:r>
            <a:endParaRPr lang="ru-RU" sz="1867" noProof="1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Shape 6">
            <a:extLst>
              <a:ext uri="{FF2B5EF4-FFF2-40B4-BE49-F238E27FC236}">
                <a16:creationId xmlns:a16="http://schemas.microsoft.com/office/drawing/2014/main" id="{5F17F6C3-B2CF-34F8-99B2-D000BB6186BA}"/>
              </a:ext>
            </a:extLst>
          </p:cNvPr>
          <p:cNvSpPr/>
          <p:nvPr/>
        </p:nvSpPr>
        <p:spPr>
          <a:xfrm>
            <a:off x="476066" y="3506270"/>
            <a:ext cx="5542348" cy="1179300"/>
          </a:xfrm>
          <a:prstGeom prst="rect">
            <a:avLst/>
          </a:prstGeom>
          <a:solidFill>
            <a:srgbClr val="FDECEA"/>
          </a:solidFill>
          <a:ln w="12700">
            <a:solidFill>
              <a:srgbClr val="B03030"/>
            </a:solidFill>
            <a:prstDash val="solid"/>
          </a:ln>
        </p:spPr>
        <p:txBody>
          <a:bodyPr/>
          <a:lstStyle/>
          <a:p>
            <a:pPr defTabSz="1219170">
              <a:defRPr/>
            </a:pPr>
            <a:endParaRPr lang="ru-RU" sz="24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Text 7">
            <a:extLst>
              <a:ext uri="{FF2B5EF4-FFF2-40B4-BE49-F238E27FC236}">
                <a16:creationId xmlns:a16="http://schemas.microsoft.com/office/drawing/2014/main" id="{44EA2B54-0652-2906-5ECB-033DF0511991}"/>
              </a:ext>
            </a:extLst>
          </p:cNvPr>
          <p:cNvSpPr/>
          <p:nvPr/>
        </p:nvSpPr>
        <p:spPr>
          <a:xfrm>
            <a:off x="597986" y="3579422"/>
            <a:ext cx="2463265" cy="453577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267" b="1" kern="0" spc="67" noProof="1">
                <a:solidFill>
                  <a:srgbClr val="B03030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ПАССИВНОЕ</a:t>
            </a:r>
            <a:endParaRPr lang="ru-RU" sz="1267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Text 8">
            <a:extLst>
              <a:ext uri="{FF2B5EF4-FFF2-40B4-BE49-F238E27FC236}">
                <a16:creationId xmlns:a16="http://schemas.microsoft.com/office/drawing/2014/main" id="{69516382-09C6-FC86-0116-557692E188DD}"/>
              </a:ext>
            </a:extLst>
          </p:cNvPr>
          <p:cNvSpPr/>
          <p:nvPr/>
        </p:nvSpPr>
        <p:spPr>
          <a:xfrm>
            <a:off x="597987" y="3920798"/>
            <a:ext cx="5234440" cy="574531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400" noProof="1">
                <a:solidFill>
                  <a:srgbClr val="16303A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Вы сидите в аудитории, кто-то три часа выступает, вы уходите с сертификатом.</a:t>
            </a:r>
            <a:endParaRPr lang="ru-RU" sz="14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Shape 9">
            <a:extLst>
              <a:ext uri="{FF2B5EF4-FFF2-40B4-BE49-F238E27FC236}">
                <a16:creationId xmlns:a16="http://schemas.microsoft.com/office/drawing/2014/main" id="{A5D1D7E4-A5A1-AFE1-B701-CDA7AECB7B73}"/>
              </a:ext>
            </a:extLst>
          </p:cNvPr>
          <p:cNvSpPr/>
          <p:nvPr/>
        </p:nvSpPr>
        <p:spPr>
          <a:xfrm>
            <a:off x="6328226" y="3506270"/>
            <a:ext cx="5356361" cy="1179300"/>
          </a:xfrm>
          <a:prstGeom prst="rect">
            <a:avLst/>
          </a:prstGeom>
          <a:solidFill>
            <a:srgbClr val="E8F5EC"/>
          </a:solidFill>
          <a:ln w="12700">
            <a:solidFill>
              <a:srgbClr val="2D8A3E"/>
            </a:solidFill>
            <a:prstDash val="solid"/>
          </a:ln>
        </p:spPr>
        <p:txBody>
          <a:bodyPr/>
          <a:lstStyle/>
          <a:p>
            <a:pPr defTabSz="1219170">
              <a:defRPr/>
            </a:pPr>
            <a:endParaRPr lang="ru-RU" sz="24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Text 10">
            <a:extLst>
              <a:ext uri="{FF2B5EF4-FFF2-40B4-BE49-F238E27FC236}">
                <a16:creationId xmlns:a16="http://schemas.microsoft.com/office/drawing/2014/main" id="{5F9666D5-3014-778C-C013-F79DD5135814}"/>
              </a:ext>
            </a:extLst>
          </p:cNvPr>
          <p:cNvSpPr/>
          <p:nvPr/>
        </p:nvSpPr>
        <p:spPr>
          <a:xfrm>
            <a:off x="6450146" y="3579422"/>
            <a:ext cx="2463265" cy="453577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267" b="1" kern="0" spc="67" noProof="1">
                <a:solidFill>
                  <a:srgbClr val="2D8A3E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АКТИВНОЕ</a:t>
            </a:r>
            <a:endParaRPr lang="ru-RU" sz="1267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Text 11">
            <a:extLst>
              <a:ext uri="{FF2B5EF4-FFF2-40B4-BE49-F238E27FC236}">
                <a16:creationId xmlns:a16="http://schemas.microsoft.com/office/drawing/2014/main" id="{ED436C0F-5599-C287-BA96-9524FB6B582B}"/>
              </a:ext>
            </a:extLst>
          </p:cNvPr>
          <p:cNvSpPr/>
          <p:nvPr/>
        </p:nvSpPr>
        <p:spPr>
          <a:xfrm>
            <a:off x="6450147" y="3920798"/>
            <a:ext cx="5234440" cy="574531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400" noProof="1">
                <a:solidFill>
                  <a:srgbClr val="16303A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Вы что-то пробуете в своём классе, приносите опыт в группу, получаете обратную связь, пробуете снова.</a:t>
            </a:r>
            <a:endParaRPr lang="ru-RU" sz="14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Shape 12">
            <a:extLst>
              <a:ext uri="{FF2B5EF4-FFF2-40B4-BE49-F238E27FC236}">
                <a16:creationId xmlns:a16="http://schemas.microsoft.com/office/drawing/2014/main" id="{105F7238-65A0-5B8A-7736-C00DC843B53A}"/>
              </a:ext>
            </a:extLst>
          </p:cNvPr>
          <p:cNvSpPr/>
          <p:nvPr/>
        </p:nvSpPr>
        <p:spPr>
          <a:xfrm>
            <a:off x="476066" y="4579166"/>
            <a:ext cx="5542348" cy="1179300"/>
          </a:xfrm>
          <a:prstGeom prst="rect">
            <a:avLst/>
          </a:prstGeom>
          <a:solidFill>
            <a:srgbClr val="FDECEA"/>
          </a:solidFill>
          <a:ln w="12700">
            <a:solidFill>
              <a:srgbClr val="B03030"/>
            </a:solidFill>
            <a:prstDash val="solid"/>
          </a:ln>
        </p:spPr>
        <p:txBody>
          <a:bodyPr/>
          <a:lstStyle/>
          <a:p>
            <a:pPr defTabSz="1219170">
              <a:defRPr/>
            </a:pPr>
            <a:endParaRPr lang="ru-RU" sz="24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Text 13">
            <a:extLst>
              <a:ext uri="{FF2B5EF4-FFF2-40B4-BE49-F238E27FC236}">
                <a16:creationId xmlns:a16="http://schemas.microsoft.com/office/drawing/2014/main" id="{0B13477F-31FF-9FA4-6EF5-3DD80C919E03}"/>
              </a:ext>
            </a:extLst>
          </p:cNvPr>
          <p:cNvSpPr/>
          <p:nvPr/>
        </p:nvSpPr>
        <p:spPr>
          <a:xfrm>
            <a:off x="597985" y="4652318"/>
            <a:ext cx="3502960" cy="453577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267" b="1" kern="0" spc="67" noProof="1">
                <a:solidFill>
                  <a:srgbClr val="B03030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ОТОРВАННОЕ ОТ ПРАКТИКИ</a:t>
            </a:r>
            <a:endParaRPr lang="ru-RU" sz="1267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Text 14">
            <a:extLst>
              <a:ext uri="{FF2B5EF4-FFF2-40B4-BE49-F238E27FC236}">
                <a16:creationId xmlns:a16="http://schemas.microsoft.com/office/drawing/2014/main" id="{AC75AB57-D8F4-650D-9204-E76AF380F6C7}"/>
              </a:ext>
            </a:extLst>
          </p:cNvPr>
          <p:cNvSpPr/>
          <p:nvPr/>
        </p:nvSpPr>
        <p:spPr>
          <a:xfrm>
            <a:off x="597987" y="5041496"/>
            <a:ext cx="5234440" cy="574531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400" noProof="1">
                <a:solidFill>
                  <a:srgbClr val="16303A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Общий тренинг по коммуникативным навыкам без привязки к вашему предмету, вашим обучающимся или вашей организации.</a:t>
            </a:r>
            <a:endParaRPr lang="ru-RU" sz="14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Shape 15">
            <a:extLst>
              <a:ext uri="{FF2B5EF4-FFF2-40B4-BE49-F238E27FC236}">
                <a16:creationId xmlns:a16="http://schemas.microsoft.com/office/drawing/2014/main" id="{CEA00D36-61D7-7438-79C1-2CAE9235FCFB}"/>
              </a:ext>
            </a:extLst>
          </p:cNvPr>
          <p:cNvSpPr/>
          <p:nvPr/>
        </p:nvSpPr>
        <p:spPr>
          <a:xfrm>
            <a:off x="6328226" y="4579166"/>
            <a:ext cx="5356361" cy="1179300"/>
          </a:xfrm>
          <a:prstGeom prst="rect">
            <a:avLst/>
          </a:prstGeom>
          <a:solidFill>
            <a:srgbClr val="E8F5EC"/>
          </a:solidFill>
          <a:ln w="12700">
            <a:solidFill>
              <a:srgbClr val="2D8A3E"/>
            </a:solidFill>
            <a:prstDash val="solid"/>
          </a:ln>
        </p:spPr>
        <p:txBody>
          <a:bodyPr/>
          <a:lstStyle/>
          <a:p>
            <a:pPr defTabSz="1219170">
              <a:defRPr/>
            </a:pPr>
            <a:endParaRPr lang="ru-RU" sz="24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Text 16">
            <a:extLst>
              <a:ext uri="{FF2B5EF4-FFF2-40B4-BE49-F238E27FC236}">
                <a16:creationId xmlns:a16="http://schemas.microsoft.com/office/drawing/2014/main" id="{71DAE04F-F956-53C6-5F01-7A039DA254F3}"/>
              </a:ext>
            </a:extLst>
          </p:cNvPr>
          <p:cNvSpPr/>
          <p:nvPr/>
        </p:nvSpPr>
        <p:spPr>
          <a:xfrm>
            <a:off x="6450146" y="4652318"/>
            <a:ext cx="4179061" cy="453577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267" b="1" kern="0" spc="67" noProof="1">
                <a:solidFill>
                  <a:srgbClr val="2D8A3E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СВЯЗАННОЕ С ПРАКТИКОЙ</a:t>
            </a:r>
            <a:endParaRPr lang="ru-RU" sz="1267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Text 17">
            <a:extLst>
              <a:ext uri="{FF2B5EF4-FFF2-40B4-BE49-F238E27FC236}">
                <a16:creationId xmlns:a16="http://schemas.microsoft.com/office/drawing/2014/main" id="{5A70F412-ED33-6354-2140-4F9F8A807AF2}"/>
              </a:ext>
            </a:extLst>
          </p:cNvPr>
          <p:cNvSpPr/>
          <p:nvPr/>
        </p:nvSpPr>
        <p:spPr>
          <a:xfrm>
            <a:off x="6450147" y="4993694"/>
            <a:ext cx="5234440" cy="574531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400" noProof="1">
                <a:solidFill>
                  <a:srgbClr val="16303A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Сессия, разработанная вокруг проблемы, с которой вы сейчас сталкиваетесь с конкретной группой обучающихся.</a:t>
            </a:r>
            <a:endParaRPr lang="ru-RU" sz="14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Shape 18">
            <a:extLst>
              <a:ext uri="{FF2B5EF4-FFF2-40B4-BE49-F238E27FC236}">
                <a16:creationId xmlns:a16="http://schemas.microsoft.com/office/drawing/2014/main" id="{1E2F3080-9EF4-D5FC-E0C4-AC8263E31072}"/>
              </a:ext>
            </a:extLst>
          </p:cNvPr>
          <p:cNvSpPr/>
          <p:nvPr/>
        </p:nvSpPr>
        <p:spPr>
          <a:xfrm>
            <a:off x="476067" y="5860436"/>
            <a:ext cx="11216640" cy="414528"/>
          </a:xfrm>
          <a:prstGeom prst="rect">
            <a:avLst/>
          </a:prstGeom>
          <a:solidFill>
            <a:srgbClr val="E8940A"/>
          </a:solidFill>
          <a:ln w="12700">
            <a:solidFill>
              <a:srgbClr val="E8940A"/>
            </a:solidFill>
            <a:prstDash val="solid"/>
          </a:ln>
        </p:spPr>
        <p:txBody>
          <a:bodyPr/>
          <a:lstStyle/>
          <a:p>
            <a:pPr defTabSz="1219170">
              <a:defRPr/>
            </a:pPr>
            <a:endParaRPr lang="ru-RU" sz="24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" name="Text 19">
            <a:extLst>
              <a:ext uri="{FF2B5EF4-FFF2-40B4-BE49-F238E27FC236}">
                <a16:creationId xmlns:a16="http://schemas.microsoft.com/office/drawing/2014/main" id="{FDE24411-02B7-B567-B16A-3ED850DF54E9}"/>
              </a:ext>
            </a:extLst>
          </p:cNvPr>
          <p:cNvSpPr/>
          <p:nvPr/>
        </p:nvSpPr>
        <p:spPr>
          <a:xfrm>
            <a:off x="476067" y="5860436"/>
            <a:ext cx="11216640" cy="414528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algn="ctr" defTabSz="1219170">
              <a:defRPr/>
            </a:pPr>
            <a:r>
              <a:rPr lang="ru-RU" sz="1200" b="1" noProof="1">
                <a:solidFill>
                  <a:srgbClr val="FFFFFF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SCAFFOLD: Принцип 3.1 (Обучение на реальных примерах)  |  Принцип 3.7 (Видимый прогресс)</a:t>
            </a:r>
            <a:endParaRPr lang="ru-RU" sz="12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350143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93BEF26-9970-421C-8467-24921FD97EC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5317" y="209794"/>
            <a:ext cx="7815651" cy="1080120"/>
          </a:xfrm>
        </p:spPr>
        <p:txBody>
          <a:bodyPr/>
          <a:lstStyle/>
          <a:p>
            <a:r>
              <a:rPr lang="ru-RU" noProof="1"/>
              <a:t>Компас ПРП – оси и квадранты</a:t>
            </a:r>
          </a:p>
        </p:txBody>
      </p:sp>
      <p:sp>
        <p:nvSpPr>
          <p:cNvPr id="3" name="Shape 2">
            <a:extLst>
              <a:ext uri="{FF2B5EF4-FFF2-40B4-BE49-F238E27FC236}">
                <a16:creationId xmlns:a16="http://schemas.microsoft.com/office/drawing/2014/main" id="{313B3854-3FEF-FE32-F569-DE0200B5F15B}"/>
              </a:ext>
            </a:extLst>
          </p:cNvPr>
          <p:cNvSpPr/>
          <p:nvPr/>
        </p:nvSpPr>
        <p:spPr>
          <a:xfrm>
            <a:off x="7620000" y="1859990"/>
            <a:ext cx="1524000" cy="1524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10160">
            <a:solidFill>
              <a:srgbClr val="B2D8DE"/>
            </a:solidFill>
            <a:prstDash val="solid"/>
          </a:ln>
        </p:spPr>
        <p:txBody>
          <a:bodyPr/>
          <a:lstStyle/>
          <a:p>
            <a:pPr defTabSz="1219170">
              <a:defRPr/>
            </a:pPr>
            <a:endParaRPr lang="ru-RU" sz="24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Text 3">
            <a:extLst>
              <a:ext uri="{FF2B5EF4-FFF2-40B4-BE49-F238E27FC236}">
                <a16:creationId xmlns:a16="http://schemas.microsoft.com/office/drawing/2014/main" id="{5C731DEC-A07C-6473-E2B8-AF77E6272284}"/>
              </a:ext>
            </a:extLst>
          </p:cNvPr>
          <p:cNvSpPr/>
          <p:nvPr/>
        </p:nvSpPr>
        <p:spPr>
          <a:xfrm>
            <a:off x="7717536" y="1957526"/>
            <a:ext cx="1328928" cy="1328928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algn="ctr" defTabSz="1219170">
              <a:defRPr/>
            </a:pPr>
            <a:r>
              <a:rPr lang="ru-RU" sz="1333" b="1" noProof="1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ассивное</a:t>
            </a:r>
            <a:endParaRPr lang="ru-RU" sz="1333" noProof="1">
              <a:solidFill>
                <a:srgbClr val="00B05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 defTabSz="1219170">
              <a:defRPr/>
            </a:pPr>
            <a:r>
              <a:rPr lang="ru-RU" sz="1333" b="1" noProof="1">
                <a:solidFill>
                  <a:srgbClr val="00B050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&amp; Связанное с практикой</a:t>
            </a:r>
            <a:endParaRPr lang="ru-RU" sz="1333" noProof="1">
              <a:solidFill>
                <a:srgbClr val="00B05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Shape 4">
            <a:extLst>
              <a:ext uri="{FF2B5EF4-FFF2-40B4-BE49-F238E27FC236}">
                <a16:creationId xmlns:a16="http://schemas.microsoft.com/office/drawing/2014/main" id="{0FEB5924-7C68-0F51-2C42-24A8E9F1A123}"/>
              </a:ext>
            </a:extLst>
          </p:cNvPr>
          <p:cNvSpPr/>
          <p:nvPr/>
        </p:nvSpPr>
        <p:spPr>
          <a:xfrm>
            <a:off x="9144000" y="1859990"/>
            <a:ext cx="1524000" cy="1524000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 w="10160">
            <a:solidFill>
              <a:srgbClr val="B2D8DE"/>
            </a:solidFill>
            <a:prstDash val="solid"/>
          </a:ln>
        </p:spPr>
        <p:txBody>
          <a:bodyPr/>
          <a:lstStyle/>
          <a:p>
            <a:pPr defTabSz="1219170">
              <a:defRPr/>
            </a:pPr>
            <a:endParaRPr lang="ru-RU" sz="24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Text 5">
            <a:extLst>
              <a:ext uri="{FF2B5EF4-FFF2-40B4-BE49-F238E27FC236}">
                <a16:creationId xmlns:a16="http://schemas.microsoft.com/office/drawing/2014/main" id="{DFD340B0-0640-F813-6DF4-D16230FEB815}"/>
              </a:ext>
            </a:extLst>
          </p:cNvPr>
          <p:cNvSpPr/>
          <p:nvPr/>
        </p:nvSpPr>
        <p:spPr>
          <a:xfrm>
            <a:off x="9241536" y="1957526"/>
            <a:ext cx="1328928" cy="1328928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algn="ctr" defTabSz="1219170">
              <a:defRPr/>
            </a:pPr>
            <a:r>
              <a:rPr lang="ru-RU" sz="1333" b="1" noProof="1">
                <a:solidFill>
                  <a:srgbClr val="00B050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Активное</a:t>
            </a:r>
            <a:endParaRPr lang="ru-RU" sz="1333" noProof="1">
              <a:solidFill>
                <a:srgbClr val="00B05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 defTabSz="1219170">
              <a:defRPr/>
            </a:pPr>
            <a:r>
              <a:rPr lang="ru-RU" sz="1333" b="1" noProof="1">
                <a:solidFill>
                  <a:srgbClr val="00B050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&amp; Связанное с практикой</a:t>
            </a:r>
            <a:endParaRPr lang="ru-RU" sz="1333" noProof="1">
              <a:solidFill>
                <a:srgbClr val="00B05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Shape 6">
            <a:extLst>
              <a:ext uri="{FF2B5EF4-FFF2-40B4-BE49-F238E27FC236}">
                <a16:creationId xmlns:a16="http://schemas.microsoft.com/office/drawing/2014/main" id="{80C6029F-F988-70C3-C069-FD525FEB168E}"/>
              </a:ext>
            </a:extLst>
          </p:cNvPr>
          <p:cNvSpPr/>
          <p:nvPr/>
        </p:nvSpPr>
        <p:spPr>
          <a:xfrm>
            <a:off x="7620000" y="3383990"/>
            <a:ext cx="1524000" cy="152400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10160">
            <a:solidFill>
              <a:srgbClr val="B2D8DE"/>
            </a:solidFill>
            <a:prstDash val="solid"/>
          </a:ln>
        </p:spPr>
        <p:txBody>
          <a:bodyPr/>
          <a:lstStyle/>
          <a:p>
            <a:pPr defTabSz="1219170">
              <a:defRPr/>
            </a:pPr>
            <a:endParaRPr lang="ru-RU" sz="24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Text 7">
            <a:extLst>
              <a:ext uri="{FF2B5EF4-FFF2-40B4-BE49-F238E27FC236}">
                <a16:creationId xmlns:a16="http://schemas.microsoft.com/office/drawing/2014/main" id="{1A09E64C-FC1D-D1EE-1326-06FB3546FC25}"/>
              </a:ext>
            </a:extLst>
          </p:cNvPr>
          <p:cNvSpPr/>
          <p:nvPr/>
        </p:nvSpPr>
        <p:spPr>
          <a:xfrm>
            <a:off x="7717536" y="3481526"/>
            <a:ext cx="1328928" cy="1328928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algn="ctr" defTabSz="1219170">
              <a:defRPr/>
            </a:pPr>
            <a:r>
              <a:rPr lang="ru-RU" sz="1333" b="1" noProof="1">
                <a:solidFill>
                  <a:srgbClr val="C00000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Пассивное</a:t>
            </a:r>
            <a:endParaRPr lang="ru-RU" sz="1333" noProof="1">
              <a:solidFill>
                <a:srgbClr val="C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 defTabSz="1219170">
              <a:defRPr/>
            </a:pPr>
            <a:r>
              <a:rPr lang="ru-RU" sz="1333" b="1" noProof="1">
                <a:solidFill>
                  <a:srgbClr val="C00000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&amp; Оторванное от практики</a:t>
            </a:r>
            <a:endParaRPr lang="ru-RU" sz="1333" noProof="1">
              <a:solidFill>
                <a:srgbClr val="C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Shape 8">
            <a:extLst>
              <a:ext uri="{FF2B5EF4-FFF2-40B4-BE49-F238E27FC236}">
                <a16:creationId xmlns:a16="http://schemas.microsoft.com/office/drawing/2014/main" id="{7238C110-FCE1-3F83-F5E8-E9AB23AC5CBF}"/>
              </a:ext>
            </a:extLst>
          </p:cNvPr>
          <p:cNvSpPr/>
          <p:nvPr/>
        </p:nvSpPr>
        <p:spPr>
          <a:xfrm>
            <a:off x="9144000" y="3383990"/>
            <a:ext cx="1524000" cy="1524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10160">
            <a:solidFill>
              <a:srgbClr val="B2D8DE"/>
            </a:solidFill>
            <a:prstDash val="solid"/>
          </a:ln>
        </p:spPr>
        <p:txBody>
          <a:bodyPr/>
          <a:lstStyle/>
          <a:p>
            <a:pPr defTabSz="1219170">
              <a:defRPr/>
            </a:pPr>
            <a:endParaRPr lang="ru-RU" sz="24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Text 9">
            <a:extLst>
              <a:ext uri="{FF2B5EF4-FFF2-40B4-BE49-F238E27FC236}">
                <a16:creationId xmlns:a16="http://schemas.microsoft.com/office/drawing/2014/main" id="{5D3D2F85-84DD-5981-9470-1ACB5D73742F}"/>
              </a:ext>
            </a:extLst>
          </p:cNvPr>
          <p:cNvSpPr/>
          <p:nvPr/>
        </p:nvSpPr>
        <p:spPr>
          <a:xfrm>
            <a:off x="9241536" y="3481526"/>
            <a:ext cx="1328928" cy="1328928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/>
        </p:spPr>
        <p:txBody>
          <a:bodyPr wrap="square" rtlCol="0" anchor="ctr"/>
          <a:lstStyle/>
          <a:p>
            <a:pPr algn="ctr" defTabSz="1219170">
              <a:defRPr/>
            </a:pPr>
            <a:r>
              <a:rPr lang="ru-RU" sz="1333" b="1" noProof="1">
                <a:solidFill>
                  <a:srgbClr val="C00000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Активное</a:t>
            </a:r>
            <a:endParaRPr lang="ru-RU" sz="1333" noProof="1">
              <a:solidFill>
                <a:srgbClr val="C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 defTabSz="1219170">
              <a:defRPr/>
            </a:pPr>
            <a:r>
              <a:rPr lang="ru-RU" sz="1333" b="1" noProof="1">
                <a:solidFill>
                  <a:srgbClr val="C00000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&amp; Оторванное от практики</a:t>
            </a:r>
            <a:endParaRPr lang="ru-RU" sz="1333" noProof="1">
              <a:solidFill>
                <a:srgbClr val="C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Shape 10">
            <a:extLst>
              <a:ext uri="{FF2B5EF4-FFF2-40B4-BE49-F238E27FC236}">
                <a16:creationId xmlns:a16="http://schemas.microsoft.com/office/drawing/2014/main" id="{F69C51D7-62AB-7F95-8889-6D7BFC3E6390}"/>
              </a:ext>
            </a:extLst>
          </p:cNvPr>
          <p:cNvSpPr/>
          <p:nvPr/>
        </p:nvSpPr>
        <p:spPr>
          <a:xfrm>
            <a:off x="7498080" y="3383990"/>
            <a:ext cx="3291840" cy="0"/>
          </a:xfrm>
          <a:prstGeom prst="line">
            <a:avLst/>
          </a:prstGeom>
          <a:noFill/>
          <a:ln w="25400">
            <a:solidFill>
              <a:srgbClr val="16303A"/>
            </a:solidFill>
            <a:prstDash val="solid"/>
          </a:ln>
        </p:spPr>
        <p:txBody>
          <a:bodyPr/>
          <a:lstStyle/>
          <a:p>
            <a:pPr defTabSz="1219170">
              <a:defRPr/>
            </a:pPr>
            <a:endParaRPr lang="ru-RU" sz="24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Shape 11">
            <a:extLst>
              <a:ext uri="{FF2B5EF4-FFF2-40B4-BE49-F238E27FC236}">
                <a16:creationId xmlns:a16="http://schemas.microsoft.com/office/drawing/2014/main" id="{2DB4759F-3C62-E4E0-35FF-909D1041E3BC}"/>
              </a:ext>
            </a:extLst>
          </p:cNvPr>
          <p:cNvSpPr/>
          <p:nvPr/>
        </p:nvSpPr>
        <p:spPr>
          <a:xfrm>
            <a:off x="9144000" y="1738070"/>
            <a:ext cx="0" cy="3291840"/>
          </a:xfrm>
          <a:prstGeom prst="line">
            <a:avLst/>
          </a:prstGeom>
          <a:noFill/>
          <a:ln w="25400">
            <a:solidFill>
              <a:srgbClr val="16303A"/>
            </a:solidFill>
            <a:prstDash val="solid"/>
          </a:ln>
        </p:spPr>
        <p:txBody>
          <a:bodyPr/>
          <a:lstStyle/>
          <a:p>
            <a:pPr defTabSz="1219170">
              <a:defRPr/>
            </a:pPr>
            <a:endParaRPr lang="ru-RU" sz="24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Text 12">
            <a:extLst>
              <a:ext uri="{FF2B5EF4-FFF2-40B4-BE49-F238E27FC236}">
                <a16:creationId xmlns:a16="http://schemas.microsoft.com/office/drawing/2014/main" id="{48558481-7134-711E-8A66-A85A4DB04E9B}"/>
              </a:ext>
            </a:extLst>
          </p:cNvPr>
          <p:cNvSpPr/>
          <p:nvPr/>
        </p:nvSpPr>
        <p:spPr>
          <a:xfrm>
            <a:off x="6071616" y="3140150"/>
            <a:ext cx="1499616" cy="42672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algn="r" defTabSz="1219170">
              <a:defRPr/>
            </a:pPr>
            <a:r>
              <a:rPr lang="ru-RU" sz="1467" b="1" noProof="1">
                <a:solidFill>
                  <a:srgbClr val="FF0000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ПАССИВНОЕ</a:t>
            </a:r>
            <a:endParaRPr lang="ru-RU" sz="1467" noProof="1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Text 13">
            <a:extLst>
              <a:ext uri="{FF2B5EF4-FFF2-40B4-BE49-F238E27FC236}">
                <a16:creationId xmlns:a16="http://schemas.microsoft.com/office/drawing/2014/main" id="{7FDB0B0D-BC09-C522-D793-CA0720817F0F}"/>
              </a:ext>
            </a:extLst>
          </p:cNvPr>
          <p:cNvSpPr/>
          <p:nvPr/>
        </p:nvSpPr>
        <p:spPr>
          <a:xfrm>
            <a:off x="10789920" y="3140150"/>
            <a:ext cx="1341120" cy="42672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467" b="1" noProof="1">
                <a:solidFill>
                  <a:srgbClr val="2D8A3E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АКТИВНОЕ</a:t>
            </a:r>
            <a:endParaRPr lang="ru-RU" sz="1467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Text 14">
            <a:extLst>
              <a:ext uri="{FF2B5EF4-FFF2-40B4-BE49-F238E27FC236}">
                <a16:creationId xmlns:a16="http://schemas.microsoft.com/office/drawing/2014/main" id="{A52522A9-A123-E950-CA13-E0AD8962A5E9}"/>
              </a:ext>
            </a:extLst>
          </p:cNvPr>
          <p:cNvSpPr/>
          <p:nvPr/>
        </p:nvSpPr>
        <p:spPr>
          <a:xfrm>
            <a:off x="7680960" y="1250390"/>
            <a:ext cx="2926080" cy="42672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algn="ctr" defTabSz="1219170">
              <a:defRPr/>
            </a:pPr>
            <a:r>
              <a:rPr lang="ru-RU" sz="1467" b="1" noProof="1">
                <a:solidFill>
                  <a:srgbClr val="2D8A3E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СВЯЗАННОЕ С ПРАКТИКОЙ</a:t>
            </a:r>
            <a:endParaRPr lang="ru-RU" sz="1467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Text 15">
            <a:extLst>
              <a:ext uri="{FF2B5EF4-FFF2-40B4-BE49-F238E27FC236}">
                <a16:creationId xmlns:a16="http://schemas.microsoft.com/office/drawing/2014/main" id="{BC63EF39-9C20-D725-8DB8-B157BD636CE7}"/>
              </a:ext>
            </a:extLst>
          </p:cNvPr>
          <p:cNvSpPr/>
          <p:nvPr/>
        </p:nvSpPr>
        <p:spPr>
          <a:xfrm>
            <a:off x="7802880" y="5029910"/>
            <a:ext cx="2682240" cy="42672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algn="ctr" defTabSz="1219170">
              <a:defRPr/>
            </a:pPr>
            <a:r>
              <a:rPr lang="ru-RU" sz="1467" b="1" noProof="1">
                <a:solidFill>
                  <a:schemeClr val="accent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торванное от практики</a:t>
            </a:r>
            <a:endParaRPr lang="ru-RU" sz="1467" noProof="1">
              <a:solidFill>
                <a:schemeClr val="accent5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Shape 16">
            <a:extLst>
              <a:ext uri="{FF2B5EF4-FFF2-40B4-BE49-F238E27FC236}">
                <a16:creationId xmlns:a16="http://schemas.microsoft.com/office/drawing/2014/main" id="{1A4E2C83-3048-BAF1-BE41-202A36B9A0BD}"/>
              </a:ext>
            </a:extLst>
          </p:cNvPr>
          <p:cNvSpPr/>
          <p:nvPr/>
        </p:nvSpPr>
        <p:spPr>
          <a:xfrm>
            <a:off x="10180320" y="1847798"/>
            <a:ext cx="390144" cy="390144"/>
          </a:xfrm>
          <a:prstGeom prst="ellipse">
            <a:avLst/>
          </a:prstGeom>
          <a:solidFill>
            <a:schemeClr val="bg1"/>
          </a:solidFill>
          <a:ln w="12700">
            <a:solidFill>
              <a:srgbClr val="027A87"/>
            </a:solidFill>
            <a:prstDash val="solid"/>
          </a:ln>
        </p:spPr>
        <p:txBody>
          <a:bodyPr/>
          <a:lstStyle/>
          <a:p>
            <a:pPr defTabSz="1219170">
              <a:defRPr/>
            </a:pPr>
            <a:endParaRPr lang="ru-RU" sz="2400" noProof="1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Text 17">
            <a:extLst>
              <a:ext uri="{FF2B5EF4-FFF2-40B4-BE49-F238E27FC236}">
                <a16:creationId xmlns:a16="http://schemas.microsoft.com/office/drawing/2014/main" id="{34ABE0B1-7F1E-5773-AA36-606DE75C06E9}"/>
              </a:ext>
            </a:extLst>
          </p:cNvPr>
          <p:cNvSpPr/>
          <p:nvPr/>
        </p:nvSpPr>
        <p:spPr>
          <a:xfrm>
            <a:off x="10485120" y="1457654"/>
            <a:ext cx="975360" cy="36576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algn="ctr" defTabSz="1219170">
              <a:defRPr/>
            </a:pPr>
            <a:r>
              <a:rPr lang="ru-RU" sz="1400" b="1" kern="0" spc="67" noProof="1">
                <a:solidFill>
                  <a:schemeClr val="bg1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ЦЕЛЬ</a:t>
            </a:r>
            <a:endParaRPr lang="ru-RU" sz="1400" noProof="1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Shape 18">
            <a:extLst>
              <a:ext uri="{FF2B5EF4-FFF2-40B4-BE49-F238E27FC236}">
                <a16:creationId xmlns:a16="http://schemas.microsoft.com/office/drawing/2014/main" id="{87D5CAF4-69DF-2400-7323-22853DBD5C64}"/>
              </a:ext>
            </a:extLst>
          </p:cNvPr>
          <p:cNvSpPr/>
          <p:nvPr/>
        </p:nvSpPr>
        <p:spPr>
          <a:xfrm>
            <a:off x="635317" y="1161721"/>
            <a:ext cx="5558216" cy="5242560"/>
          </a:xfrm>
          <a:prstGeom prst="rect">
            <a:avLst/>
          </a:prstGeom>
          <a:solidFill>
            <a:srgbClr val="D6F0F3"/>
          </a:solidFill>
          <a:ln w="12700">
            <a:solidFill>
              <a:srgbClr val="039AAA"/>
            </a:solidFill>
            <a:prstDash val="solid"/>
          </a:ln>
          <a:effectLst>
            <a:outerShdw blurRad="76200" dist="38100" dir="8100000" algn="bl" rotWithShape="0">
              <a:srgbClr val="000000">
                <a:alpha val="10000"/>
              </a:srgbClr>
            </a:outerShdw>
          </a:effectLst>
        </p:spPr>
        <p:txBody>
          <a:bodyPr/>
          <a:lstStyle/>
          <a:p>
            <a:pPr defTabSz="1219170">
              <a:defRPr/>
            </a:pPr>
            <a:endParaRPr lang="ru-RU" sz="24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" name="Shape 19">
            <a:extLst>
              <a:ext uri="{FF2B5EF4-FFF2-40B4-BE49-F238E27FC236}">
                <a16:creationId xmlns:a16="http://schemas.microsoft.com/office/drawing/2014/main" id="{097D20FC-6879-6655-0DF4-FADA1A7EB93B}"/>
              </a:ext>
            </a:extLst>
          </p:cNvPr>
          <p:cNvSpPr/>
          <p:nvPr/>
        </p:nvSpPr>
        <p:spPr>
          <a:xfrm>
            <a:off x="635317" y="1161721"/>
            <a:ext cx="138545" cy="5242560"/>
          </a:xfrm>
          <a:prstGeom prst="rect">
            <a:avLst/>
          </a:prstGeom>
          <a:solidFill>
            <a:srgbClr val="027A87"/>
          </a:solidFill>
          <a:ln w="12700">
            <a:solidFill>
              <a:srgbClr val="027A87"/>
            </a:solidFill>
            <a:prstDash val="solid"/>
          </a:ln>
        </p:spPr>
        <p:txBody>
          <a:bodyPr/>
          <a:lstStyle/>
          <a:p>
            <a:pPr defTabSz="1219170">
              <a:defRPr/>
            </a:pPr>
            <a:endParaRPr lang="ru-RU" sz="24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" name="Text 20">
            <a:extLst>
              <a:ext uri="{FF2B5EF4-FFF2-40B4-BE49-F238E27FC236}">
                <a16:creationId xmlns:a16="http://schemas.microsoft.com/office/drawing/2014/main" id="{C21091A4-9F44-9B72-8DA5-0F77983FE974}"/>
              </a:ext>
            </a:extLst>
          </p:cNvPr>
          <p:cNvSpPr/>
          <p:nvPr/>
        </p:nvSpPr>
        <p:spPr>
          <a:xfrm>
            <a:off x="940117" y="1283641"/>
            <a:ext cx="5403260" cy="463296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600" b="1" noProof="1">
                <a:solidFill>
                  <a:srgbClr val="027A87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Индивидуальное картирование  |  6 минут (молча)</a:t>
            </a:r>
            <a:endParaRPr lang="ru-RU" sz="16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2" name="Text 21">
            <a:extLst>
              <a:ext uri="{FF2B5EF4-FFF2-40B4-BE49-F238E27FC236}">
                <a16:creationId xmlns:a16="http://schemas.microsoft.com/office/drawing/2014/main" id="{77277C35-B840-A0C1-4EB9-08CA6A5AEF0E}"/>
              </a:ext>
            </a:extLst>
          </p:cNvPr>
          <p:cNvSpPr/>
          <p:nvPr/>
        </p:nvSpPr>
        <p:spPr>
          <a:xfrm>
            <a:off x="940117" y="1795705"/>
            <a:ext cx="5131499" cy="103632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533" noProof="1">
                <a:solidFill>
                  <a:srgbClr val="16303A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Подумайте </a:t>
            </a:r>
            <a:r>
              <a:rPr lang="ru-RU" sz="1533" noProof="1">
                <a:solidFill>
                  <a:srgbClr val="FF0000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максимум о 5 программах профессионального развития педагогов</a:t>
            </a:r>
            <a:r>
              <a:rPr lang="ru-RU" sz="1533" noProof="1">
                <a:solidFill>
                  <a:srgbClr val="16303A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, которые существуют в вашей организации или системе прямо сейчас — программах, которые вы реализовывали, посещали или заказывали за последние два года.</a:t>
            </a:r>
            <a:endParaRPr lang="ru-RU" sz="1533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3" name="Text 22">
            <a:extLst>
              <a:ext uri="{FF2B5EF4-FFF2-40B4-BE49-F238E27FC236}">
                <a16:creationId xmlns:a16="http://schemas.microsoft.com/office/drawing/2014/main" id="{83077F17-F963-D1E3-12EB-235D1C68233A}"/>
              </a:ext>
            </a:extLst>
          </p:cNvPr>
          <p:cNvSpPr/>
          <p:nvPr/>
        </p:nvSpPr>
        <p:spPr>
          <a:xfrm>
            <a:off x="940117" y="2892985"/>
            <a:ext cx="4981655" cy="585216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533" noProof="1">
                <a:solidFill>
                  <a:srgbClr val="16303A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Разместите каждую программу на вашем ПРП компасе с помощью точки.</a:t>
            </a:r>
            <a:endParaRPr lang="ru-RU" sz="1533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4" name="Text 23">
            <a:extLst>
              <a:ext uri="{FF2B5EF4-FFF2-40B4-BE49-F238E27FC236}">
                <a16:creationId xmlns:a16="http://schemas.microsoft.com/office/drawing/2014/main" id="{11CF0901-E4B6-D44A-57AD-998BC9C52935}"/>
              </a:ext>
            </a:extLst>
          </p:cNvPr>
          <p:cNvSpPr/>
          <p:nvPr/>
        </p:nvSpPr>
        <p:spPr>
          <a:xfrm>
            <a:off x="940117" y="3539161"/>
            <a:ext cx="5403260" cy="463296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600" b="1" i="1" noProof="1">
                <a:solidFill>
                  <a:srgbClr val="E8940A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Подписывать их пока не нужно.</a:t>
            </a:r>
            <a:endParaRPr lang="ru-RU" sz="16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5" name="Text 24">
            <a:extLst>
              <a:ext uri="{FF2B5EF4-FFF2-40B4-BE49-F238E27FC236}">
                <a16:creationId xmlns:a16="http://schemas.microsoft.com/office/drawing/2014/main" id="{28B13DC3-029E-5CE6-C364-36161B43A09E}"/>
              </a:ext>
            </a:extLst>
          </p:cNvPr>
          <p:cNvSpPr/>
          <p:nvPr/>
        </p:nvSpPr>
        <p:spPr>
          <a:xfrm>
            <a:off x="940117" y="4112185"/>
            <a:ext cx="5155883" cy="950976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333" i="1" noProof="1">
                <a:solidFill>
                  <a:srgbClr val="5C7A84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Инструкция пока не подписывать их намеренна — она снижает самоцензуру. Участники наносят паттерн на карту, а не выносят публичный вердикт.</a:t>
            </a:r>
            <a:endParaRPr lang="ru-RU" sz="1333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6" name="Text 25">
            <a:extLst>
              <a:ext uri="{FF2B5EF4-FFF2-40B4-BE49-F238E27FC236}">
                <a16:creationId xmlns:a16="http://schemas.microsoft.com/office/drawing/2014/main" id="{85F84C27-432E-5A7A-EC51-573592A695F8}"/>
              </a:ext>
            </a:extLst>
          </p:cNvPr>
          <p:cNvSpPr/>
          <p:nvPr/>
        </p:nvSpPr>
        <p:spPr>
          <a:xfrm>
            <a:off x="940117" y="5160697"/>
            <a:ext cx="5403260" cy="390144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467" b="1" noProof="1">
                <a:solidFill>
                  <a:srgbClr val="027A87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Обсуждение за столом  |  9 минут</a:t>
            </a:r>
            <a:endParaRPr lang="ru-RU" sz="1467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7" name="Text 26">
            <a:extLst>
              <a:ext uri="{FF2B5EF4-FFF2-40B4-BE49-F238E27FC236}">
                <a16:creationId xmlns:a16="http://schemas.microsoft.com/office/drawing/2014/main" id="{83584C2D-CD2C-729C-50F7-58D8B8498C3E}"/>
              </a:ext>
            </a:extLst>
          </p:cNvPr>
          <p:cNvSpPr/>
          <p:nvPr/>
        </p:nvSpPr>
        <p:spPr>
          <a:xfrm>
            <a:off x="940117" y="5575225"/>
            <a:ext cx="5155884" cy="67056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467" noProof="1">
                <a:solidFill>
                  <a:srgbClr val="16303A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Где скапливается большинство ваших точек? Похож ли ваш паттерн на паттерн коллег за вашим столом или отличается от него?</a:t>
            </a:r>
            <a:endParaRPr lang="ru-RU" sz="1467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5247962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B41BC303-DEC5-9589-9C48-C237C915AC7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DB84476-BC29-4407-9D57-B2E562B8968B}" type="slidenum">
              <a:rPr lang="ru-RU" noProof="1" smtClean="0"/>
              <a:pPr/>
              <a:t>3</a:t>
            </a:fld>
            <a:endParaRPr lang="ru-RU" noProof="1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F0B4D55-3024-13E7-0844-3ABD25CE511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noProof="1"/>
              <a:t>Важные технические ремарки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D3B103D-2114-8AB7-48B9-BDBFE63576C6}"/>
              </a:ext>
            </a:extLst>
          </p:cNvPr>
          <p:cNvSpPr txBox="1"/>
          <p:nvPr/>
        </p:nvSpPr>
        <p:spPr>
          <a:xfrm>
            <a:off x="811161" y="1917290"/>
            <a:ext cx="7020233" cy="240065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+mj-lt"/>
              <a:buAutoNum type="arabicPeriod"/>
            </a:pPr>
            <a:r>
              <a:rPr lang="ru-RU" sz="3000" noProof="1">
                <a:solidFill>
                  <a:schemeClr val="bg1"/>
                </a:solidFill>
              </a:rPr>
              <a:t>Безопасность </a:t>
            </a:r>
          </a:p>
          <a:p>
            <a:pPr marL="342900" indent="-342900">
              <a:buFont typeface="+mj-lt"/>
              <a:buAutoNum type="arabicPeriod"/>
            </a:pPr>
            <a:r>
              <a:rPr lang="ru-RU" sz="3000" noProof="1">
                <a:solidFill>
                  <a:schemeClr val="bg1"/>
                </a:solidFill>
              </a:rPr>
              <a:t>Соблюдение режима</a:t>
            </a:r>
          </a:p>
          <a:p>
            <a:pPr marL="342900" indent="-342900">
              <a:buFont typeface="+mj-lt"/>
              <a:buAutoNum type="arabicPeriod"/>
            </a:pPr>
            <a:r>
              <a:rPr lang="ru-RU" sz="3000" noProof="1">
                <a:solidFill>
                  <a:schemeClr val="bg1"/>
                </a:solidFill>
              </a:rPr>
              <a:t>Совместные фотографии</a:t>
            </a:r>
          </a:p>
          <a:p>
            <a:pPr marL="342900" indent="-342900">
              <a:buFont typeface="+mj-lt"/>
              <a:buAutoNum type="arabicPeriod"/>
            </a:pPr>
            <a:endParaRPr lang="ru-RU" sz="3000" noProof="1">
              <a:solidFill>
                <a:schemeClr val="bg1"/>
              </a:solidFill>
            </a:endParaRPr>
          </a:p>
          <a:p>
            <a:pPr marL="342900" indent="-342900">
              <a:buFont typeface="+mj-lt"/>
              <a:buAutoNum type="arabicPeriod"/>
            </a:pPr>
            <a:endParaRPr lang="ru-RU" sz="3000" noProof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4023082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8002D754-BAA4-C3D1-0DAA-40C740AE509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DB84476-BC29-4407-9D57-B2E562B8968B}" type="slidenum">
              <a:rPr lang="ru-RU" noProof="1" smtClean="0"/>
              <a:pPr/>
              <a:t>30</a:t>
            </a:fld>
            <a:endParaRPr lang="ru-RU" noProof="1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DBAC0F5B-E951-B7D4-B6B5-48D5663595D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noProof="1"/>
              <a:t>Страновое обсуждение: рассадка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493F8678-E6E7-BA9A-E038-1F7DFE55B242}"/>
              </a:ext>
            </a:extLst>
          </p:cNvPr>
          <p:cNvSpPr txBox="1"/>
          <p:nvPr/>
        </p:nvSpPr>
        <p:spPr>
          <a:xfrm>
            <a:off x="739036" y="1791222"/>
            <a:ext cx="5874706" cy="1631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2000" noProof="1">
                <a:solidFill>
                  <a:schemeClr val="bg1"/>
                </a:solidFill>
              </a:rPr>
              <a:t>Казахстан: Столы 1, 2, 3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2000" noProof="1">
                <a:solidFill>
                  <a:schemeClr val="bg1"/>
                </a:solidFill>
              </a:rPr>
              <a:t>Кыргызстан: Стол 8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2000" noProof="1">
                <a:solidFill>
                  <a:schemeClr val="bg1"/>
                </a:solidFill>
              </a:rPr>
              <a:t>Таджикистан: Стол 7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2000" noProof="1">
                <a:solidFill>
                  <a:schemeClr val="bg1"/>
                </a:solidFill>
              </a:rPr>
              <a:t>Туркменистан: Стол 6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2000" noProof="1">
                <a:solidFill>
                  <a:schemeClr val="bg1"/>
                </a:solidFill>
              </a:rPr>
              <a:t>Узбекистан: Столы 4, 5 </a:t>
            </a:r>
          </a:p>
        </p:txBody>
      </p:sp>
    </p:spTree>
    <p:extLst>
      <p:ext uri="{BB962C8B-B14F-4D97-AF65-F5344CB8AC3E}">
        <p14:creationId xmlns:p14="http://schemas.microsoft.com/office/powerpoint/2010/main" val="365496568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7535758-66F4-CEAB-5747-FE389455B93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5317" y="183677"/>
            <a:ext cx="10137977" cy="1080120"/>
          </a:xfrm>
        </p:spPr>
        <p:txBody>
          <a:bodyPr>
            <a:normAutofit/>
          </a:bodyPr>
          <a:lstStyle/>
          <a:p>
            <a:r>
              <a:rPr lang="ru-RU" noProof="1"/>
              <a:t>Создание одной коллективной карты на страну</a:t>
            </a:r>
          </a:p>
        </p:txBody>
      </p:sp>
      <p:sp>
        <p:nvSpPr>
          <p:cNvPr id="4" name="Shape 3">
            <a:extLst>
              <a:ext uri="{FF2B5EF4-FFF2-40B4-BE49-F238E27FC236}">
                <a16:creationId xmlns:a16="http://schemas.microsoft.com/office/drawing/2014/main" id="{F8036049-419E-3C22-33EC-7CC445A6AA41}"/>
              </a:ext>
            </a:extLst>
          </p:cNvPr>
          <p:cNvSpPr/>
          <p:nvPr/>
        </p:nvSpPr>
        <p:spPr>
          <a:xfrm>
            <a:off x="487680" y="1077080"/>
            <a:ext cx="11216640" cy="2011680"/>
          </a:xfrm>
          <a:prstGeom prst="rect">
            <a:avLst/>
          </a:prstGeom>
          <a:solidFill>
            <a:srgbClr val="D6F0F3"/>
          </a:solidFill>
          <a:ln w="12700">
            <a:solidFill>
              <a:srgbClr val="039AAA"/>
            </a:solidFill>
            <a:prstDash val="solid"/>
          </a:ln>
        </p:spPr>
        <p:txBody>
          <a:bodyPr/>
          <a:lstStyle/>
          <a:p>
            <a:pPr defTabSz="1219170">
              <a:defRPr/>
            </a:pPr>
            <a:endParaRPr lang="ru-RU" sz="12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Shape 4">
            <a:extLst>
              <a:ext uri="{FF2B5EF4-FFF2-40B4-BE49-F238E27FC236}">
                <a16:creationId xmlns:a16="http://schemas.microsoft.com/office/drawing/2014/main" id="{558D6B68-77AA-91ED-74DB-46AE78853425}"/>
              </a:ext>
            </a:extLst>
          </p:cNvPr>
          <p:cNvSpPr/>
          <p:nvPr/>
        </p:nvSpPr>
        <p:spPr>
          <a:xfrm>
            <a:off x="487680" y="1077080"/>
            <a:ext cx="121920" cy="1997269"/>
          </a:xfrm>
          <a:prstGeom prst="rect">
            <a:avLst/>
          </a:prstGeom>
          <a:solidFill>
            <a:srgbClr val="027A87"/>
          </a:solidFill>
          <a:ln w="12700">
            <a:solidFill>
              <a:srgbClr val="027A87"/>
            </a:solidFill>
            <a:prstDash val="solid"/>
          </a:ln>
        </p:spPr>
        <p:txBody>
          <a:bodyPr/>
          <a:lstStyle/>
          <a:p>
            <a:pPr defTabSz="1219170">
              <a:defRPr/>
            </a:pPr>
            <a:endParaRPr lang="ru-RU" sz="12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Text 5">
            <a:extLst>
              <a:ext uri="{FF2B5EF4-FFF2-40B4-BE49-F238E27FC236}">
                <a16:creationId xmlns:a16="http://schemas.microsoft.com/office/drawing/2014/main" id="{B34212D3-0702-D205-82C5-92E3238B5BB7}"/>
              </a:ext>
            </a:extLst>
          </p:cNvPr>
          <p:cNvSpPr/>
          <p:nvPr/>
        </p:nvSpPr>
        <p:spPr>
          <a:xfrm>
            <a:off x="853440" y="1174616"/>
            <a:ext cx="10607040" cy="390144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600" b="1" noProof="1">
                <a:solidFill>
                  <a:srgbClr val="027A87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Групповое задание  </a:t>
            </a:r>
            <a:endParaRPr lang="ru-RU" sz="16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Text 6">
            <a:extLst>
              <a:ext uri="{FF2B5EF4-FFF2-40B4-BE49-F238E27FC236}">
                <a16:creationId xmlns:a16="http://schemas.microsoft.com/office/drawing/2014/main" id="{EC40B1D4-90A1-C6C8-8CEB-882678053FB1}"/>
              </a:ext>
            </a:extLst>
          </p:cNvPr>
          <p:cNvSpPr/>
          <p:nvPr/>
        </p:nvSpPr>
        <p:spPr>
          <a:xfrm>
            <a:off x="853440" y="1564760"/>
            <a:ext cx="10607040" cy="91440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600" i="1" noProof="1">
                <a:solidFill>
                  <a:srgbClr val="16303A"/>
                </a:solidFill>
                <a:latin typeface="Arial" panose="020B0604020202020204" pitchFamily="34" charset="0"/>
                <a:ea typeface="Georgia" pitchFamily="34" charset="-122"/>
                <a:cs typeface="Arial" panose="020B0604020202020204" pitchFamily="34" charset="0"/>
              </a:rPr>
              <a:t>В страновой группе создайте одну коллективную карту CPD COMPASS. Отметьте, где, по вашему мнению, в настоящее время находится большинство программ профессионального развития педагогов в вашей системе — не лучшие примеры, не худшие, а типичную картину.</a:t>
            </a:r>
            <a:endParaRPr lang="ru-RU" sz="16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Text 7">
            <a:extLst>
              <a:ext uri="{FF2B5EF4-FFF2-40B4-BE49-F238E27FC236}">
                <a16:creationId xmlns:a16="http://schemas.microsoft.com/office/drawing/2014/main" id="{A4F35910-0D6E-DB38-0CCC-392602CA9161}"/>
              </a:ext>
            </a:extLst>
          </p:cNvPr>
          <p:cNvSpPr/>
          <p:nvPr/>
        </p:nvSpPr>
        <p:spPr>
          <a:xfrm>
            <a:off x="853440" y="2461385"/>
            <a:ext cx="10607040" cy="42672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600" b="1" noProof="1">
                <a:solidFill>
                  <a:srgbClr val="16303A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Используйте два цвета: один — для профессионального развития педагогов на уровне агентства или системы  |  один — для профессионального развития педагогов на уровне учебного заведения</a:t>
            </a:r>
            <a:endParaRPr lang="ru-RU" sz="16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Shape 8">
            <a:extLst>
              <a:ext uri="{FF2B5EF4-FFF2-40B4-BE49-F238E27FC236}">
                <a16:creationId xmlns:a16="http://schemas.microsoft.com/office/drawing/2014/main" id="{7172C5E5-3F42-B351-9CAA-B6297D7F474C}"/>
              </a:ext>
            </a:extLst>
          </p:cNvPr>
          <p:cNvSpPr/>
          <p:nvPr/>
        </p:nvSpPr>
        <p:spPr>
          <a:xfrm>
            <a:off x="476067" y="3304612"/>
            <a:ext cx="5364480" cy="633984"/>
          </a:xfrm>
          <a:prstGeom prst="rect">
            <a:avLst/>
          </a:prstGeom>
          <a:solidFill>
            <a:srgbClr val="027A87"/>
          </a:solidFill>
          <a:ln w="12700">
            <a:solidFill>
              <a:srgbClr val="027A87"/>
            </a:solidFill>
            <a:prstDash val="solid"/>
          </a:ln>
        </p:spPr>
        <p:txBody>
          <a:bodyPr/>
          <a:lstStyle/>
          <a:p>
            <a:pPr defTabSz="1219170">
              <a:defRPr/>
            </a:pPr>
            <a:endParaRPr lang="ru-RU" sz="12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Shape 9">
            <a:extLst>
              <a:ext uri="{FF2B5EF4-FFF2-40B4-BE49-F238E27FC236}">
                <a16:creationId xmlns:a16="http://schemas.microsoft.com/office/drawing/2014/main" id="{B34AFC4C-F8B8-8503-A7E9-0124026392A1}"/>
              </a:ext>
            </a:extLst>
          </p:cNvPr>
          <p:cNvSpPr/>
          <p:nvPr/>
        </p:nvSpPr>
        <p:spPr>
          <a:xfrm>
            <a:off x="719907" y="3426532"/>
            <a:ext cx="365760" cy="365760"/>
          </a:xfrm>
          <a:prstGeom prst="ellipse">
            <a:avLst/>
          </a:prstGeom>
          <a:solidFill>
            <a:srgbClr val="FFFFFF"/>
          </a:solidFill>
          <a:ln w="12700">
            <a:solidFill>
              <a:srgbClr val="FFFFFF"/>
            </a:solidFill>
            <a:prstDash val="solid"/>
          </a:ln>
        </p:spPr>
        <p:txBody>
          <a:bodyPr/>
          <a:lstStyle/>
          <a:p>
            <a:pPr defTabSz="1219170">
              <a:defRPr/>
            </a:pPr>
            <a:endParaRPr lang="ru-RU" sz="12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Text 10">
            <a:extLst>
              <a:ext uri="{FF2B5EF4-FFF2-40B4-BE49-F238E27FC236}">
                <a16:creationId xmlns:a16="http://schemas.microsoft.com/office/drawing/2014/main" id="{ECCA1A2A-18C8-7B31-0090-A8D7397D1813}"/>
              </a:ext>
            </a:extLst>
          </p:cNvPr>
          <p:cNvSpPr/>
          <p:nvPr/>
        </p:nvSpPr>
        <p:spPr>
          <a:xfrm>
            <a:off x="1268547" y="3304612"/>
            <a:ext cx="4389120" cy="633984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600" b="1" noProof="1">
                <a:solidFill>
                  <a:srgbClr val="FFFFFF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Профессиональное развитие педагогов на уровне агентства / системы</a:t>
            </a:r>
            <a:endParaRPr lang="ru-RU" sz="16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Shape 11">
            <a:extLst>
              <a:ext uri="{FF2B5EF4-FFF2-40B4-BE49-F238E27FC236}">
                <a16:creationId xmlns:a16="http://schemas.microsoft.com/office/drawing/2014/main" id="{7E694662-785A-CA0C-9ED6-CF7EF7CF69B6}"/>
              </a:ext>
            </a:extLst>
          </p:cNvPr>
          <p:cNvSpPr/>
          <p:nvPr/>
        </p:nvSpPr>
        <p:spPr>
          <a:xfrm>
            <a:off x="6328227" y="3304612"/>
            <a:ext cx="5364480" cy="633984"/>
          </a:xfrm>
          <a:prstGeom prst="rect">
            <a:avLst/>
          </a:prstGeom>
          <a:solidFill>
            <a:srgbClr val="E8940A"/>
          </a:solidFill>
          <a:ln w="12700">
            <a:solidFill>
              <a:srgbClr val="E8940A"/>
            </a:solidFill>
            <a:prstDash val="solid"/>
          </a:ln>
        </p:spPr>
        <p:txBody>
          <a:bodyPr/>
          <a:lstStyle/>
          <a:p>
            <a:pPr defTabSz="1219170">
              <a:defRPr/>
            </a:pPr>
            <a:endParaRPr lang="ru-RU" sz="12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Shape 12">
            <a:extLst>
              <a:ext uri="{FF2B5EF4-FFF2-40B4-BE49-F238E27FC236}">
                <a16:creationId xmlns:a16="http://schemas.microsoft.com/office/drawing/2014/main" id="{15122864-E65F-115C-E4B5-B749A63DC2AF}"/>
              </a:ext>
            </a:extLst>
          </p:cNvPr>
          <p:cNvSpPr/>
          <p:nvPr/>
        </p:nvSpPr>
        <p:spPr>
          <a:xfrm>
            <a:off x="6572067" y="3426532"/>
            <a:ext cx="365760" cy="365760"/>
          </a:xfrm>
          <a:prstGeom prst="ellipse">
            <a:avLst/>
          </a:prstGeom>
          <a:solidFill>
            <a:srgbClr val="FFFFFF"/>
          </a:solidFill>
          <a:ln w="12700">
            <a:solidFill>
              <a:srgbClr val="FFFFFF"/>
            </a:solidFill>
            <a:prstDash val="solid"/>
          </a:ln>
        </p:spPr>
        <p:txBody>
          <a:bodyPr/>
          <a:lstStyle/>
          <a:p>
            <a:pPr defTabSz="1219170">
              <a:defRPr/>
            </a:pPr>
            <a:endParaRPr lang="ru-RU" sz="12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Text 13">
            <a:extLst>
              <a:ext uri="{FF2B5EF4-FFF2-40B4-BE49-F238E27FC236}">
                <a16:creationId xmlns:a16="http://schemas.microsoft.com/office/drawing/2014/main" id="{8EA7C1F8-805E-9E87-A50F-3C7577DD6593}"/>
              </a:ext>
            </a:extLst>
          </p:cNvPr>
          <p:cNvSpPr/>
          <p:nvPr/>
        </p:nvSpPr>
        <p:spPr>
          <a:xfrm>
            <a:off x="7120707" y="3304612"/>
            <a:ext cx="4389120" cy="633984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600" b="1" noProof="1">
                <a:solidFill>
                  <a:srgbClr val="FFFFFF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Профессиональное развитие педагогов на уровне учебного заведения</a:t>
            </a:r>
            <a:endParaRPr lang="ru-RU" sz="16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Shape 14">
            <a:extLst>
              <a:ext uri="{FF2B5EF4-FFF2-40B4-BE49-F238E27FC236}">
                <a16:creationId xmlns:a16="http://schemas.microsoft.com/office/drawing/2014/main" id="{DBA162F2-C608-208B-02C4-6617BBCCBAD6}"/>
              </a:ext>
            </a:extLst>
          </p:cNvPr>
          <p:cNvSpPr/>
          <p:nvPr/>
        </p:nvSpPr>
        <p:spPr>
          <a:xfrm>
            <a:off x="476067" y="4331095"/>
            <a:ext cx="11216640" cy="1399628"/>
          </a:xfrm>
          <a:prstGeom prst="rect">
            <a:avLst/>
          </a:prstGeom>
          <a:solidFill>
            <a:srgbClr val="FFFFFF"/>
          </a:solidFill>
          <a:ln w="10160">
            <a:solidFill>
              <a:srgbClr val="B2D8DE"/>
            </a:solidFill>
            <a:prstDash val="solid"/>
          </a:ln>
          <a:effectLst>
            <a:outerShdw blurRad="76200" dist="38100" dir="8100000" algn="bl" rotWithShape="0">
              <a:srgbClr val="000000">
                <a:alpha val="10000"/>
              </a:srgbClr>
            </a:outerShdw>
          </a:effectLst>
        </p:spPr>
        <p:txBody>
          <a:bodyPr/>
          <a:lstStyle/>
          <a:p>
            <a:pPr defTabSz="1219170">
              <a:defRPr/>
            </a:pPr>
            <a:endParaRPr lang="ru-RU" sz="12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Text 15">
            <a:extLst>
              <a:ext uri="{FF2B5EF4-FFF2-40B4-BE49-F238E27FC236}">
                <a16:creationId xmlns:a16="http://schemas.microsoft.com/office/drawing/2014/main" id="{71702175-AC80-4DAD-356D-F9B037746C68}"/>
              </a:ext>
            </a:extLst>
          </p:cNvPr>
          <p:cNvSpPr/>
          <p:nvPr/>
        </p:nvSpPr>
        <p:spPr>
          <a:xfrm>
            <a:off x="708293" y="4329196"/>
            <a:ext cx="10728960" cy="36576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600" b="1" noProof="1">
                <a:solidFill>
                  <a:srgbClr val="027A87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Почему два цвета?</a:t>
            </a:r>
            <a:endParaRPr lang="ru-RU" sz="16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Text 16">
            <a:extLst>
              <a:ext uri="{FF2B5EF4-FFF2-40B4-BE49-F238E27FC236}">
                <a16:creationId xmlns:a16="http://schemas.microsoft.com/office/drawing/2014/main" id="{E14BA033-19C6-2D4A-520C-B1AF856AA109}"/>
              </a:ext>
            </a:extLst>
          </p:cNvPr>
          <p:cNvSpPr/>
          <p:nvPr/>
        </p:nvSpPr>
        <p:spPr>
          <a:xfrm>
            <a:off x="708293" y="4845969"/>
            <a:ext cx="10728960" cy="60960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600" i="1" noProof="1">
                <a:solidFill>
                  <a:srgbClr val="3D6673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Это первый момент на мероприятии, когда различие между агентством и институтом становится структурным. В большинстве контекстов профессиональное развитие педагогов в учебном заведении будет aгруппироваться иначе, чем профессиональное развитие педагогов на системном уровне, — и это различие само по себе является результатом, заслуживающим упоминания.</a:t>
            </a:r>
            <a:endParaRPr lang="ru-RU" sz="16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" name="Shape 19">
            <a:extLst>
              <a:ext uri="{FF2B5EF4-FFF2-40B4-BE49-F238E27FC236}">
                <a16:creationId xmlns:a16="http://schemas.microsoft.com/office/drawing/2014/main" id="{21E91240-663B-08BB-3A2D-FAACC60A55EF}"/>
              </a:ext>
            </a:extLst>
          </p:cNvPr>
          <p:cNvSpPr/>
          <p:nvPr/>
        </p:nvSpPr>
        <p:spPr>
          <a:xfrm>
            <a:off x="487680" y="5960985"/>
            <a:ext cx="11216640" cy="414528"/>
          </a:xfrm>
          <a:prstGeom prst="rect">
            <a:avLst/>
          </a:prstGeom>
          <a:solidFill>
            <a:srgbClr val="E8940A"/>
          </a:solidFill>
          <a:ln w="12700">
            <a:solidFill>
              <a:srgbClr val="E8940A"/>
            </a:solidFill>
            <a:prstDash val="solid"/>
          </a:ln>
        </p:spPr>
        <p:txBody>
          <a:bodyPr/>
          <a:lstStyle/>
          <a:p>
            <a:pPr defTabSz="1219170">
              <a:defRPr/>
            </a:pPr>
            <a:endParaRPr lang="ru-RU" sz="12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" name="Text 20">
            <a:extLst>
              <a:ext uri="{FF2B5EF4-FFF2-40B4-BE49-F238E27FC236}">
                <a16:creationId xmlns:a16="http://schemas.microsoft.com/office/drawing/2014/main" id="{C4D6B436-3E7D-0365-DF32-9927D5F1E6A1}"/>
              </a:ext>
            </a:extLst>
          </p:cNvPr>
          <p:cNvSpPr/>
          <p:nvPr/>
        </p:nvSpPr>
        <p:spPr>
          <a:xfrm>
            <a:off x="487680" y="5960985"/>
            <a:ext cx="11216640" cy="414528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algn="ctr" defTabSz="1219170">
              <a:defRPr/>
            </a:pPr>
            <a:r>
              <a:rPr lang="ru-RU" sz="1200" b="1" noProof="1">
                <a:solidFill>
                  <a:srgbClr val="FFFFFF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SCAFFOLD: Принцип 3.3 (Обучающийся в центре) — задание адаптируется к вашей роли, а не является фиксированной рамкой</a:t>
            </a:r>
            <a:endParaRPr lang="ru-RU" sz="12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433306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8A9F1CA-75E0-67B9-52E3-384DCA02C14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5318" y="336819"/>
            <a:ext cx="10514821" cy="1080120"/>
          </a:xfrm>
        </p:spPr>
        <p:txBody>
          <a:bodyPr>
            <a:normAutofit/>
          </a:bodyPr>
          <a:lstStyle/>
          <a:p>
            <a:r>
              <a:rPr lang="ru-RU" noProof="1"/>
              <a:t>Чтение паттернов — без ранжирования стран</a:t>
            </a:r>
          </a:p>
        </p:txBody>
      </p:sp>
      <p:sp>
        <p:nvSpPr>
          <p:cNvPr id="4" name="Shape 3">
            <a:extLst>
              <a:ext uri="{FF2B5EF4-FFF2-40B4-BE49-F238E27FC236}">
                <a16:creationId xmlns:a16="http://schemas.microsoft.com/office/drawing/2014/main" id="{9A6D8251-1012-2492-C4B7-18132A72997D}"/>
              </a:ext>
            </a:extLst>
          </p:cNvPr>
          <p:cNvSpPr/>
          <p:nvPr/>
        </p:nvSpPr>
        <p:spPr>
          <a:xfrm>
            <a:off x="635317" y="1266127"/>
            <a:ext cx="2011680" cy="1584960"/>
          </a:xfrm>
          <a:prstGeom prst="rect">
            <a:avLst/>
          </a:prstGeom>
          <a:solidFill>
            <a:srgbClr val="D6F0F3"/>
          </a:solidFill>
          <a:ln w="12700">
            <a:solidFill>
              <a:srgbClr val="039AAA"/>
            </a:solidFill>
            <a:prstDash val="solid"/>
          </a:ln>
          <a:effectLst>
            <a:outerShdw blurRad="76200" dist="38100" dir="8100000" algn="bl" rotWithShape="0">
              <a:srgbClr val="000000">
                <a:alpha val="10000"/>
              </a:srgbClr>
            </a:outerShdw>
          </a:effectLst>
        </p:spPr>
        <p:txBody>
          <a:bodyPr/>
          <a:lstStyle/>
          <a:p>
            <a:pPr defTabSz="1219170">
              <a:defRPr/>
            </a:pPr>
            <a:endParaRPr lang="ru-RU" sz="24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Text 4">
            <a:extLst>
              <a:ext uri="{FF2B5EF4-FFF2-40B4-BE49-F238E27FC236}">
                <a16:creationId xmlns:a16="http://schemas.microsoft.com/office/drawing/2014/main" id="{BD6A3B87-BEF7-9DD6-E259-F7408D048B0E}"/>
              </a:ext>
            </a:extLst>
          </p:cNvPr>
          <p:cNvSpPr/>
          <p:nvPr/>
        </p:nvSpPr>
        <p:spPr>
          <a:xfrm>
            <a:off x="635317" y="1266127"/>
            <a:ext cx="2011680" cy="341376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algn="ctr" defTabSz="1219170">
              <a:defRPr/>
            </a:pPr>
            <a:r>
              <a:rPr lang="ru-RU" sz="1067" b="1" noProof="1">
                <a:solidFill>
                  <a:srgbClr val="027A87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Страна 1</a:t>
            </a:r>
            <a:endParaRPr lang="ru-RU" sz="1067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Shape 5">
            <a:extLst>
              <a:ext uri="{FF2B5EF4-FFF2-40B4-BE49-F238E27FC236}">
                <a16:creationId xmlns:a16="http://schemas.microsoft.com/office/drawing/2014/main" id="{6FE6595C-2731-CBAD-6EBE-F12B25F5B2D6}"/>
              </a:ext>
            </a:extLst>
          </p:cNvPr>
          <p:cNvSpPr/>
          <p:nvPr/>
        </p:nvSpPr>
        <p:spPr>
          <a:xfrm>
            <a:off x="757237" y="1936687"/>
            <a:ext cx="1767840" cy="0"/>
          </a:xfrm>
          <a:prstGeom prst="line">
            <a:avLst/>
          </a:prstGeom>
          <a:noFill/>
          <a:ln w="10160">
            <a:solidFill>
              <a:srgbClr val="B2D8DE"/>
            </a:solidFill>
            <a:prstDash val="solid"/>
          </a:ln>
        </p:spPr>
        <p:txBody>
          <a:bodyPr/>
          <a:lstStyle/>
          <a:p>
            <a:pPr defTabSz="1219170">
              <a:defRPr/>
            </a:pPr>
            <a:endParaRPr lang="ru-RU" sz="24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Shape 6">
            <a:extLst>
              <a:ext uri="{FF2B5EF4-FFF2-40B4-BE49-F238E27FC236}">
                <a16:creationId xmlns:a16="http://schemas.microsoft.com/office/drawing/2014/main" id="{E3ADA38D-40CA-7A81-9A02-364C2429A07D}"/>
              </a:ext>
            </a:extLst>
          </p:cNvPr>
          <p:cNvSpPr/>
          <p:nvPr/>
        </p:nvSpPr>
        <p:spPr>
          <a:xfrm>
            <a:off x="1635061" y="1473391"/>
            <a:ext cx="0" cy="1280160"/>
          </a:xfrm>
          <a:prstGeom prst="line">
            <a:avLst/>
          </a:prstGeom>
          <a:noFill/>
          <a:ln w="10160">
            <a:solidFill>
              <a:srgbClr val="B2D8DE"/>
            </a:solidFill>
            <a:prstDash val="solid"/>
          </a:ln>
        </p:spPr>
        <p:txBody>
          <a:bodyPr/>
          <a:lstStyle/>
          <a:p>
            <a:pPr defTabSz="1219170">
              <a:defRPr/>
            </a:pPr>
            <a:endParaRPr lang="ru-RU" sz="24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Shape 7">
            <a:extLst>
              <a:ext uri="{FF2B5EF4-FFF2-40B4-BE49-F238E27FC236}">
                <a16:creationId xmlns:a16="http://schemas.microsoft.com/office/drawing/2014/main" id="{4CA81C40-D8C7-FCCD-962F-BFF690A99372}"/>
              </a:ext>
            </a:extLst>
          </p:cNvPr>
          <p:cNvSpPr/>
          <p:nvPr/>
        </p:nvSpPr>
        <p:spPr>
          <a:xfrm>
            <a:off x="2890837" y="1266127"/>
            <a:ext cx="2011680" cy="1584960"/>
          </a:xfrm>
          <a:prstGeom prst="rect">
            <a:avLst/>
          </a:prstGeom>
          <a:solidFill>
            <a:srgbClr val="D6F0F3"/>
          </a:solidFill>
          <a:ln w="12700">
            <a:solidFill>
              <a:srgbClr val="039AAA"/>
            </a:solidFill>
            <a:prstDash val="solid"/>
          </a:ln>
          <a:effectLst>
            <a:outerShdw blurRad="76200" dist="38100" dir="8100000" algn="bl" rotWithShape="0">
              <a:srgbClr val="000000">
                <a:alpha val="10000"/>
              </a:srgbClr>
            </a:outerShdw>
          </a:effectLst>
        </p:spPr>
        <p:txBody>
          <a:bodyPr/>
          <a:lstStyle/>
          <a:p>
            <a:pPr defTabSz="1219170">
              <a:defRPr/>
            </a:pPr>
            <a:endParaRPr lang="ru-RU" sz="24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Text 8">
            <a:extLst>
              <a:ext uri="{FF2B5EF4-FFF2-40B4-BE49-F238E27FC236}">
                <a16:creationId xmlns:a16="http://schemas.microsoft.com/office/drawing/2014/main" id="{20420430-EB8F-03B2-BFA2-00CFD2A892E2}"/>
              </a:ext>
            </a:extLst>
          </p:cNvPr>
          <p:cNvSpPr/>
          <p:nvPr/>
        </p:nvSpPr>
        <p:spPr>
          <a:xfrm>
            <a:off x="2890837" y="1266127"/>
            <a:ext cx="2011680" cy="341376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algn="ctr" defTabSz="1219170">
              <a:defRPr/>
            </a:pPr>
            <a:r>
              <a:rPr lang="ru-RU" sz="1067" b="1" noProof="1">
                <a:solidFill>
                  <a:srgbClr val="027A87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Страна 2</a:t>
            </a:r>
            <a:endParaRPr lang="ru-RU" sz="1067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Shape 9">
            <a:extLst>
              <a:ext uri="{FF2B5EF4-FFF2-40B4-BE49-F238E27FC236}">
                <a16:creationId xmlns:a16="http://schemas.microsoft.com/office/drawing/2014/main" id="{73AC9D5B-E48D-09DC-0834-46891E8D7C59}"/>
              </a:ext>
            </a:extLst>
          </p:cNvPr>
          <p:cNvSpPr/>
          <p:nvPr/>
        </p:nvSpPr>
        <p:spPr>
          <a:xfrm>
            <a:off x="3012757" y="1936687"/>
            <a:ext cx="1767840" cy="0"/>
          </a:xfrm>
          <a:prstGeom prst="line">
            <a:avLst/>
          </a:prstGeom>
          <a:noFill/>
          <a:ln w="10160">
            <a:solidFill>
              <a:srgbClr val="B2D8DE"/>
            </a:solidFill>
            <a:prstDash val="solid"/>
          </a:ln>
        </p:spPr>
        <p:txBody>
          <a:bodyPr/>
          <a:lstStyle/>
          <a:p>
            <a:pPr defTabSz="1219170">
              <a:defRPr/>
            </a:pPr>
            <a:endParaRPr lang="ru-RU" sz="24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Shape 10">
            <a:extLst>
              <a:ext uri="{FF2B5EF4-FFF2-40B4-BE49-F238E27FC236}">
                <a16:creationId xmlns:a16="http://schemas.microsoft.com/office/drawing/2014/main" id="{295FD82A-04F7-2017-4095-46FB6D797379}"/>
              </a:ext>
            </a:extLst>
          </p:cNvPr>
          <p:cNvSpPr/>
          <p:nvPr/>
        </p:nvSpPr>
        <p:spPr>
          <a:xfrm>
            <a:off x="3890581" y="1473391"/>
            <a:ext cx="0" cy="1280160"/>
          </a:xfrm>
          <a:prstGeom prst="line">
            <a:avLst/>
          </a:prstGeom>
          <a:noFill/>
          <a:ln w="10160">
            <a:solidFill>
              <a:srgbClr val="B2D8DE"/>
            </a:solidFill>
            <a:prstDash val="solid"/>
          </a:ln>
        </p:spPr>
        <p:txBody>
          <a:bodyPr/>
          <a:lstStyle/>
          <a:p>
            <a:pPr defTabSz="1219170">
              <a:defRPr/>
            </a:pPr>
            <a:endParaRPr lang="ru-RU" sz="24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Shape 11">
            <a:extLst>
              <a:ext uri="{FF2B5EF4-FFF2-40B4-BE49-F238E27FC236}">
                <a16:creationId xmlns:a16="http://schemas.microsoft.com/office/drawing/2014/main" id="{65E5D0BC-F5B8-9323-C5FD-464BDC9E16D6}"/>
              </a:ext>
            </a:extLst>
          </p:cNvPr>
          <p:cNvSpPr/>
          <p:nvPr/>
        </p:nvSpPr>
        <p:spPr>
          <a:xfrm>
            <a:off x="5146357" y="1266127"/>
            <a:ext cx="2011680" cy="1584960"/>
          </a:xfrm>
          <a:prstGeom prst="rect">
            <a:avLst/>
          </a:prstGeom>
          <a:solidFill>
            <a:srgbClr val="D6F0F3"/>
          </a:solidFill>
          <a:ln w="12700">
            <a:solidFill>
              <a:srgbClr val="039AAA"/>
            </a:solidFill>
            <a:prstDash val="solid"/>
          </a:ln>
          <a:effectLst>
            <a:outerShdw blurRad="76200" dist="38100" dir="8100000" algn="bl" rotWithShape="0">
              <a:srgbClr val="000000">
                <a:alpha val="10000"/>
              </a:srgbClr>
            </a:outerShdw>
          </a:effectLst>
        </p:spPr>
        <p:txBody>
          <a:bodyPr/>
          <a:lstStyle/>
          <a:p>
            <a:pPr defTabSz="1219170">
              <a:defRPr/>
            </a:pPr>
            <a:endParaRPr lang="ru-RU" sz="24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Text 12">
            <a:extLst>
              <a:ext uri="{FF2B5EF4-FFF2-40B4-BE49-F238E27FC236}">
                <a16:creationId xmlns:a16="http://schemas.microsoft.com/office/drawing/2014/main" id="{196F7B13-BD5A-ABE7-88F8-1F3DBAE204C4}"/>
              </a:ext>
            </a:extLst>
          </p:cNvPr>
          <p:cNvSpPr/>
          <p:nvPr/>
        </p:nvSpPr>
        <p:spPr>
          <a:xfrm>
            <a:off x="5146357" y="1266127"/>
            <a:ext cx="2011680" cy="341376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algn="ctr" defTabSz="1219170">
              <a:defRPr/>
            </a:pPr>
            <a:r>
              <a:rPr lang="ru-RU" sz="1067" b="1" noProof="1">
                <a:solidFill>
                  <a:srgbClr val="027A87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Страна 3</a:t>
            </a:r>
            <a:endParaRPr lang="ru-RU" sz="1067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Shape 13">
            <a:extLst>
              <a:ext uri="{FF2B5EF4-FFF2-40B4-BE49-F238E27FC236}">
                <a16:creationId xmlns:a16="http://schemas.microsoft.com/office/drawing/2014/main" id="{535D82A7-E115-B254-F590-6C3105761F70}"/>
              </a:ext>
            </a:extLst>
          </p:cNvPr>
          <p:cNvSpPr/>
          <p:nvPr/>
        </p:nvSpPr>
        <p:spPr>
          <a:xfrm>
            <a:off x="5268277" y="1936687"/>
            <a:ext cx="1767840" cy="0"/>
          </a:xfrm>
          <a:prstGeom prst="line">
            <a:avLst/>
          </a:prstGeom>
          <a:noFill/>
          <a:ln w="10160">
            <a:solidFill>
              <a:srgbClr val="B2D8DE"/>
            </a:solidFill>
            <a:prstDash val="solid"/>
          </a:ln>
        </p:spPr>
        <p:txBody>
          <a:bodyPr/>
          <a:lstStyle/>
          <a:p>
            <a:pPr defTabSz="1219170">
              <a:defRPr/>
            </a:pPr>
            <a:endParaRPr lang="ru-RU" sz="24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Shape 14">
            <a:extLst>
              <a:ext uri="{FF2B5EF4-FFF2-40B4-BE49-F238E27FC236}">
                <a16:creationId xmlns:a16="http://schemas.microsoft.com/office/drawing/2014/main" id="{9CC793F3-F642-3AAC-2AC2-A0467B98233C}"/>
              </a:ext>
            </a:extLst>
          </p:cNvPr>
          <p:cNvSpPr/>
          <p:nvPr/>
        </p:nvSpPr>
        <p:spPr>
          <a:xfrm>
            <a:off x="6146101" y="1473391"/>
            <a:ext cx="0" cy="1280160"/>
          </a:xfrm>
          <a:prstGeom prst="line">
            <a:avLst/>
          </a:prstGeom>
          <a:noFill/>
          <a:ln w="10160">
            <a:solidFill>
              <a:srgbClr val="B2D8DE"/>
            </a:solidFill>
            <a:prstDash val="solid"/>
          </a:ln>
        </p:spPr>
        <p:txBody>
          <a:bodyPr/>
          <a:lstStyle/>
          <a:p>
            <a:pPr defTabSz="1219170">
              <a:defRPr/>
            </a:pPr>
            <a:endParaRPr lang="ru-RU" sz="24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Shape 15">
            <a:extLst>
              <a:ext uri="{FF2B5EF4-FFF2-40B4-BE49-F238E27FC236}">
                <a16:creationId xmlns:a16="http://schemas.microsoft.com/office/drawing/2014/main" id="{60EF4D55-F74E-1569-BB29-506546E1ACFE}"/>
              </a:ext>
            </a:extLst>
          </p:cNvPr>
          <p:cNvSpPr/>
          <p:nvPr/>
        </p:nvSpPr>
        <p:spPr>
          <a:xfrm>
            <a:off x="7401877" y="1266127"/>
            <a:ext cx="2011680" cy="1584960"/>
          </a:xfrm>
          <a:prstGeom prst="rect">
            <a:avLst/>
          </a:prstGeom>
          <a:solidFill>
            <a:srgbClr val="D6F0F3"/>
          </a:solidFill>
          <a:ln w="12700">
            <a:solidFill>
              <a:srgbClr val="039AAA"/>
            </a:solidFill>
            <a:prstDash val="solid"/>
          </a:ln>
          <a:effectLst>
            <a:outerShdw blurRad="76200" dist="38100" dir="8100000" algn="bl" rotWithShape="0">
              <a:srgbClr val="000000">
                <a:alpha val="10000"/>
              </a:srgbClr>
            </a:outerShdw>
          </a:effectLst>
        </p:spPr>
        <p:txBody>
          <a:bodyPr/>
          <a:lstStyle/>
          <a:p>
            <a:pPr defTabSz="1219170">
              <a:defRPr/>
            </a:pPr>
            <a:endParaRPr lang="ru-RU" sz="24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Text 16">
            <a:extLst>
              <a:ext uri="{FF2B5EF4-FFF2-40B4-BE49-F238E27FC236}">
                <a16:creationId xmlns:a16="http://schemas.microsoft.com/office/drawing/2014/main" id="{C83423B3-74E3-1D29-EFB9-630A3FC16154}"/>
              </a:ext>
            </a:extLst>
          </p:cNvPr>
          <p:cNvSpPr/>
          <p:nvPr/>
        </p:nvSpPr>
        <p:spPr>
          <a:xfrm>
            <a:off x="7401877" y="1266127"/>
            <a:ext cx="2011680" cy="341376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algn="ctr" defTabSz="1219170">
              <a:defRPr/>
            </a:pPr>
            <a:r>
              <a:rPr lang="ru-RU" sz="1067" b="1" noProof="1">
                <a:solidFill>
                  <a:srgbClr val="027A87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Страна 4</a:t>
            </a:r>
            <a:endParaRPr lang="ru-RU" sz="1067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Shape 17">
            <a:extLst>
              <a:ext uri="{FF2B5EF4-FFF2-40B4-BE49-F238E27FC236}">
                <a16:creationId xmlns:a16="http://schemas.microsoft.com/office/drawing/2014/main" id="{E973CC3C-1C5A-83C0-5C04-EFA27309BF47}"/>
              </a:ext>
            </a:extLst>
          </p:cNvPr>
          <p:cNvSpPr/>
          <p:nvPr/>
        </p:nvSpPr>
        <p:spPr>
          <a:xfrm>
            <a:off x="7523797" y="1936687"/>
            <a:ext cx="1767840" cy="0"/>
          </a:xfrm>
          <a:prstGeom prst="line">
            <a:avLst/>
          </a:prstGeom>
          <a:noFill/>
          <a:ln w="10160">
            <a:solidFill>
              <a:srgbClr val="B2D8DE"/>
            </a:solidFill>
            <a:prstDash val="solid"/>
          </a:ln>
        </p:spPr>
        <p:txBody>
          <a:bodyPr/>
          <a:lstStyle/>
          <a:p>
            <a:pPr defTabSz="1219170">
              <a:defRPr/>
            </a:pPr>
            <a:endParaRPr lang="ru-RU" sz="24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Shape 18">
            <a:extLst>
              <a:ext uri="{FF2B5EF4-FFF2-40B4-BE49-F238E27FC236}">
                <a16:creationId xmlns:a16="http://schemas.microsoft.com/office/drawing/2014/main" id="{0093F12C-5C55-8D8C-45C5-4B1D84DEF99B}"/>
              </a:ext>
            </a:extLst>
          </p:cNvPr>
          <p:cNvSpPr/>
          <p:nvPr/>
        </p:nvSpPr>
        <p:spPr>
          <a:xfrm>
            <a:off x="8401621" y="1473391"/>
            <a:ext cx="0" cy="1280160"/>
          </a:xfrm>
          <a:prstGeom prst="line">
            <a:avLst/>
          </a:prstGeom>
          <a:noFill/>
          <a:ln w="10160">
            <a:solidFill>
              <a:srgbClr val="B2D8DE"/>
            </a:solidFill>
            <a:prstDash val="solid"/>
          </a:ln>
        </p:spPr>
        <p:txBody>
          <a:bodyPr/>
          <a:lstStyle/>
          <a:p>
            <a:pPr defTabSz="1219170">
              <a:defRPr/>
            </a:pPr>
            <a:endParaRPr lang="ru-RU" sz="24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" name="Shape 19">
            <a:extLst>
              <a:ext uri="{FF2B5EF4-FFF2-40B4-BE49-F238E27FC236}">
                <a16:creationId xmlns:a16="http://schemas.microsoft.com/office/drawing/2014/main" id="{2165A1CD-681E-40D6-A18F-F009BD77B5F3}"/>
              </a:ext>
            </a:extLst>
          </p:cNvPr>
          <p:cNvSpPr/>
          <p:nvPr/>
        </p:nvSpPr>
        <p:spPr>
          <a:xfrm>
            <a:off x="9657397" y="1266127"/>
            <a:ext cx="2011680" cy="1584960"/>
          </a:xfrm>
          <a:prstGeom prst="rect">
            <a:avLst/>
          </a:prstGeom>
          <a:solidFill>
            <a:srgbClr val="D6F0F3"/>
          </a:solidFill>
          <a:ln w="12700">
            <a:solidFill>
              <a:srgbClr val="039AAA"/>
            </a:solidFill>
            <a:prstDash val="solid"/>
          </a:ln>
          <a:effectLst>
            <a:outerShdw blurRad="76200" dist="38100" dir="8100000" algn="bl" rotWithShape="0">
              <a:srgbClr val="000000">
                <a:alpha val="10000"/>
              </a:srgbClr>
            </a:outerShdw>
          </a:effectLst>
        </p:spPr>
        <p:txBody>
          <a:bodyPr/>
          <a:lstStyle/>
          <a:p>
            <a:pPr defTabSz="1219170">
              <a:defRPr/>
            </a:pPr>
            <a:endParaRPr lang="ru-RU" sz="24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" name="Text 20">
            <a:extLst>
              <a:ext uri="{FF2B5EF4-FFF2-40B4-BE49-F238E27FC236}">
                <a16:creationId xmlns:a16="http://schemas.microsoft.com/office/drawing/2014/main" id="{1AA450C0-2A47-6F1A-03DC-0AEC17091988}"/>
              </a:ext>
            </a:extLst>
          </p:cNvPr>
          <p:cNvSpPr/>
          <p:nvPr/>
        </p:nvSpPr>
        <p:spPr>
          <a:xfrm>
            <a:off x="9657397" y="1266127"/>
            <a:ext cx="2011680" cy="341376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algn="ctr" defTabSz="1219170">
              <a:defRPr/>
            </a:pPr>
            <a:r>
              <a:rPr lang="ru-RU" sz="1067" b="1" noProof="1">
                <a:solidFill>
                  <a:srgbClr val="027A87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Страна 5</a:t>
            </a:r>
            <a:endParaRPr lang="ru-RU" sz="1067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2" name="Shape 21">
            <a:extLst>
              <a:ext uri="{FF2B5EF4-FFF2-40B4-BE49-F238E27FC236}">
                <a16:creationId xmlns:a16="http://schemas.microsoft.com/office/drawing/2014/main" id="{2FD6DE06-1C00-395B-AF59-3CBEEF8DE8B4}"/>
              </a:ext>
            </a:extLst>
          </p:cNvPr>
          <p:cNvSpPr/>
          <p:nvPr/>
        </p:nvSpPr>
        <p:spPr>
          <a:xfrm>
            <a:off x="9779317" y="1936687"/>
            <a:ext cx="1767840" cy="0"/>
          </a:xfrm>
          <a:prstGeom prst="line">
            <a:avLst/>
          </a:prstGeom>
          <a:noFill/>
          <a:ln w="10160">
            <a:solidFill>
              <a:srgbClr val="B2D8DE"/>
            </a:solidFill>
            <a:prstDash val="solid"/>
          </a:ln>
        </p:spPr>
        <p:txBody>
          <a:bodyPr/>
          <a:lstStyle/>
          <a:p>
            <a:pPr defTabSz="1219170">
              <a:defRPr/>
            </a:pPr>
            <a:endParaRPr lang="ru-RU" sz="24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3" name="Shape 22">
            <a:extLst>
              <a:ext uri="{FF2B5EF4-FFF2-40B4-BE49-F238E27FC236}">
                <a16:creationId xmlns:a16="http://schemas.microsoft.com/office/drawing/2014/main" id="{C7E98B4B-D600-9263-FD7C-B9F18A506BC9}"/>
              </a:ext>
            </a:extLst>
          </p:cNvPr>
          <p:cNvSpPr/>
          <p:nvPr/>
        </p:nvSpPr>
        <p:spPr>
          <a:xfrm>
            <a:off x="10657141" y="1473391"/>
            <a:ext cx="0" cy="1280160"/>
          </a:xfrm>
          <a:prstGeom prst="line">
            <a:avLst/>
          </a:prstGeom>
          <a:noFill/>
          <a:ln w="10160">
            <a:solidFill>
              <a:srgbClr val="B2D8DE"/>
            </a:solidFill>
            <a:prstDash val="solid"/>
          </a:ln>
        </p:spPr>
        <p:txBody>
          <a:bodyPr/>
          <a:lstStyle/>
          <a:p>
            <a:pPr defTabSz="1219170">
              <a:defRPr/>
            </a:pPr>
            <a:endParaRPr lang="ru-RU" sz="24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4" name="Shape 23">
            <a:extLst>
              <a:ext uri="{FF2B5EF4-FFF2-40B4-BE49-F238E27FC236}">
                <a16:creationId xmlns:a16="http://schemas.microsoft.com/office/drawing/2014/main" id="{89573463-C536-50A6-44A2-CF6674F0CCDF}"/>
              </a:ext>
            </a:extLst>
          </p:cNvPr>
          <p:cNvSpPr/>
          <p:nvPr/>
        </p:nvSpPr>
        <p:spPr>
          <a:xfrm>
            <a:off x="574357" y="2967743"/>
            <a:ext cx="11216640" cy="975360"/>
          </a:xfrm>
          <a:prstGeom prst="rect">
            <a:avLst/>
          </a:prstGeom>
          <a:solidFill>
            <a:schemeClr val="accent2"/>
          </a:solidFill>
          <a:ln w="12700">
            <a:solidFill>
              <a:srgbClr val="16303A"/>
            </a:solidFill>
            <a:prstDash val="solid"/>
          </a:ln>
        </p:spPr>
        <p:txBody>
          <a:bodyPr/>
          <a:lstStyle/>
          <a:p>
            <a:pPr defTabSz="1219170">
              <a:defRPr/>
            </a:pPr>
            <a:endParaRPr lang="ru-RU" sz="24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5" name="Text 24">
            <a:extLst>
              <a:ext uri="{FF2B5EF4-FFF2-40B4-BE49-F238E27FC236}">
                <a16:creationId xmlns:a16="http://schemas.microsoft.com/office/drawing/2014/main" id="{D9BCD039-D92F-E697-6280-20A7755DFEB0}"/>
              </a:ext>
            </a:extLst>
          </p:cNvPr>
          <p:cNvSpPr/>
          <p:nvPr/>
        </p:nvSpPr>
        <p:spPr>
          <a:xfrm>
            <a:off x="635317" y="2967743"/>
            <a:ext cx="11033760" cy="97536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>
              <a:defRPr/>
            </a:pPr>
            <a:r>
              <a:rPr lang="ru-RU" sz="2000" i="1" noProof="1">
                <a:solidFill>
                  <a:srgbClr val="FFFFFF"/>
                </a:solidFill>
              </a:rPr>
              <a:t>Галерея стран — что вы замечаете на всех пяти картах?</a:t>
            </a:r>
            <a:endParaRPr lang="ru-RU" sz="2000" noProof="1">
              <a:solidFill>
                <a:prstClr val="black"/>
              </a:solidFill>
            </a:endParaRPr>
          </a:p>
        </p:txBody>
      </p:sp>
      <p:sp>
        <p:nvSpPr>
          <p:cNvPr id="26" name="Shape 25">
            <a:extLst>
              <a:ext uri="{FF2B5EF4-FFF2-40B4-BE49-F238E27FC236}">
                <a16:creationId xmlns:a16="http://schemas.microsoft.com/office/drawing/2014/main" id="{78F4DC60-BF25-FF5A-4915-102FD359C546}"/>
              </a:ext>
            </a:extLst>
          </p:cNvPr>
          <p:cNvSpPr/>
          <p:nvPr/>
        </p:nvSpPr>
        <p:spPr>
          <a:xfrm>
            <a:off x="574357" y="4089407"/>
            <a:ext cx="11216640" cy="975360"/>
          </a:xfrm>
          <a:prstGeom prst="rect">
            <a:avLst/>
          </a:prstGeom>
          <a:solidFill>
            <a:schemeClr val="accent2"/>
          </a:solidFill>
          <a:ln w="12700">
            <a:solidFill>
              <a:srgbClr val="16303A"/>
            </a:solidFill>
            <a:prstDash val="solid"/>
          </a:ln>
        </p:spPr>
        <p:txBody>
          <a:bodyPr/>
          <a:lstStyle/>
          <a:p>
            <a:pPr>
              <a:defRPr/>
            </a:pPr>
            <a:br>
              <a:rPr lang="ru-RU" sz="2000" i="1" noProof="1">
                <a:solidFill>
                  <a:srgbClr val="FFFFFF"/>
                </a:solidFill>
              </a:rPr>
            </a:br>
            <a:r>
              <a:rPr lang="ru-RU" sz="2000" i="1" noProof="1">
                <a:solidFill>
                  <a:srgbClr val="FFFFFF"/>
                </a:solidFill>
              </a:rPr>
              <a:t>Почему это имеет место быть?</a:t>
            </a:r>
            <a:endParaRPr lang="ru-RU" sz="2000" noProof="1">
              <a:solidFill>
                <a:prstClr val="black"/>
              </a:solidFill>
            </a:endParaRPr>
          </a:p>
        </p:txBody>
      </p:sp>
      <p:sp>
        <p:nvSpPr>
          <p:cNvPr id="27" name="Text 26">
            <a:extLst>
              <a:ext uri="{FF2B5EF4-FFF2-40B4-BE49-F238E27FC236}">
                <a16:creationId xmlns:a16="http://schemas.microsoft.com/office/drawing/2014/main" id="{4EB1160A-803E-38E2-44BB-0FD48C5C86A8}"/>
              </a:ext>
            </a:extLst>
          </p:cNvPr>
          <p:cNvSpPr/>
          <p:nvPr/>
        </p:nvSpPr>
        <p:spPr>
          <a:xfrm>
            <a:off x="635317" y="4089407"/>
            <a:ext cx="11033760" cy="97536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lvl="0">
              <a:defRPr/>
            </a:pPr>
            <a:endParaRPr lang="ru-RU" sz="1600" noProof="1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28" name="Shape 27">
            <a:extLst>
              <a:ext uri="{FF2B5EF4-FFF2-40B4-BE49-F238E27FC236}">
                <a16:creationId xmlns:a16="http://schemas.microsoft.com/office/drawing/2014/main" id="{22C0B209-24DB-5E81-BF83-94C37291EF07}"/>
              </a:ext>
            </a:extLst>
          </p:cNvPr>
          <p:cNvSpPr/>
          <p:nvPr/>
        </p:nvSpPr>
        <p:spPr>
          <a:xfrm>
            <a:off x="574357" y="5174496"/>
            <a:ext cx="11216640" cy="711772"/>
          </a:xfrm>
          <a:prstGeom prst="rect">
            <a:avLst/>
          </a:prstGeom>
          <a:solidFill>
            <a:srgbClr val="D6F0F3"/>
          </a:solidFill>
          <a:ln w="12700">
            <a:solidFill>
              <a:srgbClr val="039AAA"/>
            </a:solidFill>
            <a:prstDash val="solid"/>
          </a:ln>
        </p:spPr>
        <p:txBody>
          <a:bodyPr/>
          <a:lstStyle/>
          <a:p>
            <a:pPr defTabSz="1219170">
              <a:defRPr/>
            </a:pPr>
            <a:endParaRPr lang="ru-RU" sz="24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9" name="Text 28">
            <a:extLst>
              <a:ext uri="{FF2B5EF4-FFF2-40B4-BE49-F238E27FC236}">
                <a16:creationId xmlns:a16="http://schemas.microsoft.com/office/drawing/2014/main" id="{4F9A87E0-8083-3B7E-741C-9C7D7D265B3E}"/>
              </a:ext>
            </a:extLst>
          </p:cNvPr>
          <p:cNvSpPr/>
          <p:nvPr/>
        </p:nvSpPr>
        <p:spPr>
          <a:xfrm>
            <a:off x="635317" y="5237772"/>
            <a:ext cx="11033760" cy="585216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467" noProof="1">
                <a:solidFill>
                  <a:srgbClr val="16303A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Сегодня во второй половине дня и завтра мы будем работать над тем, что необходимо для движения профессионального развития педагогов в сторону верхнего правого квадранта — используя SCAFFOLD как инструмент разработки. Компас ПРП, которую вы создали, — ваша отправная точка. Сохраните её.</a:t>
            </a:r>
            <a:endParaRPr lang="ru-RU" sz="1467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0" name="Shape 29">
            <a:extLst>
              <a:ext uri="{FF2B5EF4-FFF2-40B4-BE49-F238E27FC236}">
                <a16:creationId xmlns:a16="http://schemas.microsoft.com/office/drawing/2014/main" id="{356C305B-73F0-5C53-68AB-A61FEF8DE9D0}"/>
              </a:ext>
            </a:extLst>
          </p:cNvPr>
          <p:cNvSpPr/>
          <p:nvPr/>
        </p:nvSpPr>
        <p:spPr>
          <a:xfrm>
            <a:off x="574357" y="5977707"/>
            <a:ext cx="11216640" cy="414528"/>
          </a:xfrm>
          <a:prstGeom prst="rect">
            <a:avLst/>
          </a:prstGeom>
          <a:solidFill>
            <a:srgbClr val="E8940A"/>
          </a:solidFill>
          <a:ln w="12700">
            <a:solidFill>
              <a:srgbClr val="E8940A"/>
            </a:solidFill>
            <a:prstDash val="solid"/>
          </a:ln>
        </p:spPr>
        <p:txBody>
          <a:bodyPr/>
          <a:lstStyle/>
          <a:p>
            <a:pPr defTabSz="1219170">
              <a:defRPr/>
            </a:pPr>
            <a:endParaRPr lang="ru-RU" sz="24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1" name="Text 30">
            <a:extLst>
              <a:ext uri="{FF2B5EF4-FFF2-40B4-BE49-F238E27FC236}">
                <a16:creationId xmlns:a16="http://schemas.microsoft.com/office/drawing/2014/main" id="{8519002A-D74A-8341-8302-A2035999B0A0}"/>
              </a:ext>
            </a:extLst>
          </p:cNvPr>
          <p:cNvSpPr/>
          <p:nvPr/>
        </p:nvSpPr>
        <p:spPr>
          <a:xfrm>
            <a:off x="574357" y="5995995"/>
            <a:ext cx="11216640" cy="414528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algn="ctr" defTabSz="1219170">
              <a:defRPr/>
            </a:pPr>
            <a:r>
              <a:rPr lang="ru-RU" sz="1200" b="1" noProof="1">
                <a:solidFill>
                  <a:srgbClr val="FFFFFF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SCAFFOLD: Принцип 3.7 — делать прогресс видимым. Карта на стене — ваша отправная точка. Вы вернётесь к ней на 3-й день.</a:t>
            </a:r>
            <a:endParaRPr lang="ru-RU" sz="12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6776146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28F340F4-D9C3-961E-5B30-4FEB84B2305D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DB84476-BC29-4407-9D57-B2E562B8968B}" type="slidenum">
              <a:rPr lang="ru-RU" noProof="1" smtClean="0"/>
              <a:pPr/>
              <a:t>33</a:t>
            </a:fld>
            <a:endParaRPr lang="ru-RU" noProof="1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0958FC16-1DCC-45EF-8D0F-D8DA414B2A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5317" y="422444"/>
            <a:ext cx="10932795" cy="1080120"/>
          </a:xfrm>
        </p:spPr>
        <p:txBody>
          <a:bodyPr/>
          <a:lstStyle/>
          <a:p>
            <a:r>
              <a:rPr lang="ru-RU" noProof="1"/>
              <a:t>Идентификация барьеров к созданию эффективной программы профессионального развития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D0B28E86-794A-A803-02E4-0AF1CAD0BF1C}"/>
              </a:ext>
            </a:extLst>
          </p:cNvPr>
          <p:cNvSpPr txBox="1"/>
          <p:nvPr/>
        </p:nvSpPr>
        <p:spPr>
          <a:xfrm>
            <a:off x="635318" y="1994810"/>
            <a:ext cx="5399722" cy="255454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buNone/>
            </a:pPr>
            <a:r>
              <a:rPr lang="ru-RU" sz="2000" b="1" noProof="1">
                <a:solidFill>
                  <a:schemeClr val="bg1"/>
                </a:solidFill>
              </a:rPr>
              <a:t>Хорошее профессиональное развитие педагогов не всегда работает — почему?</a:t>
            </a:r>
          </a:p>
          <a:p>
            <a:pPr>
              <a:buNone/>
            </a:pPr>
            <a:endParaRPr lang="ru-RU" sz="2000" noProof="1">
              <a:solidFill>
                <a:schemeClr val="bg1"/>
              </a:solidFill>
            </a:endParaRPr>
          </a:p>
          <a:p>
            <a:pPr>
              <a:buNone/>
            </a:pPr>
            <a:r>
              <a:rPr lang="ru-RU" sz="2000" b="1" noProof="1">
                <a:solidFill>
                  <a:schemeClr val="bg1"/>
                </a:solidFill>
              </a:rPr>
              <a:t>Запишите на стикере, какие конкретные изменения позволили бы продвинуть профессиональное развитие педагогов на один квадрант ближе к активному и связанному с практикой.</a:t>
            </a:r>
            <a:endParaRPr lang="ru-RU" sz="2000" noProof="1">
              <a:solidFill>
                <a:schemeClr val="bg1"/>
              </a:solidFill>
            </a:endParaRPr>
          </a:p>
        </p:txBody>
      </p:sp>
      <p:sp>
        <p:nvSpPr>
          <p:cNvPr id="6" name="Shape 2">
            <a:extLst>
              <a:ext uri="{FF2B5EF4-FFF2-40B4-BE49-F238E27FC236}">
                <a16:creationId xmlns:a16="http://schemas.microsoft.com/office/drawing/2014/main" id="{F9BD63CB-00E7-0ED3-707F-B3E0BC4CABE7}"/>
              </a:ext>
            </a:extLst>
          </p:cNvPr>
          <p:cNvSpPr/>
          <p:nvPr/>
        </p:nvSpPr>
        <p:spPr>
          <a:xfrm>
            <a:off x="7680960" y="2440282"/>
            <a:ext cx="1524000" cy="1524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10160">
            <a:solidFill>
              <a:srgbClr val="B2D8DE"/>
            </a:solidFill>
            <a:prstDash val="solid"/>
          </a:ln>
        </p:spPr>
        <p:txBody>
          <a:bodyPr/>
          <a:lstStyle/>
          <a:p>
            <a:pPr defTabSz="1219170">
              <a:defRPr/>
            </a:pPr>
            <a:endParaRPr lang="ru-RU" sz="24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Text 3">
            <a:extLst>
              <a:ext uri="{FF2B5EF4-FFF2-40B4-BE49-F238E27FC236}">
                <a16:creationId xmlns:a16="http://schemas.microsoft.com/office/drawing/2014/main" id="{514FEF6A-AA32-9656-C07D-A17A2A63BA88}"/>
              </a:ext>
            </a:extLst>
          </p:cNvPr>
          <p:cNvSpPr/>
          <p:nvPr/>
        </p:nvSpPr>
        <p:spPr>
          <a:xfrm>
            <a:off x="7778496" y="2537818"/>
            <a:ext cx="1328928" cy="1328928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algn="ctr" defTabSz="1219170">
              <a:defRPr/>
            </a:pPr>
            <a:r>
              <a:rPr lang="ru-RU" sz="1333" b="1" noProof="1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ассивное</a:t>
            </a:r>
            <a:endParaRPr lang="ru-RU" sz="1333" noProof="1">
              <a:solidFill>
                <a:srgbClr val="00B05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 defTabSz="1219170">
              <a:defRPr/>
            </a:pPr>
            <a:r>
              <a:rPr lang="ru-RU" sz="1333" b="1" noProof="1">
                <a:solidFill>
                  <a:srgbClr val="00B050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&amp; Связанное с практикой</a:t>
            </a:r>
            <a:endParaRPr lang="ru-RU" sz="1333" noProof="1">
              <a:solidFill>
                <a:srgbClr val="00B05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Shape 4">
            <a:extLst>
              <a:ext uri="{FF2B5EF4-FFF2-40B4-BE49-F238E27FC236}">
                <a16:creationId xmlns:a16="http://schemas.microsoft.com/office/drawing/2014/main" id="{4B2EF59F-E61D-4C8D-6723-A3C3C64021F7}"/>
              </a:ext>
            </a:extLst>
          </p:cNvPr>
          <p:cNvSpPr/>
          <p:nvPr/>
        </p:nvSpPr>
        <p:spPr>
          <a:xfrm>
            <a:off x="9204960" y="2440282"/>
            <a:ext cx="1524000" cy="1524000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 w="10160">
            <a:solidFill>
              <a:srgbClr val="B2D8DE"/>
            </a:solidFill>
            <a:prstDash val="solid"/>
          </a:ln>
        </p:spPr>
        <p:txBody>
          <a:bodyPr/>
          <a:lstStyle/>
          <a:p>
            <a:pPr defTabSz="1219170">
              <a:defRPr/>
            </a:pPr>
            <a:endParaRPr lang="ru-RU" sz="24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Text 5">
            <a:extLst>
              <a:ext uri="{FF2B5EF4-FFF2-40B4-BE49-F238E27FC236}">
                <a16:creationId xmlns:a16="http://schemas.microsoft.com/office/drawing/2014/main" id="{EAF3A25B-82F7-3567-A990-BA808FA53EEB}"/>
              </a:ext>
            </a:extLst>
          </p:cNvPr>
          <p:cNvSpPr/>
          <p:nvPr/>
        </p:nvSpPr>
        <p:spPr>
          <a:xfrm>
            <a:off x="9302496" y="2537818"/>
            <a:ext cx="1328928" cy="1328928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algn="ctr" defTabSz="1219170">
              <a:defRPr/>
            </a:pPr>
            <a:r>
              <a:rPr lang="ru-RU" sz="1333" b="1" noProof="1">
                <a:solidFill>
                  <a:srgbClr val="00B050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Активное</a:t>
            </a:r>
            <a:endParaRPr lang="ru-RU" sz="1333" noProof="1">
              <a:solidFill>
                <a:srgbClr val="00B05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 defTabSz="1219170">
              <a:defRPr/>
            </a:pPr>
            <a:r>
              <a:rPr lang="ru-RU" sz="1333" b="1" noProof="1">
                <a:solidFill>
                  <a:srgbClr val="00B050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&amp; Связанное с практикой</a:t>
            </a:r>
            <a:endParaRPr lang="ru-RU" sz="1333" noProof="1">
              <a:solidFill>
                <a:srgbClr val="00B05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Shape 6">
            <a:extLst>
              <a:ext uri="{FF2B5EF4-FFF2-40B4-BE49-F238E27FC236}">
                <a16:creationId xmlns:a16="http://schemas.microsoft.com/office/drawing/2014/main" id="{0C2D32D1-77AA-AA89-265E-12C3F7E43D95}"/>
              </a:ext>
            </a:extLst>
          </p:cNvPr>
          <p:cNvSpPr/>
          <p:nvPr/>
        </p:nvSpPr>
        <p:spPr>
          <a:xfrm>
            <a:off x="7680960" y="3964282"/>
            <a:ext cx="1524000" cy="152400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10160">
            <a:solidFill>
              <a:srgbClr val="B2D8DE"/>
            </a:solidFill>
            <a:prstDash val="solid"/>
          </a:ln>
        </p:spPr>
        <p:txBody>
          <a:bodyPr/>
          <a:lstStyle/>
          <a:p>
            <a:pPr defTabSz="1219170">
              <a:defRPr/>
            </a:pPr>
            <a:endParaRPr lang="ru-RU" sz="24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Text 7">
            <a:extLst>
              <a:ext uri="{FF2B5EF4-FFF2-40B4-BE49-F238E27FC236}">
                <a16:creationId xmlns:a16="http://schemas.microsoft.com/office/drawing/2014/main" id="{303E92E1-060D-544E-6439-58D8ECBCFBD1}"/>
              </a:ext>
            </a:extLst>
          </p:cNvPr>
          <p:cNvSpPr/>
          <p:nvPr/>
        </p:nvSpPr>
        <p:spPr>
          <a:xfrm>
            <a:off x="7778496" y="4061818"/>
            <a:ext cx="1328928" cy="1328928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algn="ctr" defTabSz="1219170">
              <a:defRPr/>
            </a:pPr>
            <a:r>
              <a:rPr lang="ru-RU" sz="1333" b="1" noProof="1">
                <a:solidFill>
                  <a:srgbClr val="C00000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Пассивное</a:t>
            </a:r>
            <a:endParaRPr lang="ru-RU" sz="1333" noProof="1">
              <a:solidFill>
                <a:srgbClr val="C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 defTabSz="1219170">
              <a:defRPr/>
            </a:pPr>
            <a:r>
              <a:rPr lang="ru-RU" sz="1333" b="1" noProof="1">
                <a:solidFill>
                  <a:srgbClr val="C00000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&amp; Оторванное от практики</a:t>
            </a:r>
            <a:endParaRPr lang="ru-RU" sz="1333" noProof="1">
              <a:solidFill>
                <a:srgbClr val="C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Shape 8">
            <a:extLst>
              <a:ext uri="{FF2B5EF4-FFF2-40B4-BE49-F238E27FC236}">
                <a16:creationId xmlns:a16="http://schemas.microsoft.com/office/drawing/2014/main" id="{92E68322-B962-2339-1A7F-9A28AA2C0355}"/>
              </a:ext>
            </a:extLst>
          </p:cNvPr>
          <p:cNvSpPr/>
          <p:nvPr/>
        </p:nvSpPr>
        <p:spPr>
          <a:xfrm>
            <a:off x="9204960" y="3964282"/>
            <a:ext cx="1524000" cy="1524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10160">
            <a:solidFill>
              <a:srgbClr val="B2D8DE"/>
            </a:solidFill>
            <a:prstDash val="solid"/>
          </a:ln>
        </p:spPr>
        <p:txBody>
          <a:bodyPr/>
          <a:lstStyle/>
          <a:p>
            <a:pPr defTabSz="1219170">
              <a:defRPr/>
            </a:pPr>
            <a:endParaRPr lang="ru-RU" sz="24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Text 9">
            <a:extLst>
              <a:ext uri="{FF2B5EF4-FFF2-40B4-BE49-F238E27FC236}">
                <a16:creationId xmlns:a16="http://schemas.microsoft.com/office/drawing/2014/main" id="{90305F03-9842-210E-5EA4-7602583FFAD3}"/>
              </a:ext>
            </a:extLst>
          </p:cNvPr>
          <p:cNvSpPr/>
          <p:nvPr/>
        </p:nvSpPr>
        <p:spPr>
          <a:xfrm>
            <a:off x="9302496" y="4061818"/>
            <a:ext cx="1328928" cy="1328928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/>
        </p:spPr>
        <p:txBody>
          <a:bodyPr wrap="square" rtlCol="0" anchor="ctr"/>
          <a:lstStyle/>
          <a:p>
            <a:pPr algn="ctr" defTabSz="1219170">
              <a:defRPr/>
            </a:pPr>
            <a:r>
              <a:rPr lang="ru-RU" sz="1333" b="1" noProof="1">
                <a:solidFill>
                  <a:srgbClr val="C00000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Активное</a:t>
            </a:r>
            <a:endParaRPr lang="ru-RU" sz="1333" noProof="1">
              <a:solidFill>
                <a:srgbClr val="C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 defTabSz="1219170">
              <a:defRPr/>
            </a:pPr>
            <a:r>
              <a:rPr lang="ru-RU" sz="1333" b="1" noProof="1">
                <a:solidFill>
                  <a:srgbClr val="C00000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&amp; Оторванное от практики</a:t>
            </a:r>
            <a:endParaRPr lang="ru-RU" sz="1333" noProof="1">
              <a:solidFill>
                <a:srgbClr val="C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Shape 10">
            <a:extLst>
              <a:ext uri="{FF2B5EF4-FFF2-40B4-BE49-F238E27FC236}">
                <a16:creationId xmlns:a16="http://schemas.microsoft.com/office/drawing/2014/main" id="{DF1D16DF-BA80-721C-2922-91A7122C37C4}"/>
              </a:ext>
            </a:extLst>
          </p:cNvPr>
          <p:cNvSpPr/>
          <p:nvPr/>
        </p:nvSpPr>
        <p:spPr>
          <a:xfrm>
            <a:off x="7559040" y="3964282"/>
            <a:ext cx="3291840" cy="0"/>
          </a:xfrm>
          <a:prstGeom prst="line">
            <a:avLst/>
          </a:prstGeom>
          <a:noFill/>
          <a:ln w="25400">
            <a:solidFill>
              <a:srgbClr val="16303A"/>
            </a:solidFill>
            <a:prstDash val="solid"/>
          </a:ln>
        </p:spPr>
        <p:txBody>
          <a:bodyPr/>
          <a:lstStyle/>
          <a:p>
            <a:pPr defTabSz="1219170">
              <a:defRPr/>
            </a:pPr>
            <a:endParaRPr lang="ru-RU" sz="24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Shape 11">
            <a:extLst>
              <a:ext uri="{FF2B5EF4-FFF2-40B4-BE49-F238E27FC236}">
                <a16:creationId xmlns:a16="http://schemas.microsoft.com/office/drawing/2014/main" id="{40030575-468A-F995-D72E-D305AF0E0CE0}"/>
              </a:ext>
            </a:extLst>
          </p:cNvPr>
          <p:cNvSpPr/>
          <p:nvPr/>
        </p:nvSpPr>
        <p:spPr>
          <a:xfrm>
            <a:off x="9204960" y="2318362"/>
            <a:ext cx="0" cy="3291840"/>
          </a:xfrm>
          <a:prstGeom prst="line">
            <a:avLst/>
          </a:prstGeom>
          <a:noFill/>
          <a:ln w="25400">
            <a:solidFill>
              <a:srgbClr val="16303A"/>
            </a:solidFill>
            <a:prstDash val="solid"/>
          </a:ln>
        </p:spPr>
        <p:txBody>
          <a:bodyPr/>
          <a:lstStyle/>
          <a:p>
            <a:pPr defTabSz="1219170">
              <a:defRPr/>
            </a:pPr>
            <a:endParaRPr lang="ru-RU" sz="24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Text 12">
            <a:extLst>
              <a:ext uri="{FF2B5EF4-FFF2-40B4-BE49-F238E27FC236}">
                <a16:creationId xmlns:a16="http://schemas.microsoft.com/office/drawing/2014/main" id="{16AA1B80-D264-0EEC-998C-AFCC7D89342D}"/>
              </a:ext>
            </a:extLst>
          </p:cNvPr>
          <p:cNvSpPr/>
          <p:nvPr/>
        </p:nvSpPr>
        <p:spPr>
          <a:xfrm>
            <a:off x="6132576" y="3720442"/>
            <a:ext cx="1499616" cy="42672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algn="r" defTabSz="1219170">
              <a:defRPr/>
            </a:pPr>
            <a:r>
              <a:rPr lang="ru-RU" sz="1467" b="1" noProof="1">
                <a:solidFill>
                  <a:srgbClr val="FF0000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ПАССИВНОЕ</a:t>
            </a:r>
            <a:endParaRPr lang="ru-RU" sz="1467" noProof="1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Text 13">
            <a:extLst>
              <a:ext uri="{FF2B5EF4-FFF2-40B4-BE49-F238E27FC236}">
                <a16:creationId xmlns:a16="http://schemas.microsoft.com/office/drawing/2014/main" id="{278D51D3-6E27-FBAF-06C6-2DCCC0996949}"/>
              </a:ext>
            </a:extLst>
          </p:cNvPr>
          <p:cNvSpPr/>
          <p:nvPr/>
        </p:nvSpPr>
        <p:spPr>
          <a:xfrm>
            <a:off x="10850880" y="3720442"/>
            <a:ext cx="1341120" cy="42672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467" b="1" noProof="1">
                <a:solidFill>
                  <a:srgbClr val="2D8A3E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АКТИВНОЕ</a:t>
            </a:r>
            <a:endParaRPr lang="ru-RU" sz="1467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Text 14">
            <a:extLst>
              <a:ext uri="{FF2B5EF4-FFF2-40B4-BE49-F238E27FC236}">
                <a16:creationId xmlns:a16="http://schemas.microsoft.com/office/drawing/2014/main" id="{E596C550-DDCC-E24A-C735-0C974BD5BF83}"/>
              </a:ext>
            </a:extLst>
          </p:cNvPr>
          <p:cNvSpPr/>
          <p:nvPr/>
        </p:nvSpPr>
        <p:spPr>
          <a:xfrm>
            <a:off x="7741920" y="1830682"/>
            <a:ext cx="2926080" cy="42672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algn="ctr" defTabSz="1219170">
              <a:defRPr/>
            </a:pPr>
            <a:r>
              <a:rPr lang="ru-RU" sz="1467" b="1" noProof="1">
                <a:solidFill>
                  <a:srgbClr val="2D8A3E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СВЯЗАННОЕ С ПРАКТИКОЙ</a:t>
            </a:r>
            <a:endParaRPr lang="ru-RU" sz="1467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Text 15">
            <a:extLst>
              <a:ext uri="{FF2B5EF4-FFF2-40B4-BE49-F238E27FC236}">
                <a16:creationId xmlns:a16="http://schemas.microsoft.com/office/drawing/2014/main" id="{97AA91C4-DD67-3BB0-57BE-75C4DDF641B1}"/>
              </a:ext>
            </a:extLst>
          </p:cNvPr>
          <p:cNvSpPr/>
          <p:nvPr/>
        </p:nvSpPr>
        <p:spPr>
          <a:xfrm>
            <a:off x="7863840" y="5610202"/>
            <a:ext cx="2682240" cy="42672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algn="ctr" defTabSz="1219170">
              <a:defRPr/>
            </a:pPr>
            <a:r>
              <a:rPr lang="ru-RU" sz="1467" b="1" noProof="1">
                <a:solidFill>
                  <a:schemeClr val="accent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торванное от практики</a:t>
            </a:r>
            <a:endParaRPr lang="ru-RU" sz="1467" noProof="1">
              <a:solidFill>
                <a:schemeClr val="accent5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" name="Shape 16">
            <a:extLst>
              <a:ext uri="{FF2B5EF4-FFF2-40B4-BE49-F238E27FC236}">
                <a16:creationId xmlns:a16="http://schemas.microsoft.com/office/drawing/2014/main" id="{2DBF54D5-95BC-3396-84B0-9D771DCFACEC}"/>
              </a:ext>
            </a:extLst>
          </p:cNvPr>
          <p:cNvSpPr/>
          <p:nvPr/>
        </p:nvSpPr>
        <p:spPr>
          <a:xfrm>
            <a:off x="10241280" y="2428090"/>
            <a:ext cx="390144" cy="390144"/>
          </a:xfrm>
          <a:prstGeom prst="ellipse">
            <a:avLst/>
          </a:prstGeom>
          <a:solidFill>
            <a:schemeClr val="bg1"/>
          </a:solidFill>
          <a:ln w="12700">
            <a:solidFill>
              <a:srgbClr val="027A87"/>
            </a:solidFill>
            <a:prstDash val="solid"/>
          </a:ln>
        </p:spPr>
        <p:txBody>
          <a:bodyPr/>
          <a:lstStyle/>
          <a:p>
            <a:pPr defTabSz="1219170">
              <a:defRPr/>
            </a:pPr>
            <a:endParaRPr lang="ru-RU" sz="2400" noProof="1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" name="Text 17">
            <a:extLst>
              <a:ext uri="{FF2B5EF4-FFF2-40B4-BE49-F238E27FC236}">
                <a16:creationId xmlns:a16="http://schemas.microsoft.com/office/drawing/2014/main" id="{E6ABBA9D-42FA-51D8-83E3-C9316E4C0C9E}"/>
              </a:ext>
            </a:extLst>
          </p:cNvPr>
          <p:cNvSpPr/>
          <p:nvPr/>
        </p:nvSpPr>
        <p:spPr>
          <a:xfrm>
            <a:off x="10546080" y="2037946"/>
            <a:ext cx="975360" cy="36576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algn="ctr" defTabSz="1219170">
              <a:defRPr/>
            </a:pPr>
            <a:r>
              <a:rPr lang="ru-RU" sz="1400" b="1" kern="0" spc="67" noProof="1">
                <a:solidFill>
                  <a:schemeClr val="bg1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ЦЕЛЬ</a:t>
            </a:r>
            <a:endParaRPr lang="ru-RU" sz="1400" noProof="1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2" name="Notched Right Arrow 21">
            <a:extLst>
              <a:ext uri="{FF2B5EF4-FFF2-40B4-BE49-F238E27FC236}">
                <a16:creationId xmlns:a16="http://schemas.microsoft.com/office/drawing/2014/main" id="{C0E5ED3F-34BE-C7B7-E61C-F534CA704533}"/>
              </a:ext>
            </a:extLst>
          </p:cNvPr>
          <p:cNvSpPr/>
          <p:nvPr/>
        </p:nvSpPr>
        <p:spPr>
          <a:xfrm rot="19277778">
            <a:off x="8566508" y="3751223"/>
            <a:ext cx="1170903" cy="399400"/>
          </a:xfrm>
          <a:prstGeom prst="notchedRightArrow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noProof="1"/>
          </a:p>
        </p:txBody>
      </p:sp>
    </p:spTree>
    <p:extLst>
      <p:ext uri="{BB962C8B-B14F-4D97-AF65-F5344CB8AC3E}">
        <p14:creationId xmlns:p14="http://schemas.microsoft.com/office/powerpoint/2010/main" val="321610322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>
          <a:extLst>
            <a:ext uri="{FF2B5EF4-FFF2-40B4-BE49-F238E27FC236}">
              <a16:creationId xmlns:a16="http://schemas.microsoft.com/office/drawing/2014/main" id="{822DA289-FC3F-94AD-09BB-E27646BE0A9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1DC4DCD-AF03-E686-C356-018045FAB2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3099" y="228304"/>
            <a:ext cx="7815651" cy="1080120"/>
          </a:xfrm>
        </p:spPr>
        <p:txBody>
          <a:bodyPr/>
          <a:lstStyle/>
          <a:p>
            <a:r>
              <a:rPr lang="ru-RU" noProof="1"/>
              <a:t>СЕССИЯ 2  |  СПИСОК МАТЕРИАЛОВ</a:t>
            </a:r>
          </a:p>
        </p:txBody>
      </p:sp>
      <p:sp>
        <p:nvSpPr>
          <p:cNvPr id="35" name="Shape 2">
            <a:extLst>
              <a:ext uri="{FF2B5EF4-FFF2-40B4-BE49-F238E27FC236}">
                <a16:creationId xmlns:a16="http://schemas.microsoft.com/office/drawing/2014/main" id="{7DEAE107-18AF-22DF-4411-01082FE800D7}"/>
              </a:ext>
            </a:extLst>
          </p:cNvPr>
          <p:cNvSpPr/>
          <p:nvPr/>
        </p:nvSpPr>
        <p:spPr>
          <a:xfrm>
            <a:off x="543099" y="1082336"/>
            <a:ext cx="11460480" cy="499872"/>
          </a:xfrm>
          <a:prstGeom prst="rect">
            <a:avLst/>
          </a:prstGeom>
          <a:solidFill>
            <a:srgbClr val="FFFFFF"/>
          </a:solidFill>
          <a:ln w="5080">
            <a:solidFill>
              <a:srgbClr val="B2D8DE"/>
            </a:solidFill>
            <a:prstDash val="solid"/>
          </a:ln>
        </p:spPr>
        <p:txBody>
          <a:bodyPr/>
          <a:lstStyle/>
          <a:p>
            <a:pPr defTabSz="1219170">
              <a:defRPr/>
            </a:pPr>
            <a:endParaRPr lang="ru-RU" sz="24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6" name="Shape 3">
            <a:extLst>
              <a:ext uri="{FF2B5EF4-FFF2-40B4-BE49-F238E27FC236}">
                <a16:creationId xmlns:a16="http://schemas.microsoft.com/office/drawing/2014/main" id="{DEC0EDA7-22CE-C502-4909-EA0164350B98}"/>
              </a:ext>
            </a:extLst>
          </p:cNvPr>
          <p:cNvSpPr/>
          <p:nvPr/>
        </p:nvSpPr>
        <p:spPr>
          <a:xfrm>
            <a:off x="665019" y="1179872"/>
            <a:ext cx="316992" cy="316992"/>
          </a:xfrm>
          <a:prstGeom prst="rect">
            <a:avLst/>
          </a:prstGeom>
          <a:solidFill>
            <a:srgbClr val="FFFFFF"/>
          </a:solidFill>
          <a:ln w="19050">
            <a:solidFill>
              <a:srgbClr val="027A87"/>
            </a:solidFill>
            <a:prstDash val="solid"/>
          </a:ln>
        </p:spPr>
        <p:txBody>
          <a:bodyPr/>
          <a:lstStyle/>
          <a:p>
            <a:pPr defTabSz="1219170">
              <a:defRPr/>
            </a:pPr>
            <a:endParaRPr lang="ru-RU" sz="24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7" name="Text 4">
            <a:extLst>
              <a:ext uri="{FF2B5EF4-FFF2-40B4-BE49-F238E27FC236}">
                <a16:creationId xmlns:a16="http://schemas.microsoft.com/office/drawing/2014/main" id="{1F455736-94E7-D032-9E49-E0D1F3346A8E}"/>
              </a:ext>
            </a:extLst>
          </p:cNvPr>
          <p:cNvSpPr/>
          <p:nvPr/>
        </p:nvSpPr>
        <p:spPr>
          <a:xfrm>
            <a:off x="1213659" y="1082336"/>
            <a:ext cx="4998720" cy="499872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400" b="1" noProof="1">
                <a:solidFill>
                  <a:srgbClr val="16303A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Слайд с Компасом ПРП (с подписанными осями)</a:t>
            </a:r>
            <a:endParaRPr lang="ru-RU" sz="14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8" name="Text 5">
            <a:extLst>
              <a:ext uri="{FF2B5EF4-FFF2-40B4-BE49-F238E27FC236}">
                <a16:creationId xmlns:a16="http://schemas.microsoft.com/office/drawing/2014/main" id="{3D64B6D9-CFD8-B099-7B8D-15577871F2A1}"/>
              </a:ext>
            </a:extLst>
          </p:cNvPr>
          <p:cNvSpPr/>
          <p:nvPr/>
        </p:nvSpPr>
        <p:spPr>
          <a:xfrm>
            <a:off x="6395259" y="1082336"/>
            <a:ext cx="5486400" cy="499872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333" noProof="1">
                <a:solidFill>
                  <a:srgbClr val="3D6673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Для отображения на экране — четыре подписанных квадранта</a:t>
            </a:r>
            <a:endParaRPr lang="ru-RU" sz="1333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9" name="Shape 6">
            <a:extLst>
              <a:ext uri="{FF2B5EF4-FFF2-40B4-BE49-F238E27FC236}">
                <a16:creationId xmlns:a16="http://schemas.microsoft.com/office/drawing/2014/main" id="{6FEEF811-BC34-539E-3B1F-9400418ACA61}"/>
              </a:ext>
            </a:extLst>
          </p:cNvPr>
          <p:cNvSpPr/>
          <p:nvPr/>
        </p:nvSpPr>
        <p:spPr>
          <a:xfrm>
            <a:off x="543099" y="1643168"/>
            <a:ext cx="11460480" cy="499872"/>
          </a:xfrm>
          <a:prstGeom prst="rect">
            <a:avLst/>
          </a:prstGeom>
          <a:solidFill>
            <a:srgbClr val="D6F0F3"/>
          </a:solidFill>
          <a:ln w="5080">
            <a:solidFill>
              <a:srgbClr val="B2D8DE"/>
            </a:solidFill>
            <a:prstDash val="solid"/>
          </a:ln>
        </p:spPr>
        <p:txBody>
          <a:bodyPr/>
          <a:lstStyle/>
          <a:p>
            <a:pPr defTabSz="1219170">
              <a:defRPr/>
            </a:pPr>
            <a:endParaRPr lang="ru-RU" sz="24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0" name="Shape 7">
            <a:extLst>
              <a:ext uri="{FF2B5EF4-FFF2-40B4-BE49-F238E27FC236}">
                <a16:creationId xmlns:a16="http://schemas.microsoft.com/office/drawing/2014/main" id="{F57A4FF3-5A45-8E6E-3CBB-0627F32BCA19}"/>
              </a:ext>
            </a:extLst>
          </p:cNvPr>
          <p:cNvSpPr/>
          <p:nvPr/>
        </p:nvSpPr>
        <p:spPr>
          <a:xfrm>
            <a:off x="665019" y="1740704"/>
            <a:ext cx="316992" cy="316992"/>
          </a:xfrm>
          <a:prstGeom prst="rect">
            <a:avLst/>
          </a:prstGeom>
          <a:solidFill>
            <a:srgbClr val="FFFFFF"/>
          </a:solidFill>
          <a:ln w="19050">
            <a:solidFill>
              <a:srgbClr val="027A87"/>
            </a:solidFill>
            <a:prstDash val="solid"/>
          </a:ln>
        </p:spPr>
        <p:txBody>
          <a:bodyPr/>
          <a:lstStyle/>
          <a:p>
            <a:pPr defTabSz="1219170">
              <a:defRPr/>
            </a:pPr>
            <a:endParaRPr lang="ru-RU" sz="24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1" name="Text 8">
            <a:extLst>
              <a:ext uri="{FF2B5EF4-FFF2-40B4-BE49-F238E27FC236}">
                <a16:creationId xmlns:a16="http://schemas.microsoft.com/office/drawing/2014/main" id="{2D961A6F-D4C4-1B77-7711-88BBA1945EF3}"/>
              </a:ext>
            </a:extLst>
          </p:cNvPr>
          <p:cNvSpPr/>
          <p:nvPr/>
        </p:nvSpPr>
        <p:spPr>
          <a:xfrm>
            <a:off x="1213659" y="1643168"/>
            <a:ext cx="4998720" cy="499872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400" b="1" noProof="1">
                <a:solidFill>
                  <a:srgbClr val="16303A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Сетка Компаса ПРП формата А3 — индивидуальная версия</a:t>
            </a:r>
            <a:endParaRPr lang="ru-RU" sz="14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2" name="Text 9">
            <a:extLst>
              <a:ext uri="{FF2B5EF4-FFF2-40B4-BE49-F238E27FC236}">
                <a16:creationId xmlns:a16="http://schemas.microsoft.com/office/drawing/2014/main" id="{A1A21687-2ED9-1462-3F05-43DA5EE7E857}"/>
              </a:ext>
            </a:extLst>
          </p:cNvPr>
          <p:cNvSpPr/>
          <p:nvPr/>
        </p:nvSpPr>
        <p:spPr>
          <a:xfrm>
            <a:off x="6395259" y="1643168"/>
            <a:ext cx="5486400" cy="499872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333" noProof="1">
                <a:solidFill>
                  <a:srgbClr val="3D6673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По одной на участника</a:t>
            </a:r>
            <a:endParaRPr lang="ru-RU" sz="1333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3" name="Shape 10">
            <a:extLst>
              <a:ext uri="{FF2B5EF4-FFF2-40B4-BE49-F238E27FC236}">
                <a16:creationId xmlns:a16="http://schemas.microsoft.com/office/drawing/2014/main" id="{ED0A3DDE-B31B-AF9C-CD71-13AB1D2C672A}"/>
              </a:ext>
            </a:extLst>
          </p:cNvPr>
          <p:cNvSpPr/>
          <p:nvPr/>
        </p:nvSpPr>
        <p:spPr>
          <a:xfrm>
            <a:off x="543099" y="2204000"/>
            <a:ext cx="11460480" cy="499872"/>
          </a:xfrm>
          <a:prstGeom prst="rect">
            <a:avLst/>
          </a:prstGeom>
          <a:solidFill>
            <a:srgbClr val="FFFFFF"/>
          </a:solidFill>
          <a:ln w="5080">
            <a:solidFill>
              <a:srgbClr val="B2D8DE"/>
            </a:solidFill>
            <a:prstDash val="solid"/>
          </a:ln>
        </p:spPr>
        <p:txBody>
          <a:bodyPr/>
          <a:lstStyle/>
          <a:p>
            <a:pPr defTabSz="1219170">
              <a:defRPr/>
            </a:pPr>
            <a:endParaRPr lang="ru-RU" sz="24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4" name="Shape 11">
            <a:extLst>
              <a:ext uri="{FF2B5EF4-FFF2-40B4-BE49-F238E27FC236}">
                <a16:creationId xmlns:a16="http://schemas.microsoft.com/office/drawing/2014/main" id="{B8F2F673-63AE-50FE-F312-B72A4B53302C}"/>
              </a:ext>
            </a:extLst>
          </p:cNvPr>
          <p:cNvSpPr/>
          <p:nvPr/>
        </p:nvSpPr>
        <p:spPr>
          <a:xfrm>
            <a:off x="665019" y="2301536"/>
            <a:ext cx="316992" cy="316992"/>
          </a:xfrm>
          <a:prstGeom prst="rect">
            <a:avLst/>
          </a:prstGeom>
          <a:solidFill>
            <a:srgbClr val="FFFFFF"/>
          </a:solidFill>
          <a:ln w="19050">
            <a:solidFill>
              <a:srgbClr val="027A87"/>
            </a:solidFill>
            <a:prstDash val="solid"/>
          </a:ln>
        </p:spPr>
        <p:txBody>
          <a:bodyPr/>
          <a:lstStyle/>
          <a:p>
            <a:pPr defTabSz="1219170">
              <a:defRPr/>
            </a:pPr>
            <a:endParaRPr lang="ru-RU" sz="24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5" name="Text 12">
            <a:extLst>
              <a:ext uri="{FF2B5EF4-FFF2-40B4-BE49-F238E27FC236}">
                <a16:creationId xmlns:a16="http://schemas.microsoft.com/office/drawing/2014/main" id="{4EACADB4-7484-3BC7-698D-A8B836230C62}"/>
              </a:ext>
            </a:extLst>
          </p:cNvPr>
          <p:cNvSpPr/>
          <p:nvPr/>
        </p:nvSpPr>
        <p:spPr>
          <a:xfrm>
            <a:off x="1213659" y="2204000"/>
            <a:ext cx="4998720" cy="499872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lvl="0">
              <a:defRPr/>
            </a:pPr>
            <a:r>
              <a:rPr lang="ru-RU" sz="1400" b="1" noProof="1">
                <a:solidFill>
                  <a:srgbClr val="16303A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Сетки Компаса ПРП формата А3 — коллективная версия</a:t>
            </a:r>
            <a:endParaRPr lang="ru-RU" sz="14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6" name="Text 13">
            <a:extLst>
              <a:ext uri="{FF2B5EF4-FFF2-40B4-BE49-F238E27FC236}">
                <a16:creationId xmlns:a16="http://schemas.microsoft.com/office/drawing/2014/main" id="{8ACF20E5-9DE2-98B8-7005-332EDEC0C33F}"/>
              </a:ext>
            </a:extLst>
          </p:cNvPr>
          <p:cNvSpPr/>
          <p:nvPr/>
        </p:nvSpPr>
        <p:spPr>
          <a:xfrm>
            <a:off x="6395259" y="2204000"/>
            <a:ext cx="5486400" cy="499872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333" noProof="1">
                <a:solidFill>
                  <a:srgbClr val="3D6673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По одной на страновую группу — с инструкцией по двум цветам</a:t>
            </a:r>
            <a:endParaRPr lang="ru-RU" sz="1333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7" name="Shape 14">
            <a:extLst>
              <a:ext uri="{FF2B5EF4-FFF2-40B4-BE49-F238E27FC236}">
                <a16:creationId xmlns:a16="http://schemas.microsoft.com/office/drawing/2014/main" id="{09F79E7F-BB4D-237C-336F-E89BFEEAE08C}"/>
              </a:ext>
            </a:extLst>
          </p:cNvPr>
          <p:cNvSpPr/>
          <p:nvPr/>
        </p:nvSpPr>
        <p:spPr>
          <a:xfrm>
            <a:off x="543099" y="2764832"/>
            <a:ext cx="11460480" cy="499872"/>
          </a:xfrm>
          <a:prstGeom prst="rect">
            <a:avLst/>
          </a:prstGeom>
          <a:solidFill>
            <a:srgbClr val="D6F0F3"/>
          </a:solidFill>
          <a:ln w="5080">
            <a:solidFill>
              <a:srgbClr val="B2D8DE"/>
            </a:solidFill>
            <a:prstDash val="solid"/>
          </a:ln>
        </p:spPr>
        <p:txBody>
          <a:bodyPr/>
          <a:lstStyle/>
          <a:p>
            <a:pPr defTabSz="1219170">
              <a:defRPr/>
            </a:pPr>
            <a:endParaRPr lang="ru-RU" sz="24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8" name="Shape 15">
            <a:extLst>
              <a:ext uri="{FF2B5EF4-FFF2-40B4-BE49-F238E27FC236}">
                <a16:creationId xmlns:a16="http://schemas.microsoft.com/office/drawing/2014/main" id="{A03A3B56-CEAC-CC8D-F77B-E0804A58EA38}"/>
              </a:ext>
            </a:extLst>
          </p:cNvPr>
          <p:cNvSpPr/>
          <p:nvPr/>
        </p:nvSpPr>
        <p:spPr>
          <a:xfrm>
            <a:off x="665019" y="2862368"/>
            <a:ext cx="316992" cy="316992"/>
          </a:xfrm>
          <a:prstGeom prst="rect">
            <a:avLst/>
          </a:prstGeom>
          <a:solidFill>
            <a:srgbClr val="FFFFFF"/>
          </a:solidFill>
          <a:ln w="19050">
            <a:solidFill>
              <a:srgbClr val="027A87"/>
            </a:solidFill>
            <a:prstDash val="solid"/>
          </a:ln>
        </p:spPr>
        <p:txBody>
          <a:bodyPr/>
          <a:lstStyle/>
          <a:p>
            <a:pPr defTabSz="1219170">
              <a:defRPr/>
            </a:pPr>
            <a:endParaRPr lang="ru-RU" sz="24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9" name="Text 16">
            <a:extLst>
              <a:ext uri="{FF2B5EF4-FFF2-40B4-BE49-F238E27FC236}">
                <a16:creationId xmlns:a16="http://schemas.microsoft.com/office/drawing/2014/main" id="{C2B33E6D-2252-C59F-7F88-B3C4882F618B}"/>
              </a:ext>
            </a:extLst>
          </p:cNvPr>
          <p:cNvSpPr/>
          <p:nvPr/>
        </p:nvSpPr>
        <p:spPr>
          <a:xfrm>
            <a:off x="1213659" y="2764832"/>
            <a:ext cx="4998720" cy="499872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400" b="1" noProof="1">
                <a:solidFill>
                  <a:srgbClr val="16303A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Точки/наклейки или цветные ручки</a:t>
            </a:r>
            <a:endParaRPr lang="ru-RU" sz="14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0" name="Text 17">
            <a:extLst>
              <a:ext uri="{FF2B5EF4-FFF2-40B4-BE49-F238E27FC236}">
                <a16:creationId xmlns:a16="http://schemas.microsoft.com/office/drawing/2014/main" id="{585D8EA4-0EF4-6947-D1EE-1A2E8BD5E832}"/>
              </a:ext>
            </a:extLst>
          </p:cNvPr>
          <p:cNvSpPr/>
          <p:nvPr/>
        </p:nvSpPr>
        <p:spPr>
          <a:xfrm>
            <a:off x="6395259" y="2764832"/>
            <a:ext cx="5486400" cy="499872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333" noProof="1">
                <a:solidFill>
                  <a:srgbClr val="3D6673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Два цвета на стол для коллективного картирования</a:t>
            </a:r>
            <a:endParaRPr lang="ru-RU" sz="1333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1" name="Shape 18">
            <a:extLst>
              <a:ext uri="{FF2B5EF4-FFF2-40B4-BE49-F238E27FC236}">
                <a16:creationId xmlns:a16="http://schemas.microsoft.com/office/drawing/2014/main" id="{DA7FEAE6-6DA1-9630-90E6-6272986FCAB5}"/>
              </a:ext>
            </a:extLst>
          </p:cNvPr>
          <p:cNvSpPr/>
          <p:nvPr/>
        </p:nvSpPr>
        <p:spPr>
          <a:xfrm>
            <a:off x="543099" y="3325664"/>
            <a:ext cx="11460480" cy="499872"/>
          </a:xfrm>
          <a:prstGeom prst="rect">
            <a:avLst/>
          </a:prstGeom>
          <a:solidFill>
            <a:srgbClr val="FFFFFF"/>
          </a:solidFill>
          <a:ln w="5080">
            <a:solidFill>
              <a:srgbClr val="B2D8DE"/>
            </a:solidFill>
            <a:prstDash val="solid"/>
          </a:ln>
        </p:spPr>
        <p:txBody>
          <a:bodyPr/>
          <a:lstStyle/>
          <a:p>
            <a:pPr defTabSz="1219170">
              <a:defRPr/>
            </a:pPr>
            <a:endParaRPr lang="ru-RU" sz="24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2" name="Shape 19">
            <a:extLst>
              <a:ext uri="{FF2B5EF4-FFF2-40B4-BE49-F238E27FC236}">
                <a16:creationId xmlns:a16="http://schemas.microsoft.com/office/drawing/2014/main" id="{84B3D59E-0FAD-28AD-27F3-D545737EB199}"/>
              </a:ext>
            </a:extLst>
          </p:cNvPr>
          <p:cNvSpPr/>
          <p:nvPr/>
        </p:nvSpPr>
        <p:spPr>
          <a:xfrm>
            <a:off x="665019" y="3423200"/>
            <a:ext cx="316992" cy="316992"/>
          </a:xfrm>
          <a:prstGeom prst="rect">
            <a:avLst/>
          </a:prstGeom>
          <a:solidFill>
            <a:srgbClr val="FFFFFF"/>
          </a:solidFill>
          <a:ln w="19050">
            <a:solidFill>
              <a:srgbClr val="027A87"/>
            </a:solidFill>
            <a:prstDash val="solid"/>
          </a:ln>
        </p:spPr>
        <p:txBody>
          <a:bodyPr/>
          <a:lstStyle/>
          <a:p>
            <a:pPr defTabSz="1219170">
              <a:defRPr/>
            </a:pPr>
            <a:endParaRPr lang="ru-RU" sz="24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3" name="Text 20">
            <a:extLst>
              <a:ext uri="{FF2B5EF4-FFF2-40B4-BE49-F238E27FC236}">
                <a16:creationId xmlns:a16="http://schemas.microsoft.com/office/drawing/2014/main" id="{3C198B14-8758-8E99-9902-0D7786B66C61}"/>
              </a:ext>
            </a:extLst>
          </p:cNvPr>
          <p:cNvSpPr/>
          <p:nvPr/>
        </p:nvSpPr>
        <p:spPr>
          <a:xfrm>
            <a:off x="1213659" y="3325664"/>
            <a:ext cx="4998720" cy="499872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400" b="1" noProof="1">
                <a:solidFill>
                  <a:srgbClr val="16303A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Место на стене для пяти страновых карт</a:t>
            </a:r>
            <a:endParaRPr lang="ru-RU" sz="14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4" name="Text 21">
            <a:extLst>
              <a:ext uri="{FF2B5EF4-FFF2-40B4-BE49-F238E27FC236}">
                <a16:creationId xmlns:a16="http://schemas.microsoft.com/office/drawing/2014/main" id="{DD78DB1A-EC2B-B82C-20E2-CD8EE3697296}"/>
              </a:ext>
            </a:extLst>
          </p:cNvPr>
          <p:cNvSpPr/>
          <p:nvPr/>
        </p:nvSpPr>
        <p:spPr>
          <a:xfrm>
            <a:off x="6395259" y="3325664"/>
            <a:ext cx="5486400" cy="499872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333" noProof="1">
                <a:solidFill>
                  <a:srgbClr val="3D6673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Остаётся на стене все три дня</a:t>
            </a:r>
            <a:endParaRPr lang="ru-RU" sz="1333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5" name="Shape 22">
            <a:extLst>
              <a:ext uri="{FF2B5EF4-FFF2-40B4-BE49-F238E27FC236}">
                <a16:creationId xmlns:a16="http://schemas.microsoft.com/office/drawing/2014/main" id="{982AFBE0-59B4-58A6-F2E1-F7A4231C79BE}"/>
              </a:ext>
            </a:extLst>
          </p:cNvPr>
          <p:cNvSpPr/>
          <p:nvPr/>
        </p:nvSpPr>
        <p:spPr>
          <a:xfrm>
            <a:off x="543099" y="3886496"/>
            <a:ext cx="11460480" cy="499872"/>
          </a:xfrm>
          <a:prstGeom prst="rect">
            <a:avLst/>
          </a:prstGeom>
          <a:solidFill>
            <a:srgbClr val="D6F0F3"/>
          </a:solidFill>
          <a:ln w="5080">
            <a:solidFill>
              <a:srgbClr val="B2D8DE"/>
            </a:solidFill>
            <a:prstDash val="solid"/>
          </a:ln>
        </p:spPr>
        <p:txBody>
          <a:bodyPr/>
          <a:lstStyle/>
          <a:p>
            <a:pPr defTabSz="1219170">
              <a:defRPr/>
            </a:pPr>
            <a:endParaRPr lang="ru-RU" sz="24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6" name="Shape 23">
            <a:extLst>
              <a:ext uri="{FF2B5EF4-FFF2-40B4-BE49-F238E27FC236}">
                <a16:creationId xmlns:a16="http://schemas.microsoft.com/office/drawing/2014/main" id="{822F1504-2A88-BEED-0B47-B9CCBED78871}"/>
              </a:ext>
            </a:extLst>
          </p:cNvPr>
          <p:cNvSpPr/>
          <p:nvPr/>
        </p:nvSpPr>
        <p:spPr>
          <a:xfrm>
            <a:off x="665019" y="3984032"/>
            <a:ext cx="316992" cy="316992"/>
          </a:xfrm>
          <a:prstGeom prst="rect">
            <a:avLst/>
          </a:prstGeom>
          <a:solidFill>
            <a:srgbClr val="FFFFFF"/>
          </a:solidFill>
          <a:ln w="19050">
            <a:solidFill>
              <a:srgbClr val="027A87"/>
            </a:solidFill>
            <a:prstDash val="solid"/>
          </a:ln>
        </p:spPr>
        <p:txBody>
          <a:bodyPr/>
          <a:lstStyle/>
          <a:p>
            <a:pPr defTabSz="1219170">
              <a:defRPr/>
            </a:pPr>
            <a:endParaRPr lang="ru-RU" sz="24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7" name="Text 24">
            <a:extLst>
              <a:ext uri="{FF2B5EF4-FFF2-40B4-BE49-F238E27FC236}">
                <a16:creationId xmlns:a16="http://schemas.microsoft.com/office/drawing/2014/main" id="{01C2CAA4-1385-20A4-A520-28B33B5C6AFF}"/>
              </a:ext>
            </a:extLst>
          </p:cNvPr>
          <p:cNvSpPr/>
          <p:nvPr/>
        </p:nvSpPr>
        <p:spPr>
          <a:xfrm>
            <a:off x="1213659" y="3886496"/>
            <a:ext cx="4998720" cy="499872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400" b="1" noProof="1">
                <a:solidFill>
                  <a:srgbClr val="16303A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Слайд с четырьмя рамками</a:t>
            </a:r>
            <a:endParaRPr lang="ru-RU" sz="14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8" name="Text 25">
            <a:extLst>
              <a:ext uri="{FF2B5EF4-FFF2-40B4-BE49-F238E27FC236}">
                <a16:creationId xmlns:a16="http://schemas.microsoft.com/office/drawing/2014/main" id="{07D7C75A-19BD-9DEB-6A95-21A8FF40BA2E}"/>
              </a:ext>
            </a:extLst>
          </p:cNvPr>
          <p:cNvSpPr/>
          <p:nvPr/>
        </p:nvSpPr>
        <p:spPr>
          <a:xfrm>
            <a:off x="6395259" y="3886496"/>
            <a:ext cx="5486400" cy="499872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333" noProof="1">
                <a:solidFill>
                  <a:srgbClr val="3D6673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Одно идентифицирующее предложение на рамку</a:t>
            </a:r>
            <a:endParaRPr lang="ru-RU" sz="1333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9" name="Shape 26">
            <a:extLst>
              <a:ext uri="{FF2B5EF4-FFF2-40B4-BE49-F238E27FC236}">
                <a16:creationId xmlns:a16="http://schemas.microsoft.com/office/drawing/2014/main" id="{3D491646-AD1D-EDA3-9FCA-C521B0372060}"/>
              </a:ext>
            </a:extLst>
          </p:cNvPr>
          <p:cNvSpPr/>
          <p:nvPr/>
        </p:nvSpPr>
        <p:spPr>
          <a:xfrm>
            <a:off x="543099" y="4447328"/>
            <a:ext cx="11460480" cy="499872"/>
          </a:xfrm>
          <a:prstGeom prst="rect">
            <a:avLst/>
          </a:prstGeom>
          <a:solidFill>
            <a:srgbClr val="FFFFFF"/>
          </a:solidFill>
          <a:ln w="5080">
            <a:solidFill>
              <a:srgbClr val="B2D8DE"/>
            </a:solidFill>
            <a:prstDash val="solid"/>
          </a:ln>
        </p:spPr>
        <p:txBody>
          <a:bodyPr/>
          <a:lstStyle/>
          <a:p>
            <a:pPr defTabSz="1219170">
              <a:defRPr/>
            </a:pPr>
            <a:endParaRPr lang="ru-RU" sz="24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0" name="Shape 27">
            <a:extLst>
              <a:ext uri="{FF2B5EF4-FFF2-40B4-BE49-F238E27FC236}">
                <a16:creationId xmlns:a16="http://schemas.microsoft.com/office/drawing/2014/main" id="{E113E89A-F0E1-4332-AC49-763BC783B523}"/>
              </a:ext>
            </a:extLst>
          </p:cNvPr>
          <p:cNvSpPr/>
          <p:nvPr/>
        </p:nvSpPr>
        <p:spPr>
          <a:xfrm>
            <a:off x="665019" y="4544864"/>
            <a:ext cx="316992" cy="316992"/>
          </a:xfrm>
          <a:prstGeom prst="rect">
            <a:avLst/>
          </a:prstGeom>
          <a:solidFill>
            <a:srgbClr val="FFFFFF"/>
          </a:solidFill>
          <a:ln w="19050">
            <a:solidFill>
              <a:srgbClr val="027A87"/>
            </a:solidFill>
            <a:prstDash val="solid"/>
          </a:ln>
        </p:spPr>
        <p:txBody>
          <a:bodyPr/>
          <a:lstStyle/>
          <a:p>
            <a:pPr defTabSz="1219170">
              <a:defRPr/>
            </a:pPr>
            <a:endParaRPr lang="ru-RU" sz="24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1" name="Text 28">
            <a:extLst>
              <a:ext uri="{FF2B5EF4-FFF2-40B4-BE49-F238E27FC236}">
                <a16:creationId xmlns:a16="http://schemas.microsoft.com/office/drawing/2014/main" id="{BD3F8EE9-47CD-2E3C-7C06-0CD92FFB7659}"/>
              </a:ext>
            </a:extLst>
          </p:cNvPr>
          <p:cNvSpPr/>
          <p:nvPr/>
        </p:nvSpPr>
        <p:spPr>
          <a:xfrm>
            <a:off x="1213659" y="4447328"/>
            <a:ext cx="4998720" cy="499872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400" b="1" noProof="1">
                <a:solidFill>
                  <a:srgbClr val="16303A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Листы с сетками для сопоставления с рамками формата А3</a:t>
            </a:r>
            <a:endParaRPr lang="ru-RU" sz="14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2" name="Text 29">
            <a:extLst>
              <a:ext uri="{FF2B5EF4-FFF2-40B4-BE49-F238E27FC236}">
                <a16:creationId xmlns:a16="http://schemas.microsoft.com/office/drawing/2014/main" id="{35004486-0BD0-00D3-A193-C8CE6C990768}"/>
              </a:ext>
            </a:extLst>
          </p:cNvPr>
          <p:cNvSpPr/>
          <p:nvPr/>
        </p:nvSpPr>
        <p:spPr>
          <a:xfrm>
            <a:off x="6395259" y="4447328"/>
            <a:ext cx="5486400" cy="499872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333" noProof="1">
                <a:solidFill>
                  <a:srgbClr val="3D6673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По одному на стол — рамки вверху, индикаторы качества сбоку</a:t>
            </a:r>
            <a:endParaRPr lang="ru-RU" sz="1333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3" name="Shape 30">
            <a:extLst>
              <a:ext uri="{FF2B5EF4-FFF2-40B4-BE49-F238E27FC236}">
                <a16:creationId xmlns:a16="http://schemas.microsoft.com/office/drawing/2014/main" id="{82C46CD3-9FDC-D0EF-1E15-8BC14794C324}"/>
              </a:ext>
            </a:extLst>
          </p:cNvPr>
          <p:cNvSpPr/>
          <p:nvPr/>
        </p:nvSpPr>
        <p:spPr>
          <a:xfrm>
            <a:off x="543099" y="5008160"/>
            <a:ext cx="11460480" cy="499872"/>
          </a:xfrm>
          <a:prstGeom prst="rect">
            <a:avLst/>
          </a:prstGeom>
          <a:solidFill>
            <a:srgbClr val="D6F0F3"/>
          </a:solidFill>
          <a:ln w="5080">
            <a:solidFill>
              <a:srgbClr val="B2D8DE"/>
            </a:solidFill>
            <a:prstDash val="solid"/>
          </a:ln>
        </p:spPr>
        <p:txBody>
          <a:bodyPr/>
          <a:lstStyle/>
          <a:p>
            <a:pPr defTabSz="1219170">
              <a:defRPr/>
            </a:pPr>
            <a:endParaRPr lang="ru-RU" sz="24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4" name="Shape 31">
            <a:extLst>
              <a:ext uri="{FF2B5EF4-FFF2-40B4-BE49-F238E27FC236}">
                <a16:creationId xmlns:a16="http://schemas.microsoft.com/office/drawing/2014/main" id="{3625AF2A-0DD5-0BE0-4E46-02BD8E7D212C}"/>
              </a:ext>
            </a:extLst>
          </p:cNvPr>
          <p:cNvSpPr/>
          <p:nvPr/>
        </p:nvSpPr>
        <p:spPr>
          <a:xfrm>
            <a:off x="665019" y="5105696"/>
            <a:ext cx="316992" cy="316992"/>
          </a:xfrm>
          <a:prstGeom prst="rect">
            <a:avLst/>
          </a:prstGeom>
          <a:solidFill>
            <a:srgbClr val="FFFFFF"/>
          </a:solidFill>
          <a:ln w="19050">
            <a:solidFill>
              <a:srgbClr val="027A87"/>
            </a:solidFill>
            <a:prstDash val="solid"/>
          </a:ln>
        </p:spPr>
        <p:txBody>
          <a:bodyPr/>
          <a:lstStyle/>
          <a:p>
            <a:pPr defTabSz="1219170">
              <a:defRPr/>
            </a:pPr>
            <a:endParaRPr lang="ru-RU" sz="24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5" name="Text 32">
            <a:extLst>
              <a:ext uri="{FF2B5EF4-FFF2-40B4-BE49-F238E27FC236}">
                <a16:creationId xmlns:a16="http://schemas.microsoft.com/office/drawing/2014/main" id="{A3DC7094-F73E-FE0B-1E5C-D39F532B6276}"/>
              </a:ext>
            </a:extLst>
          </p:cNvPr>
          <p:cNvSpPr/>
          <p:nvPr/>
        </p:nvSpPr>
        <p:spPr>
          <a:xfrm>
            <a:off x="1213659" y="5008160"/>
            <a:ext cx="4998720" cy="499872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400" b="1" noProof="1">
                <a:solidFill>
                  <a:srgbClr val="16303A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Стикеры и ручки</a:t>
            </a:r>
            <a:endParaRPr lang="ru-RU" sz="14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6" name="Text 33">
            <a:extLst>
              <a:ext uri="{FF2B5EF4-FFF2-40B4-BE49-F238E27FC236}">
                <a16:creationId xmlns:a16="http://schemas.microsoft.com/office/drawing/2014/main" id="{56969DC5-8931-B081-8608-467964CD773F}"/>
              </a:ext>
            </a:extLst>
          </p:cNvPr>
          <p:cNvSpPr/>
          <p:nvPr/>
        </p:nvSpPr>
        <p:spPr>
          <a:xfrm>
            <a:off x="6395259" y="5008160"/>
            <a:ext cx="5486400" cy="499872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333" noProof="1">
                <a:solidFill>
                  <a:srgbClr val="3D6673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Для результатов выявления пробелов по страновым группам</a:t>
            </a:r>
            <a:endParaRPr lang="ru-RU" sz="1333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7" name="Shape 34">
            <a:extLst>
              <a:ext uri="{FF2B5EF4-FFF2-40B4-BE49-F238E27FC236}">
                <a16:creationId xmlns:a16="http://schemas.microsoft.com/office/drawing/2014/main" id="{A0F42BC7-BC8C-7FCA-E46F-966DBF90F0B2}"/>
              </a:ext>
            </a:extLst>
          </p:cNvPr>
          <p:cNvSpPr/>
          <p:nvPr/>
        </p:nvSpPr>
        <p:spPr>
          <a:xfrm>
            <a:off x="543099" y="5568992"/>
            <a:ext cx="11460480" cy="499872"/>
          </a:xfrm>
          <a:prstGeom prst="rect">
            <a:avLst/>
          </a:prstGeom>
          <a:solidFill>
            <a:srgbClr val="FFFFFF"/>
          </a:solidFill>
          <a:ln w="5080">
            <a:solidFill>
              <a:srgbClr val="B2D8DE"/>
            </a:solidFill>
            <a:prstDash val="solid"/>
          </a:ln>
        </p:spPr>
        <p:txBody>
          <a:bodyPr/>
          <a:lstStyle/>
          <a:p>
            <a:pPr defTabSz="1219170">
              <a:defRPr/>
            </a:pPr>
            <a:endParaRPr lang="ru-RU" sz="24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8" name="Shape 35">
            <a:extLst>
              <a:ext uri="{FF2B5EF4-FFF2-40B4-BE49-F238E27FC236}">
                <a16:creationId xmlns:a16="http://schemas.microsoft.com/office/drawing/2014/main" id="{68227C2F-3308-7CF8-7F2B-B62D52513ECF}"/>
              </a:ext>
            </a:extLst>
          </p:cNvPr>
          <p:cNvSpPr/>
          <p:nvPr/>
        </p:nvSpPr>
        <p:spPr>
          <a:xfrm>
            <a:off x="665019" y="5666528"/>
            <a:ext cx="316992" cy="316992"/>
          </a:xfrm>
          <a:prstGeom prst="rect">
            <a:avLst/>
          </a:prstGeom>
          <a:solidFill>
            <a:srgbClr val="FFFFFF"/>
          </a:solidFill>
          <a:ln w="19050">
            <a:solidFill>
              <a:srgbClr val="027A87"/>
            </a:solidFill>
            <a:prstDash val="solid"/>
          </a:ln>
        </p:spPr>
        <p:txBody>
          <a:bodyPr/>
          <a:lstStyle/>
          <a:p>
            <a:pPr defTabSz="1219170">
              <a:defRPr/>
            </a:pPr>
            <a:endParaRPr lang="ru-RU" sz="24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9" name="Text 36">
            <a:extLst>
              <a:ext uri="{FF2B5EF4-FFF2-40B4-BE49-F238E27FC236}">
                <a16:creationId xmlns:a16="http://schemas.microsoft.com/office/drawing/2014/main" id="{723BDECF-991C-B113-7518-06CB7850D828}"/>
              </a:ext>
            </a:extLst>
          </p:cNvPr>
          <p:cNvSpPr/>
          <p:nvPr/>
        </p:nvSpPr>
        <p:spPr>
          <a:xfrm>
            <a:off x="1213659" y="5568992"/>
            <a:ext cx="4998720" cy="499872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400" b="1" noProof="1">
                <a:solidFill>
                  <a:srgbClr val="16303A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Место на стене для пяти стикеров с пробелами</a:t>
            </a:r>
            <a:endParaRPr lang="ru-RU" sz="14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0" name="Text 37">
            <a:extLst>
              <a:ext uri="{FF2B5EF4-FFF2-40B4-BE49-F238E27FC236}">
                <a16:creationId xmlns:a16="http://schemas.microsoft.com/office/drawing/2014/main" id="{FD8BA10E-9F14-BFE1-8089-C1D6177FE5B3}"/>
              </a:ext>
            </a:extLst>
          </p:cNvPr>
          <p:cNvSpPr/>
          <p:nvPr/>
        </p:nvSpPr>
        <p:spPr>
          <a:xfrm>
            <a:off x="6395259" y="5568992"/>
            <a:ext cx="5486400" cy="499872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endParaRPr lang="ru-RU" sz="1333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1" name="Shape 38">
            <a:extLst>
              <a:ext uri="{FF2B5EF4-FFF2-40B4-BE49-F238E27FC236}">
                <a16:creationId xmlns:a16="http://schemas.microsoft.com/office/drawing/2014/main" id="{C047EF7E-A330-2104-A1BD-6210741C8CCD}"/>
              </a:ext>
            </a:extLst>
          </p:cNvPr>
          <p:cNvSpPr/>
          <p:nvPr/>
        </p:nvSpPr>
        <p:spPr>
          <a:xfrm>
            <a:off x="543099" y="6129824"/>
            <a:ext cx="11460480" cy="499872"/>
          </a:xfrm>
          <a:prstGeom prst="rect">
            <a:avLst/>
          </a:prstGeom>
          <a:solidFill>
            <a:srgbClr val="D6F0F3"/>
          </a:solidFill>
          <a:ln w="5080">
            <a:solidFill>
              <a:srgbClr val="B2D8DE"/>
            </a:solidFill>
            <a:prstDash val="solid"/>
          </a:ln>
        </p:spPr>
        <p:txBody>
          <a:bodyPr/>
          <a:lstStyle/>
          <a:p>
            <a:pPr defTabSz="1219170">
              <a:defRPr/>
            </a:pPr>
            <a:endParaRPr lang="ru-RU" sz="24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2" name="Shape 39">
            <a:extLst>
              <a:ext uri="{FF2B5EF4-FFF2-40B4-BE49-F238E27FC236}">
                <a16:creationId xmlns:a16="http://schemas.microsoft.com/office/drawing/2014/main" id="{92E0B3DA-ED08-C7F4-446A-64A6294B8517}"/>
              </a:ext>
            </a:extLst>
          </p:cNvPr>
          <p:cNvSpPr/>
          <p:nvPr/>
        </p:nvSpPr>
        <p:spPr>
          <a:xfrm>
            <a:off x="665019" y="6227360"/>
            <a:ext cx="316992" cy="316992"/>
          </a:xfrm>
          <a:prstGeom prst="rect">
            <a:avLst/>
          </a:prstGeom>
          <a:solidFill>
            <a:srgbClr val="FFFFFF"/>
          </a:solidFill>
          <a:ln w="19050">
            <a:solidFill>
              <a:srgbClr val="027A87"/>
            </a:solidFill>
            <a:prstDash val="solid"/>
          </a:ln>
        </p:spPr>
        <p:txBody>
          <a:bodyPr/>
          <a:lstStyle/>
          <a:p>
            <a:pPr defTabSz="1219170">
              <a:defRPr/>
            </a:pPr>
            <a:endParaRPr lang="ru-RU" sz="24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3" name="Text 40">
            <a:extLst>
              <a:ext uri="{FF2B5EF4-FFF2-40B4-BE49-F238E27FC236}">
                <a16:creationId xmlns:a16="http://schemas.microsoft.com/office/drawing/2014/main" id="{1646BEE0-92A7-DF02-12E3-319376030FD4}"/>
              </a:ext>
            </a:extLst>
          </p:cNvPr>
          <p:cNvSpPr/>
          <p:nvPr/>
        </p:nvSpPr>
        <p:spPr>
          <a:xfrm>
            <a:off x="1213659" y="6129824"/>
            <a:ext cx="4998720" cy="499872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400" b="1" noProof="1">
                <a:solidFill>
                  <a:srgbClr val="16303A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Карточки SCAFFOLD</a:t>
            </a:r>
            <a:endParaRPr lang="ru-RU" sz="14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4" name="Text 41">
            <a:extLst>
              <a:ext uri="{FF2B5EF4-FFF2-40B4-BE49-F238E27FC236}">
                <a16:creationId xmlns:a16="http://schemas.microsoft.com/office/drawing/2014/main" id="{7F51B02C-2587-FE13-FFAE-3B57AD1E0511}"/>
              </a:ext>
            </a:extLst>
          </p:cNvPr>
          <p:cNvSpPr/>
          <p:nvPr/>
        </p:nvSpPr>
        <p:spPr>
          <a:xfrm>
            <a:off x="6395259" y="6129824"/>
            <a:ext cx="5486400" cy="499872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333" noProof="1">
                <a:solidFill>
                  <a:srgbClr val="3D6673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Уже на столах с Сессии 1 — для справки</a:t>
            </a:r>
            <a:endParaRPr lang="ru-RU" sz="1333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8943295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D209227-0FDA-4EBF-05D4-5AB6904006C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ru-RU" noProof="1"/>
          </a:p>
        </p:txBody>
      </p:sp>
    </p:spTree>
    <p:extLst>
      <p:ext uri="{BB962C8B-B14F-4D97-AF65-F5344CB8AC3E}">
        <p14:creationId xmlns:p14="http://schemas.microsoft.com/office/powerpoint/2010/main" val="172605465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7EBD5B1-AD4E-DC89-A306-0C7CA46D747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84E1BDAF-C296-796E-8548-2F95A2C6AFDB}"/>
              </a:ext>
            </a:extLst>
          </p:cNvPr>
          <p:cNvSpPr/>
          <p:nvPr/>
        </p:nvSpPr>
        <p:spPr>
          <a:xfrm>
            <a:off x="552450" y="219075"/>
            <a:ext cx="1943100" cy="12287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noProof="1"/>
          </a:p>
        </p:txBody>
      </p:sp>
      <p:pic>
        <p:nvPicPr>
          <p:cNvPr id="10" name="Picture 9" descr="A blue flag with yellow stars&#10;&#10;AI-generated content may be incorrect.">
            <a:extLst>
              <a:ext uri="{FF2B5EF4-FFF2-40B4-BE49-F238E27FC236}">
                <a16:creationId xmlns:a16="http://schemas.microsoft.com/office/drawing/2014/main" id="{7F2ED22E-8CAC-EA2E-DC22-AA4CAE2B3ED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67" r="-524" b="5181"/>
          <a:stretch>
            <a:fillRect/>
          </a:stretch>
        </p:blipFill>
        <p:spPr bwMode="auto">
          <a:xfrm>
            <a:off x="10242394" y="85444"/>
            <a:ext cx="1783073" cy="1715333"/>
          </a:xfrm>
          <a:prstGeom prst="rect">
            <a:avLst/>
          </a:prstGeom>
          <a:noFill/>
        </p:spPr>
      </p:pic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0267C2AC-B90A-69EA-8F29-679B0171B753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/>
        <p:txBody>
          <a:bodyPr/>
          <a:lstStyle/>
          <a:p>
            <a:endParaRPr lang="ru-RU" noProof="1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1AC4FF64-BCF6-E3C0-E2CA-C0FCD8FAA20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ru-RU" noProof="1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28D29549-16DA-D086-5D76-EF855575459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ru-RU" noProof="1"/>
          </a:p>
        </p:txBody>
      </p:sp>
      <p:pic>
        <p:nvPicPr>
          <p:cNvPr id="12" name="Picture 11" descr="A blue text on a black background&#10;&#10;AI-generated content may be incorrect.">
            <a:extLst>
              <a:ext uri="{FF2B5EF4-FFF2-40B4-BE49-F238E27FC236}">
                <a16:creationId xmlns:a16="http://schemas.microsoft.com/office/drawing/2014/main" id="{B7EC8C94-DD2F-6E69-9F91-9EB78A8D316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5293" y="89083"/>
            <a:ext cx="2030830" cy="1224303"/>
          </a:xfrm>
          <a:prstGeom prst="rect">
            <a:avLst/>
          </a:prstGeom>
          <a:noFill/>
        </p:spPr>
      </p:pic>
      <p:pic>
        <p:nvPicPr>
          <p:cNvPr id="15" name="Picture 14" descr="A logo with stars and text&#10;&#10;AI-generated content may be incorrect.">
            <a:extLst>
              <a:ext uri="{FF2B5EF4-FFF2-40B4-BE49-F238E27FC236}">
                <a16:creationId xmlns:a16="http://schemas.microsoft.com/office/drawing/2014/main" id="{E37699E9-CB27-442E-37F5-D16E1F100792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81196" y="5210046"/>
            <a:ext cx="2111127" cy="1713490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9289C68C-4111-9DFA-0CCA-22AF44E3F5DD}"/>
              </a:ext>
            </a:extLst>
          </p:cNvPr>
          <p:cNvSpPr txBox="1"/>
          <p:nvPr/>
        </p:nvSpPr>
        <p:spPr>
          <a:xfrm>
            <a:off x="-116229" y="1352125"/>
            <a:ext cx="7361854" cy="5162439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>
            <a:defPPr>
              <a:defRPr lang="en-GB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7000"/>
              </a:lnSpc>
              <a:spcAft>
                <a:spcPts val="800"/>
              </a:spcAft>
            </a:pPr>
            <a:endParaRPr lang="ru-RU" sz="4000" b="1" kern="100" noProof="1">
              <a:solidFill>
                <a:srgbClr val="455560"/>
              </a:solidFill>
              <a:latin typeface="Arial"/>
              <a:ea typeface="Roboto"/>
              <a:cs typeface="Arial"/>
            </a:endParaRPr>
          </a:p>
          <a:p>
            <a:pPr algn="ctr"/>
            <a:r>
              <a:rPr lang="ru-RU" sz="4000" b="1" noProof="1">
                <a:cs typeface="Arial"/>
              </a:rPr>
              <a:t>13:00 – 14:00</a:t>
            </a:r>
          </a:p>
          <a:p>
            <a:pPr algn="ctr"/>
            <a:r>
              <a:rPr lang="ru-RU" sz="4000" b="1" noProof="1">
                <a:cs typeface="Arial"/>
              </a:rPr>
              <a:t>Обед</a:t>
            </a:r>
            <a:endParaRPr lang="ru-RU" sz="4000" noProof="1">
              <a:cs typeface="Arial"/>
            </a:endParaRPr>
          </a:p>
          <a:p>
            <a:pPr algn="ctr"/>
            <a:endParaRPr lang="ru-RU" sz="4000" b="1" noProof="1">
              <a:cs typeface="Arial" panose="020B0604020202020204"/>
            </a:endParaRPr>
          </a:p>
          <a:p>
            <a:pPr algn="ctr"/>
            <a:r>
              <a:rPr lang="ru-RU" sz="4000" b="1" noProof="1">
                <a:cs typeface="Arial" panose="020B0604020202020204"/>
              </a:rPr>
              <a:t>13:00 – 14:00</a:t>
            </a:r>
          </a:p>
          <a:p>
            <a:pPr algn="ctr"/>
            <a:r>
              <a:rPr lang="ru-RU" sz="4000" b="1" noProof="1">
                <a:cs typeface="Arial" panose="020B0604020202020204"/>
              </a:rPr>
              <a:t>Lunch</a:t>
            </a:r>
          </a:p>
          <a:p>
            <a:pPr algn="ctr"/>
            <a:endParaRPr lang="ru-RU" sz="4000" b="1" noProof="1">
              <a:cs typeface="Arial" panose="020B0604020202020204"/>
            </a:endParaRPr>
          </a:p>
          <a:p>
            <a:pPr algn="ctr"/>
            <a:endParaRPr lang="ru-RU" sz="4000" b="1" noProof="1">
              <a:cs typeface="Arial" panose="020B0604020202020204"/>
            </a:endParaRPr>
          </a:p>
        </p:txBody>
      </p:sp>
    </p:spTree>
    <p:extLst>
      <p:ext uri="{BB962C8B-B14F-4D97-AF65-F5344CB8AC3E}">
        <p14:creationId xmlns:p14="http://schemas.microsoft.com/office/powerpoint/2010/main" val="369782137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DE55BDA-BC2C-2990-26A1-DBBD782015F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0">
            <a:extLst>
              <a:ext uri="{FF2B5EF4-FFF2-40B4-BE49-F238E27FC236}">
                <a16:creationId xmlns:a16="http://schemas.microsoft.com/office/drawing/2014/main" id="{B2572FA6-589B-672F-00B8-E4CA8D95CF06}"/>
              </a:ext>
            </a:extLst>
          </p:cNvPr>
          <p:cNvSpPr/>
          <p:nvPr/>
        </p:nvSpPr>
        <p:spPr>
          <a:xfrm>
            <a:off x="7315200" y="-487680"/>
            <a:ext cx="5120640" cy="548640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algn="r"/>
            <a:r>
              <a:rPr lang="ru-RU" sz="42666" b="1" noProof="1">
                <a:solidFill>
                  <a:srgbClr val="0092BB">
                    <a:alpha val="40000"/>
                  </a:srgbClr>
                </a:solidFill>
                <a:latin typeface="Arial" panose="020B0604020202020204" pitchFamily="34" charset="0"/>
                <a:ea typeface="Trebuchet MS" pitchFamily="34" charset="-122"/>
                <a:cs typeface="Arial" panose="020B0604020202020204" pitchFamily="34" charset="0"/>
              </a:rPr>
              <a:t>03</a:t>
            </a:r>
            <a:endParaRPr lang="ru-RU" sz="42666" noProof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Shape 1">
            <a:extLst>
              <a:ext uri="{FF2B5EF4-FFF2-40B4-BE49-F238E27FC236}">
                <a16:creationId xmlns:a16="http://schemas.microsoft.com/office/drawing/2014/main" id="{B0FB9D81-814C-5312-F3D0-5509F11798DD}"/>
              </a:ext>
            </a:extLst>
          </p:cNvPr>
          <p:cNvSpPr/>
          <p:nvPr/>
        </p:nvSpPr>
        <p:spPr>
          <a:xfrm>
            <a:off x="670560" y="1524000"/>
            <a:ext cx="85344" cy="2743200"/>
          </a:xfrm>
          <a:prstGeom prst="rect">
            <a:avLst/>
          </a:prstGeom>
          <a:solidFill>
            <a:srgbClr val="FFDC00"/>
          </a:solidFill>
          <a:ln w="12700">
            <a:solidFill>
              <a:srgbClr val="FFDC00"/>
            </a:solidFill>
            <a:prstDash val="solid"/>
          </a:ln>
        </p:spPr>
        <p:txBody>
          <a:bodyPr/>
          <a:lstStyle/>
          <a:p>
            <a:endParaRPr lang="ru-RU" sz="2400" noProof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Text 2">
            <a:extLst>
              <a:ext uri="{FF2B5EF4-FFF2-40B4-BE49-F238E27FC236}">
                <a16:creationId xmlns:a16="http://schemas.microsoft.com/office/drawing/2014/main" id="{4F4AB2B3-F44F-7EFD-0D7B-C406E163612A}"/>
              </a:ext>
            </a:extLst>
          </p:cNvPr>
          <p:cNvSpPr/>
          <p:nvPr/>
        </p:nvSpPr>
        <p:spPr>
          <a:xfrm>
            <a:off x="914400" y="1975104"/>
            <a:ext cx="9144000" cy="146304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lvl="0">
              <a:defRPr/>
            </a:pPr>
            <a:r>
              <a:rPr lang="ru-RU" sz="3200" b="1" noProof="1">
                <a:solidFill>
                  <a:srgbClr val="FFFFFF"/>
                </a:solidFill>
                <a:latin typeface="Arial" panose="020B0604020202020204" pitchFamily="34" charset="0"/>
                <a:ea typeface="Georgia" pitchFamily="34" charset="-122"/>
                <a:cs typeface="Arial" panose="020B0604020202020204" pitchFamily="34" charset="0"/>
              </a:rPr>
              <a:t>Игра по дизайну профессионального развития педагогов</a:t>
            </a:r>
          </a:p>
        </p:txBody>
      </p:sp>
      <p:sp>
        <p:nvSpPr>
          <p:cNvPr id="5" name="Shape 3">
            <a:extLst>
              <a:ext uri="{FF2B5EF4-FFF2-40B4-BE49-F238E27FC236}">
                <a16:creationId xmlns:a16="http://schemas.microsoft.com/office/drawing/2014/main" id="{A022FC43-350B-20E0-FC4A-7DB6D94952C2}"/>
              </a:ext>
            </a:extLst>
          </p:cNvPr>
          <p:cNvSpPr/>
          <p:nvPr/>
        </p:nvSpPr>
        <p:spPr>
          <a:xfrm>
            <a:off x="1072896" y="3779520"/>
            <a:ext cx="3413760" cy="512064"/>
          </a:xfrm>
          <a:prstGeom prst="roundRect">
            <a:avLst>
              <a:gd name="adj" fmla="val 14286"/>
            </a:avLst>
          </a:prstGeom>
          <a:solidFill>
            <a:srgbClr val="FFDC00"/>
          </a:solidFill>
          <a:ln w="12700">
            <a:solidFill>
              <a:srgbClr val="FFDC00"/>
            </a:solidFill>
            <a:prstDash val="solid"/>
          </a:ln>
        </p:spPr>
        <p:txBody>
          <a:bodyPr/>
          <a:lstStyle/>
          <a:p>
            <a:endParaRPr lang="ru-RU" sz="2400" noProof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Text 4">
            <a:extLst>
              <a:ext uri="{FF2B5EF4-FFF2-40B4-BE49-F238E27FC236}">
                <a16:creationId xmlns:a16="http://schemas.microsoft.com/office/drawing/2014/main" id="{9E55D42D-AD14-6DE8-2261-9FB4A1A220C6}"/>
              </a:ext>
            </a:extLst>
          </p:cNvPr>
          <p:cNvSpPr/>
          <p:nvPr/>
        </p:nvSpPr>
        <p:spPr>
          <a:xfrm>
            <a:off x="1072896" y="3779520"/>
            <a:ext cx="3255264" cy="512064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lvl="0" algn="ctr">
              <a:defRPr/>
            </a:pPr>
            <a:r>
              <a:rPr lang="ru-RU" sz="1867" b="1" noProof="1">
                <a:solidFill>
                  <a:schemeClr val="accent2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14:00 – 15:15  |  75 минут</a:t>
            </a:r>
            <a:endParaRPr lang="ru-RU" sz="1867" noProof="1">
              <a:solidFill>
                <a:schemeClr val="accent2"/>
              </a:solidFill>
              <a:latin typeface="Calibri" panose="020F0502020204030204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9AB08A5F-D3F1-3988-95DC-8288324F64B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72897" y="1175400"/>
            <a:ext cx="10944225" cy="1080120"/>
          </a:xfrm>
        </p:spPr>
        <p:txBody>
          <a:bodyPr/>
          <a:lstStyle/>
          <a:p>
            <a:r>
              <a:rPr lang="ru-RU" sz="3200" noProof="1">
                <a:solidFill>
                  <a:schemeClr val="accent4"/>
                </a:solidFill>
                <a:latin typeface="Arial" panose="020B0604020202020204" pitchFamily="34" charset="0"/>
                <a:ea typeface="Georgia" pitchFamily="34" charset="-122"/>
              </a:rPr>
              <a:t>Сессия 3</a:t>
            </a:r>
            <a:endParaRPr lang="ru-RU" noProof="1">
              <a:solidFill>
                <a:schemeClr val="accent4"/>
              </a:solidFill>
              <a:latin typeface="Arial" panose="020B0604020202020204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B4853919-5AAC-9306-4021-BEA11F8C60D0}"/>
              </a:ext>
            </a:extLst>
          </p:cNvPr>
          <p:cNvSpPr txBox="1"/>
          <p:nvPr/>
        </p:nvSpPr>
        <p:spPr>
          <a:xfrm>
            <a:off x="914401" y="4444724"/>
            <a:ext cx="427555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ru-RU" sz="1400" i="1" noProof="1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Shape 7">
            <a:extLst>
              <a:ext uri="{FF2B5EF4-FFF2-40B4-BE49-F238E27FC236}">
                <a16:creationId xmlns:a16="http://schemas.microsoft.com/office/drawing/2014/main" id="{59D7F41B-CCCD-A4F8-6D47-08453A56716B}"/>
              </a:ext>
            </a:extLst>
          </p:cNvPr>
          <p:cNvSpPr/>
          <p:nvPr/>
        </p:nvSpPr>
        <p:spPr>
          <a:xfrm>
            <a:off x="670560" y="4754879"/>
            <a:ext cx="3392129" cy="2089800"/>
          </a:xfrm>
          <a:prstGeom prst="rect">
            <a:avLst/>
          </a:prstGeom>
          <a:noFill/>
          <a:ln w="10160">
            <a:solidFill>
              <a:srgbClr val="039AAA"/>
            </a:solidFill>
            <a:prstDash val="solid"/>
          </a:ln>
        </p:spPr>
        <p:txBody>
          <a:bodyPr/>
          <a:lstStyle/>
          <a:p>
            <a:pPr defTabSz="1219170">
              <a:defRPr/>
            </a:pPr>
            <a:endParaRPr lang="ru-RU" sz="16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Text 8">
            <a:extLst>
              <a:ext uri="{FF2B5EF4-FFF2-40B4-BE49-F238E27FC236}">
                <a16:creationId xmlns:a16="http://schemas.microsoft.com/office/drawing/2014/main" id="{C37A92CE-B88B-F67A-4E12-59A34547C38C}"/>
              </a:ext>
            </a:extLst>
          </p:cNvPr>
          <p:cNvSpPr/>
          <p:nvPr/>
        </p:nvSpPr>
        <p:spPr>
          <a:xfrm>
            <a:off x="853440" y="4840224"/>
            <a:ext cx="3550723" cy="569945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600" b="1" kern="0" spc="200" noProof="1">
                <a:solidFill>
                  <a:schemeClr val="accent4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ЧАСТЬ 1</a:t>
            </a:r>
            <a:endParaRPr lang="ru-RU" sz="1600" noProof="1">
              <a:solidFill>
                <a:schemeClr val="accent4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Shape 11">
            <a:extLst>
              <a:ext uri="{FF2B5EF4-FFF2-40B4-BE49-F238E27FC236}">
                <a16:creationId xmlns:a16="http://schemas.microsoft.com/office/drawing/2014/main" id="{86F3DB3F-2BCB-D6B6-BA32-42D4509EC72A}"/>
              </a:ext>
            </a:extLst>
          </p:cNvPr>
          <p:cNvSpPr/>
          <p:nvPr/>
        </p:nvSpPr>
        <p:spPr>
          <a:xfrm>
            <a:off x="4267199" y="4768200"/>
            <a:ext cx="3823855" cy="2089800"/>
          </a:xfrm>
          <a:prstGeom prst="rect">
            <a:avLst/>
          </a:prstGeom>
          <a:noFill/>
          <a:ln w="10160">
            <a:solidFill>
              <a:srgbClr val="039AAA"/>
            </a:solidFill>
            <a:prstDash val="solid"/>
          </a:ln>
        </p:spPr>
        <p:txBody>
          <a:bodyPr/>
          <a:lstStyle/>
          <a:p>
            <a:pPr defTabSz="1219170">
              <a:defRPr/>
            </a:pPr>
            <a:endParaRPr lang="ru-RU" sz="16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Text 12">
            <a:extLst>
              <a:ext uri="{FF2B5EF4-FFF2-40B4-BE49-F238E27FC236}">
                <a16:creationId xmlns:a16="http://schemas.microsoft.com/office/drawing/2014/main" id="{AA454D6B-EBB9-0BB2-DA36-B085DB08D22B}"/>
              </a:ext>
            </a:extLst>
          </p:cNvPr>
          <p:cNvSpPr/>
          <p:nvPr/>
        </p:nvSpPr>
        <p:spPr>
          <a:xfrm>
            <a:off x="4450080" y="4853545"/>
            <a:ext cx="3550723" cy="569945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600" b="1" kern="0" spc="200" noProof="1">
                <a:solidFill>
                  <a:schemeClr val="accent4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ЧАСТЬ 2</a:t>
            </a:r>
            <a:endParaRPr lang="ru-RU" sz="1600" noProof="1">
              <a:solidFill>
                <a:schemeClr val="accent4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Text 9">
            <a:extLst>
              <a:ext uri="{FF2B5EF4-FFF2-40B4-BE49-F238E27FC236}">
                <a16:creationId xmlns:a16="http://schemas.microsoft.com/office/drawing/2014/main" id="{12E36CF6-DFAB-4B84-30E8-365C1F188C7B}"/>
              </a:ext>
            </a:extLst>
          </p:cNvPr>
          <p:cNvSpPr/>
          <p:nvPr/>
        </p:nvSpPr>
        <p:spPr>
          <a:xfrm>
            <a:off x="853440" y="5455918"/>
            <a:ext cx="3207104" cy="536383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733" b="1" noProof="1">
                <a:solidFill>
                  <a:schemeClr val="bg1"/>
                </a:solidFill>
                <a:latin typeface="Arial" panose="020B0604020202020204" pitchFamily="34" charset="0"/>
                <a:ea typeface="Georgia" pitchFamily="34" charset="-122"/>
                <a:cs typeface="Arial" panose="020B0604020202020204" pitchFamily="34" charset="0"/>
              </a:rPr>
              <a:t>Дизайн — Подготовленные карточки</a:t>
            </a:r>
            <a:endParaRPr lang="ru-RU" sz="1733" noProof="1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Text 10">
            <a:extLst>
              <a:ext uri="{FF2B5EF4-FFF2-40B4-BE49-F238E27FC236}">
                <a16:creationId xmlns:a16="http://schemas.microsoft.com/office/drawing/2014/main" id="{C7AE7070-ED5E-5C0A-AC83-7BF776D78423}"/>
              </a:ext>
            </a:extLst>
          </p:cNvPr>
          <p:cNvSpPr/>
          <p:nvPr/>
        </p:nvSpPr>
        <p:spPr>
          <a:xfrm>
            <a:off x="853440" y="5919214"/>
            <a:ext cx="3207104" cy="429105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333" noProof="1">
                <a:solidFill>
                  <a:schemeClr val="bg1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14:05 – 14:30</a:t>
            </a:r>
            <a:endParaRPr lang="ru-RU" sz="1333" noProof="1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Text 13">
            <a:extLst>
              <a:ext uri="{FF2B5EF4-FFF2-40B4-BE49-F238E27FC236}">
                <a16:creationId xmlns:a16="http://schemas.microsoft.com/office/drawing/2014/main" id="{0C5C6617-010D-7716-26E7-7909C636F64D}"/>
              </a:ext>
            </a:extLst>
          </p:cNvPr>
          <p:cNvSpPr/>
          <p:nvPr/>
        </p:nvSpPr>
        <p:spPr>
          <a:xfrm>
            <a:off x="4450080" y="5469239"/>
            <a:ext cx="3207104" cy="536383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733" b="1" noProof="1">
                <a:solidFill>
                  <a:schemeClr val="bg1"/>
                </a:solidFill>
                <a:latin typeface="Arial" panose="020B0604020202020204" pitchFamily="34" charset="0"/>
                <a:ea typeface="Georgia" pitchFamily="34" charset="-122"/>
                <a:cs typeface="Arial" panose="020B0604020202020204" pitchFamily="34" charset="0"/>
              </a:rPr>
              <a:t>Напишите свои собственные карточки</a:t>
            </a:r>
            <a:endParaRPr lang="ru-RU" sz="1733" noProof="1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" name="Text 14">
            <a:extLst>
              <a:ext uri="{FF2B5EF4-FFF2-40B4-BE49-F238E27FC236}">
                <a16:creationId xmlns:a16="http://schemas.microsoft.com/office/drawing/2014/main" id="{3CC9C4C1-3A3C-9D89-7973-CB8CDD1AD87A}"/>
              </a:ext>
            </a:extLst>
          </p:cNvPr>
          <p:cNvSpPr/>
          <p:nvPr/>
        </p:nvSpPr>
        <p:spPr>
          <a:xfrm>
            <a:off x="4450080" y="5932536"/>
            <a:ext cx="3207104" cy="429105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333" noProof="1">
                <a:solidFill>
                  <a:schemeClr val="bg1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14:42 – 15:02</a:t>
            </a:r>
            <a:endParaRPr lang="ru-RU" sz="1333" noProof="1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" name="Shape 11">
            <a:extLst>
              <a:ext uri="{FF2B5EF4-FFF2-40B4-BE49-F238E27FC236}">
                <a16:creationId xmlns:a16="http://schemas.microsoft.com/office/drawing/2014/main" id="{F7DD5D15-3322-7F18-8CAF-ED0C3447307D}"/>
              </a:ext>
            </a:extLst>
          </p:cNvPr>
          <p:cNvSpPr/>
          <p:nvPr/>
        </p:nvSpPr>
        <p:spPr>
          <a:xfrm>
            <a:off x="8193266" y="4768200"/>
            <a:ext cx="3823855" cy="2089800"/>
          </a:xfrm>
          <a:prstGeom prst="rect">
            <a:avLst/>
          </a:prstGeom>
          <a:noFill/>
          <a:ln w="10160">
            <a:solidFill>
              <a:srgbClr val="039AAA"/>
            </a:solidFill>
            <a:prstDash val="solid"/>
          </a:ln>
        </p:spPr>
        <p:txBody>
          <a:bodyPr/>
          <a:lstStyle/>
          <a:p>
            <a:pPr defTabSz="1219170">
              <a:defRPr/>
            </a:pPr>
            <a:endParaRPr lang="ru-RU" sz="16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2" name="Text 12">
            <a:extLst>
              <a:ext uri="{FF2B5EF4-FFF2-40B4-BE49-F238E27FC236}">
                <a16:creationId xmlns:a16="http://schemas.microsoft.com/office/drawing/2014/main" id="{363B4BC0-FC6C-BAFE-F0AC-9024A274B5B4}"/>
              </a:ext>
            </a:extLst>
          </p:cNvPr>
          <p:cNvSpPr/>
          <p:nvPr/>
        </p:nvSpPr>
        <p:spPr>
          <a:xfrm>
            <a:off x="8376147" y="4853545"/>
            <a:ext cx="3550723" cy="569945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600" b="1" kern="0" spc="200" noProof="1">
                <a:solidFill>
                  <a:schemeClr val="accent4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ЧАСТЬ 3</a:t>
            </a:r>
            <a:endParaRPr lang="ru-RU" sz="1600" noProof="1">
              <a:solidFill>
                <a:schemeClr val="accent4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5" name="Text 17">
            <a:extLst>
              <a:ext uri="{FF2B5EF4-FFF2-40B4-BE49-F238E27FC236}">
                <a16:creationId xmlns:a16="http://schemas.microsoft.com/office/drawing/2014/main" id="{38263A2F-2371-6DF6-23B7-CA921F13A404}"/>
              </a:ext>
            </a:extLst>
          </p:cNvPr>
          <p:cNvSpPr/>
          <p:nvPr/>
        </p:nvSpPr>
        <p:spPr>
          <a:xfrm>
            <a:off x="8376147" y="5306966"/>
            <a:ext cx="3207104" cy="536383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733" b="1" noProof="1">
                <a:solidFill>
                  <a:schemeClr val="bg1"/>
                </a:solidFill>
                <a:latin typeface="Arial" panose="020B0604020202020204" pitchFamily="34" charset="0"/>
                <a:ea typeface="Georgia" pitchFamily="34" charset="-122"/>
                <a:cs typeface="Arial" panose="020B0604020202020204" pitchFamily="34" charset="0"/>
              </a:rPr>
              <a:t>Игра между столами</a:t>
            </a:r>
            <a:endParaRPr lang="ru-RU" sz="1733" noProof="1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6" name="Text 18">
            <a:extLst>
              <a:ext uri="{FF2B5EF4-FFF2-40B4-BE49-F238E27FC236}">
                <a16:creationId xmlns:a16="http://schemas.microsoft.com/office/drawing/2014/main" id="{8BCC81A2-AD4C-2D06-9B49-E7655332C62E}"/>
              </a:ext>
            </a:extLst>
          </p:cNvPr>
          <p:cNvSpPr/>
          <p:nvPr/>
        </p:nvSpPr>
        <p:spPr>
          <a:xfrm>
            <a:off x="8376147" y="5770262"/>
            <a:ext cx="3207104" cy="429105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333" noProof="1">
                <a:solidFill>
                  <a:schemeClr val="bg1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15:02 – 15:12</a:t>
            </a:r>
            <a:endParaRPr lang="ru-RU" sz="1333" noProof="1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012619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2DD45C4-1CB8-DB34-81D2-6085E86547C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DB84476-BC29-4407-9D57-B2E562B8968B}" type="slidenum">
              <a:rPr lang="ru-RU" noProof="1" smtClean="0"/>
              <a:pPr/>
              <a:t>38</a:t>
            </a:fld>
            <a:endParaRPr lang="ru-RU" noProof="1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060965E9-871D-60F9-DB7C-4EBDB84A8ED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noProof="1"/>
              <a:t>Ожидаемые результаты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551CBB66-9866-02AF-726B-9F62DBF95777}"/>
              </a:ext>
            </a:extLst>
          </p:cNvPr>
          <p:cNvSpPr txBox="1"/>
          <p:nvPr/>
        </p:nvSpPr>
        <p:spPr>
          <a:xfrm>
            <a:off x="635316" y="1502564"/>
            <a:ext cx="9128615" cy="163121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ru-RU" sz="2500" b="1" noProof="1">
                <a:solidFill>
                  <a:schemeClr val="bg1"/>
                </a:solidFill>
              </a:rPr>
              <a:t>Глубже изучить индикаторы качества</a:t>
            </a:r>
            <a:endParaRPr lang="ru-RU" sz="2500" noProof="1">
              <a:solidFill>
                <a:schemeClr val="bg1"/>
              </a:solidFill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ru-RU" sz="2500" b="1" noProof="1">
                <a:solidFill>
                  <a:schemeClr val="bg1"/>
                </a:solidFill>
              </a:rPr>
              <a:t>Применить индикаторы качества к различным примерам ситуаций профессионального развития педагогов</a:t>
            </a:r>
            <a:endParaRPr lang="ru-RU" sz="2500" noProof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1449264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>
          <a:extLst>
            <a:ext uri="{FF2B5EF4-FFF2-40B4-BE49-F238E27FC236}">
              <a16:creationId xmlns:a16="http://schemas.microsoft.com/office/drawing/2014/main" id="{8205A7CC-AAB5-FF36-EDD0-DD408904FDC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8AF3D9B6-245E-346E-629B-C2ECC095E66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6277" y="212232"/>
            <a:ext cx="7815651" cy="1080120"/>
          </a:xfrm>
        </p:spPr>
        <p:txBody>
          <a:bodyPr/>
          <a:lstStyle/>
          <a:p>
            <a:r>
              <a:rPr lang="ru-RU" noProof="1">
                <a:latin typeface="Arial" panose="020B0604020202020204" pitchFamily="34" charset="0"/>
              </a:rPr>
              <a:t>СЕССИЯ 3  |  ОБЗОР</a:t>
            </a:r>
          </a:p>
        </p:txBody>
      </p:sp>
      <p:sp>
        <p:nvSpPr>
          <p:cNvPr id="2" name="Text 2">
            <a:extLst>
              <a:ext uri="{FF2B5EF4-FFF2-40B4-BE49-F238E27FC236}">
                <a16:creationId xmlns:a16="http://schemas.microsoft.com/office/drawing/2014/main" id="{7BBAEC2E-12D2-8A05-1139-12C408746D46}"/>
              </a:ext>
            </a:extLst>
          </p:cNvPr>
          <p:cNvSpPr/>
          <p:nvPr/>
        </p:nvSpPr>
        <p:spPr>
          <a:xfrm>
            <a:off x="696277" y="1085895"/>
            <a:ext cx="1950720" cy="42672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467" b="1" kern="0" spc="133" noProof="1">
                <a:solidFill>
                  <a:schemeClr val="bg1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ВРЕМЯ</a:t>
            </a:r>
            <a:endParaRPr lang="ru-RU" sz="1467" noProof="1">
              <a:solidFill>
                <a:schemeClr val="bg1"/>
              </a:solidFill>
              <a:latin typeface="Calibri" panose="020F0502020204030204"/>
            </a:endParaRPr>
          </a:p>
        </p:txBody>
      </p:sp>
      <p:sp>
        <p:nvSpPr>
          <p:cNvPr id="36" name="Text 3">
            <a:extLst>
              <a:ext uri="{FF2B5EF4-FFF2-40B4-BE49-F238E27FC236}">
                <a16:creationId xmlns:a16="http://schemas.microsoft.com/office/drawing/2014/main" id="{0493036F-5E60-6D49-180D-A9D0BA31084D}"/>
              </a:ext>
            </a:extLst>
          </p:cNvPr>
          <p:cNvSpPr/>
          <p:nvPr/>
        </p:nvSpPr>
        <p:spPr>
          <a:xfrm>
            <a:off x="2890837" y="1085895"/>
            <a:ext cx="6949440" cy="42672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467" b="1" kern="0" spc="133" noProof="1">
                <a:solidFill>
                  <a:schemeClr val="bg1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АКТИВНОСТЬ</a:t>
            </a:r>
            <a:endParaRPr lang="ru-RU" sz="1467" noProof="1">
              <a:solidFill>
                <a:schemeClr val="bg1"/>
              </a:solidFill>
              <a:latin typeface="Calibri" panose="020F0502020204030204"/>
            </a:endParaRPr>
          </a:p>
        </p:txBody>
      </p:sp>
      <p:sp>
        <p:nvSpPr>
          <p:cNvPr id="37" name="Text 4">
            <a:extLst>
              <a:ext uri="{FF2B5EF4-FFF2-40B4-BE49-F238E27FC236}">
                <a16:creationId xmlns:a16="http://schemas.microsoft.com/office/drawing/2014/main" id="{BB7FCEBB-76E4-98D2-DF2B-1AE368A39AB5}"/>
              </a:ext>
            </a:extLst>
          </p:cNvPr>
          <p:cNvSpPr/>
          <p:nvPr/>
        </p:nvSpPr>
        <p:spPr>
          <a:xfrm>
            <a:off x="9580279" y="1085895"/>
            <a:ext cx="2194560" cy="42672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467" b="1" kern="0" spc="133" noProof="1">
                <a:solidFill>
                  <a:schemeClr val="bg1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ФОРМАТ</a:t>
            </a:r>
            <a:endParaRPr lang="ru-RU" sz="1467" noProof="1">
              <a:solidFill>
                <a:schemeClr val="bg1"/>
              </a:solidFill>
              <a:latin typeface="Calibri" panose="020F0502020204030204"/>
            </a:endParaRPr>
          </a:p>
        </p:txBody>
      </p:sp>
      <p:sp>
        <p:nvSpPr>
          <p:cNvPr id="38" name="Shape 5">
            <a:extLst>
              <a:ext uri="{FF2B5EF4-FFF2-40B4-BE49-F238E27FC236}">
                <a16:creationId xmlns:a16="http://schemas.microsoft.com/office/drawing/2014/main" id="{8E539D21-BEB4-3B39-A0AE-1CC4CAD90A35}"/>
              </a:ext>
            </a:extLst>
          </p:cNvPr>
          <p:cNvSpPr/>
          <p:nvPr/>
        </p:nvSpPr>
        <p:spPr>
          <a:xfrm>
            <a:off x="635318" y="1573575"/>
            <a:ext cx="11139521" cy="768096"/>
          </a:xfrm>
          <a:prstGeom prst="rect">
            <a:avLst/>
          </a:prstGeom>
          <a:solidFill>
            <a:srgbClr val="FFFFFF"/>
          </a:solidFill>
          <a:ln w="5080">
            <a:solidFill>
              <a:srgbClr val="B2D8DE"/>
            </a:solidFill>
            <a:prstDash val="solid"/>
          </a:ln>
        </p:spPr>
        <p:txBody>
          <a:bodyPr/>
          <a:lstStyle/>
          <a:p>
            <a:pPr defTabSz="1219170">
              <a:defRPr/>
            </a:pPr>
            <a:endParaRPr lang="ru-RU" sz="1467" noProof="1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39" name="Text 6">
            <a:extLst>
              <a:ext uri="{FF2B5EF4-FFF2-40B4-BE49-F238E27FC236}">
                <a16:creationId xmlns:a16="http://schemas.microsoft.com/office/drawing/2014/main" id="{BB213466-E251-27AB-F9E4-B7D7839639FC}"/>
              </a:ext>
            </a:extLst>
          </p:cNvPr>
          <p:cNvSpPr/>
          <p:nvPr/>
        </p:nvSpPr>
        <p:spPr>
          <a:xfrm>
            <a:off x="696277" y="1634535"/>
            <a:ext cx="1950720" cy="67056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600" b="1" noProof="1">
                <a:solidFill>
                  <a:srgbClr val="027A87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14:00 – 14:05</a:t>
            </a:r>
            <a:endParaRPr lang="ru-RU" sz="1600" noProof="1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40" name="Text 7">
            <a:extLst>
              <a:ext uri="{FF2B5EF4-FFF2-40B4-BE49-F238E27FC236}">
                <a16:creationId xmlns:a16="http://schemas.microsoft.com/office/drawing/2014/main" id="{9108294D-267D-5217-ABD0-3D70C66983F4}"/>
              </a:ext>
            </a:extLst>
          </p:cNvPr>
          <p:cNvSpPr/>
          <p:nvPr/>
        </p:nvSpPr>
        <p:spPr>
          <a:xfrm>
            <a:off x="2890837" y="1634535"/>
            <a:ext cx="6949440" cy="67056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600" noProof="1">
                <a:solidFill>
                  <a:srgbClr val="16303A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Подготовка и повторное вовлечение — введение в переход к применению</a:t>
            </a:r>
            <a:endParaRPr lang="ru-RU" sz="1600" noProof="1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41" name="Text 8">
            <a:extLst>
              <a:ext uri="{FF2B5EF4-FFF2-40B4-BE49-F238E27FC236}">
                <a16:creationId xmlns:a16="http://schemas.microsoft.com/office/drawing/2014/main" id="{81885D94-BFDE-B415-3F27-6ED76C71275D}"/>
              </a:ext>
            </a:extLst>
          </p:cNvPr>
          <p:cNvSpPr/>
          <p:nvPr/>
        </p:nvSpPr>
        <p:spPr>
          <a:xfrm>
            <a:off x="9580279" y="1634535"/>
            <a:ext cx="2194560" cy="67056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600" noProof="1">
                <a:solidFill>
                  <a:srgbClr val="3D6673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Пленарное заседание</a:t>
            </a:r>
            <a:endParaRPr lang="ru-RU" sz="1600" noProof="1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42" name="Shape 9">
            <a:extLst>
              <a:ext uri="{FF2B5EF4-FFF2-40B4-BE49-F238E27FC236}">
                <a16:creationId xmlns:a16="http://schemas.microsoft.com/office/drawing/2014/main" id="{684A0265-D526-E140-ED50-6326CE131E7D}"/>
              </a:ext>
            </a:extLst>
          </p:cNvPr>
          <p:cNvSpPr/>
          <p:nvPr/>
        </p:nvSpPr>
        <p:spPr>
          <a:xfrm>
            <a:off x="635318" y="2402631"/>
            <a:ext cx="11139521" cy="768096"/>
          </a:xfrm>
          <a:prstGeom prst="rect">
            <a:avLst/>
          </a:prstGeom>
          <a:solidFill>
            <a:srgbClr val="D6F0F3"/>
          </a:solidFill>
          <a:ln w="5080">
            <a:solidFill>
              <a:srgbClr val="B2D8DE"/>
            </a:solidFill>
            <a:prstDash val="solid"/>
          </a:ln>
        </p:spPr>
        <p:txBody>
          <a:bodyPr/>
          <a:lstStyle/>
          <a:p>
            <a:pPr defTabSz="1219170">
              <a:defRPr/>
            </a:pPr>
            <a:endParaRPr lang="ru-RU" sz="1467" noProof="1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43" name="Text 10">
            <a:extLst>
              <a:ext uri="{FF2B5EF4-FFF2-40B4-BE49-F238E27FC236}">
                <a16:creationId xmlns:a16="http://schemas.microsoft.com/office/drawing/2014/main" id="{4F2E5975-FF7A-343F-A063-F37FA3638402}"/>
              </a:ext>
            </a:extLst>
          </p:cNvPr>
          <p:cNvSpPr/>
          <p:nvPr/>
        </p:nvSpPr>
        <p:spPr>
          <a:xfrm>
            <a:off x="696277" y="2463591"/>
            <a:ext cx="1950720" cy="67056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600" b="1" noProof="1">
                <a:solidFill>
                  <a:srgbClr val="027A87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14:05 – 14:30</a:t>
            </a:r>
            <a:endParaRPr lang="ru-RU" sz="1600" noProof="1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44" name="Text 11">
            <a:extLst>
              <a:ext uri="{FF2B5EF4-FFF2-40B4-BE49-F238E27FC236}">
                <a16:creationId xmlns:a16="http://schemas.microsoft.com/office/drawing/2014/main" id="{48A3EE01-D1CF-440B-4E74-BC6F77ED7D8B}"/>
              </a:ext>
            </a:extLst>
          </p:cNvPr>
          <p:cNvSpPr/>
          <p:nvPr/>
        </p:nvSpPr>
        <p:spPr>
          <a:xfrm>
            <a:off x="2890837" y="2463591"/>
            <a:ext cx="6949440" cy="67056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600" noProof="1">
                <a:solidFill>
                  <a:srgbClr val="16303A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Раунд 1 — Снэп с подготовленным набором карточек (16 раундов)</a:t>
            </a:r>
            <a:endParaRPr lang="ru-RU" sz="1600" noProof="1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45" name="Text 12">
            <a:extLst>
              <a:ext uri="{FF2B5EF4-FFF2-40B4-BE49-F238E27FC236}">
                <a16:creationId xmlns:a16="http://schemas.microsoft.com/office/drawing/2014/main" id="{CBE4A3F9-05D3-3A88-2639-E89FC87D12DB}"/>
              </a:ext>
            </a:extLst>
          </p:cNvPr>
          <p:cNvSpPr/>
          <p:nvPr/>
        </p:nvSpPr>
        <p:spPr>
          <a:xfrm>
            <a:off x="9580279" y="2463591"/>
            <a:ext cx="2194560" cy="67056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600" noProof="1">
                <a:solidFill>
                  <a:srgbClr val="3D6673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Соревновательная игра за столом</a:t>
            </a:r>
            <a:endParaRPr lang="ru-RU" sz="1600" noProof="1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46" name="Shape 13">
            <a:extLst>
              <a:ext uri="{FF2B5EF4-FFF2-40B4-BE49-F238E27FC236}">
                <a16:creationId xmlns:a16="http://schemas.microsoft.com/office/drawing/2014/main" id="{FACD09BD-722F-2AD1-D27D-27DEEA19633A}"/>
              </a:ext>
            </a:extLst>
          </p:cNvPr>
          <p:cNvSpPr/>
          <p:nvPr/>
        </p:nvSpPr>
        <p:spPr>
          <a:xfrm>
            <a:off x="635318" y="3231687"/>
            <a:ext cx="11139521" cy="768096"/>
          </a:xfrm>
          <a:prstGeom prst="rect">
            <a:avLst/>
          </a:prstGeom>
          <a:solidFill>
            <a:srgbClr val="FFFFFF"/>
          </a:solidFill>
          <a:ln w="5080">
            <a:solidFill>
              <a:srgbClr val="B2D8DE"/>
            </a:solidFill>
            <a:prstDash val="solid"/>
          </a:ln>
        </p:spPr>
        <p:txBody>
          <a:bodyPr/>
          <a:lstStyle/>
          <a:p>
            <a:pPr defTabSz="1219170">
              <a:defRPr/>
            </a:pPr>
            <a:endParaRPr lang="ru-RU" sz="1467" noProof="1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47" name="Text 14">
            <a:extLst>
              <a:ext uri="{FF2B5EF4-FFF2-40B4-BE49-F238E27FC236}">
                <a16:creationId xmlns:a16="http://schemas.microsoft.com/office/drawing/2014/main" id="{AAC458F8-8F4A-66E2-C7D3-A456C3BA7F57}"/>
              </a:ext>
            </a:extLst>
          </p:cNvPr>
          <p:cNvSpPr/>
          <p:nvPr/>
        </p:nvSpPr>
        <p:spPr>
          <a:xfrm>
            <a:off x="696277" y="3292647"/>
            <a:ext cx="1950720" cy="67056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600" b="1" noProof="1">
                <a:solidFill>
                  <a:srgbClr val="027A87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14:30 – 14:42</a:t>
            </a:r>
            <a:endParaRPr lang="ru-RU" sz="1600" noProof="1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48" name="Text 15">
            <a:extLst>
              <a:ext uri="{FF2B5EF4-FFF2-40B4-BE49-F238E27FC236}">
                <a16:creationId xmlns:a16="http://schemas.microsoft.com/office/drawing/2014/main" id="{88130DA9-FEBC-B669-EF25-BCA4AB238C10}"/>
              </a:ext>
            </a:extLst>
          </p:cNvPr>
          <p:cNvSpPr/>
          <p:nvPr/>
        </p:nvSpPr>
        <p:spPr>
          <a:xfrm>
            <a:off x="2890837" y="3292647"/>
            <a:ext cx="6949440" cy="67056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600" noProof="1">
                <a:solidFill>
                  <a:srgbClr val="16303A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Разбор Раунда 1 — один вопрос на стол</a:t>
            </a:r>
            <a:endParaRPr lang="ru-RU" sz="1600" noProof="1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49" name="Text 16">
            <a:extLst>
              <a:ext uri="{FF2B5EF4-FFF2-40B4-BE49-F238E27FC236}">
                <a16:creationId xmlns:a16="http://schemas.microsoft.com/office/drawing/2014/main" id="{46079EE2-FBB6-0F79-22A9-8260E5B52BBD}"/>
              </a:ext>
            </a:extLst>
          </p:cNvPr>
          <p:cNvSpPr/>
          <p:nvPr/>
        </p:nvSpPr>
        <p:spPr>
          <a:xfrm>
            <a:off x="9580279" y="3292647"/>
            <a:ext cx="2194560" cy="67056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600" noProof="1">
                <a:solidFill>
                  <a:srgbClr val="3D6673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Пленарное заседание</a:t>
            </a:r>
            <a:endParaRPr lang="ru-RU" sz="1600" noProof="1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50" name="Shape 17">
            <a:extLst>
              <a:ext uri="{FF2B5EF4-FFF2-40B4-BE49-F238E27FC236}">
                <a16:creationId xmlns:a16="http://schemas.microsoft.com/office/drawing/2014/main" id="{DC089BAE-824B-E913-3233-2466819CE6C6}"/>
              </a:ext>
            </a:extLst>
          </p:cNvPr>
          <p:cNvSpPr/>
          <p:nvPr/>
        </p:nvSpPr>
        <p:spPr>
          <a:xfrm>
            <a:off x="635318" y="4060743"/>
            <a:ext cx="11139521" cy="768096"/>
          </a:xfrm>
          <a:prstGeom prst="rect">
            <a:avLst/>
          </a:prstGeom>
          <a:solidFill>
            <a:srgbClr val="D6F0F3"/>
          </a:solidFill>
          <a:ln w="5080">
            <a:solidFill>
              <a:srgbClr val="B2D8DE"/>
            </a:solidFill>
            <a:prstDash val="solid"/>
          </a:ln>
        </p:spPr>
        <p:txBody>
          <a:bodyPr/>
          <a:lstStyle/>
          <a:p>
            <a:pPr defTabSz="1219170">
              <a:defRPr/>
            </a:pPr>
            <a:endParaRPr lang="ru-RU" sz="1467" noProof="1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51" name="Text 18">
            <a:extLst>
              <a:ext uri="{FF2B5EF4-FFF2-40B4-BE49-F238E27FC236}">
                <a16:creationId xmlns:a16="http://schemas.microsoft.com/office/drawing/2014/main" id="{5B157309-2551-C540-E03F-48954D5CBB34}"/>
              </a:ext>
            </a:extLst>
          </p:cNvPr>
          <p:cNvSpPr/>
          <p:nvPr/>
        </p:nvSpPr>
        <p:spPr>
          <a:xfrm>
            <a:off x="696277" y="4121703"/>
            <a:ext cx="1950720" cy="67056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600" b="1" noProof="1">
                <a:solidFill>
                  <a:srgbClr val="027A87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14:42 – 15:02</a:t>
            </a:r>
            <a:endParaRPr lang="ru-RU" sz="1600" noProof="1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52" name="Text 19">
            <a:extLst>
              <a:ext uri="{FF2B5EF4-FFF2-40B4-BE49-F238E27FC236}">
                <a16:creationId xmlns:a16="http://schemas.microsoft.com/office/drawing/2014/main" id="{FBDB8805-8ED9-3A19-A95C-9469E209D38F}"/>
              </a:ext>
            </a:extLst>
          </p:cNvPr>
          <p:cNvSpPr/>
          <p:nvPr/>
        </p:nvSpPr>
        <p:spPr>
          <a:xfrm>
            <a:off x="2890837" y="4121703"/>
            <a:ext cx="6949440" cy="67056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600" noProof="1">
                <a:solidFill>
                  <a:srgbClr val="16303A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Раунд 2 — Напишите собственные карточки «Снэп» из национальных контекстов</a:t>
            </a:r>
            <a:endParaRPr lang="ru-RU" sz="1600" noProof="1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53" name="Text 20">
            <a:extLst>
              <a:ext uri="{FF2B5EF4-FFF2-40B4-BE49-F238E27FC236}">
                <a16:creationId xmlns:a16="http://schemas.microsoft.com/office/drawing/2014/main" id="{9F073C12-A041-0DD8-71C5-A0E824A947E6}"/>
              </a:ext>
            </a:extLst>
          </p:cNvPr>
          <p:cNvSpPr/>
          <p:nvPr/>
        </p:nvSpPr>
        <p:spPr>
          <a:xfrm>
            <a:off x="9580279" y="4121703"/>
            <a:ext cx="2194560" cy="67056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600" noProof="1">
                <a:solidFill>
                  <a:srgbClr val="3D6673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Задание по написанию за столом</a:t>
            </a:r>
            <a:endParaRPr lang="ru-RU" sz="1600" noProof="1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54" name="Shape 21">
            <a:extLst>
              <a:ext uri="{FF2B5EF4-FFF2-40B4-BE49-F238E27FC236}">
                <a16:creationId xmlns:a16="http://schemas.microsoft.com/office/drawing/2014/main" id="{6A6ED066-0DE9-5BB4-ABD3-5C5472F00782}"/>
              </a:ext>
            </a:extLst>
          </p:cNvPr>
          <p:cNvSpPr/>
          <p:nvPr/>
        </p:nvSpPr>
        <p:spPr>
          <a:xfrm>
            <a:off x="635318" y="4889799"/>
            <a:ext cx="11139521" cy="768096"/>
          </a:xfrm>
          <a:prstGeom prst="rect">
            <a:avLst/>
          </a:prstGeom>
          <a:solidFill>
            <a:srgbClr val="FFFFFF"/>
          </a:solidFill>
          <a:ln w="5080">
            <a:solidFill>
              <a:srgbClr val="B2D8DE"/>
            </a:solidFill>
            <a:prstDash val="solid"/>
          </a:ln>
        </p:spPr>
        <p:txBody>
          <a:bodyPr/>
          <a:lstStyle/>
          <a:p>
            <a:pPr defTabSz="1219170">
              <a:defRPr/>
            </a:pPr>
            <a:endParaRPr lang="ru-RU" sz="1467" noProof="1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55" name="Text 22">
            <a:extLst>
              <a:ext uri="{FF2B5EF4-FFF2-40B4-BE49-F238E27FC236}">
                <a16:creationId xmlns:a16="http://schemas.microsoft.com/office/drawing/2014/main" id="{4661D57F-82BD-8378-C195-AB112D0A3412}"/>
              </a:ext>
            </a:extLst>
          </p:cNvPr>
          <p:cNvSpPr/>
          <p:nvPr/>
        </p:nvSpPr>
        <p:spPr>
          <a:xfrm>
            <a:off x="696277" y="4950759"/>
            <a:ext cx="1950720" cy="67056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600" b="1" noProof="1">
                <a:solidFill>
                  <a:srgbClr val="027A87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15:02 – 15:12</a:t>
            </a:r>
            <a:endParaRPr lang="ru-RU" sz="1600" noProof="1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56" name="Text 23">
            <a:extLst>
              <a:ext uri="{FF2B5EF4-FFF2-40B4-BE49-F238E27FC236}">
                <a16:creationId xmlns:a16="http://schemas.microsoft.com/office/drawing/2014/main" id="{73DB4671-A56D-4FEE-713C-8163C9761E3F}"/>
              </a:ext>
            </a:extLst>
          </p:cNvPr>
          <p:cNvSpPr/>
          <p:nvPr/>
        </p:nvSpPr>
        <p:spPr>
          <a:xfrm>
            <a:off x="2890837" y="4950759"/>
            <a:ext cx="6949440" cy="67056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600" noProof="1">
                <a:solidFill>
                  <a:srgbClr val="16303A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Испытание между столами — обменяйтесь карточками и сыграйте ими</a:t>
            </a:r>
            <a:endParaRPr lang="ru-RU" sz="1600" noProof="1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57" name="Text 24">
            <a:extLst>
              <a:ext uri="{FF2B5EF4-FFF2-40B4-BE49-F238E27FC236}">
                <a16:creationId xmlns:a16="http://schemas.microsoft.com/office/drawing/2014/main" id="{FA919847-0979-3BF6-709C-699447B2ACF8}"/>
              </a:ext>
            </a:extLst>
          </p:cNvPr>
          <p:cNvSpPr/>
          <p:nvPr/>
        </p:nvSpPr>
        <p:spPr>
          <a:xfrm>
            <a:off x="9580279" y="4950759"/>
            <a:ext cx="2194560" cy="67056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600" noProof="1">
                <a:solidFill>
                  <a:srgbClr val="3D6673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Игра между столами</a:t>
            </a:r>
            <a:endParaRPr lang="ru-RU" sz="1600" noProof="1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58" name="Shape 25">
            <a:extLst>
              <a:ext uri="{FF2B5EF4-FFF2-40B4-BE49-F238E27FC236}">
                <a16:creationId xmlns:a16="http://schemas.microsoft.com/office/drawing/2014/main" id="{716C3C72-750E-97C0-6C3B-2374F33D83C6}"/>
              </a:ext>
            </a:extLst>
          </p:cNvPr>
          <p:cNvSpPr/>
          <p:nvPr/>
        </p:nvSpPr>
        <p:spPr>
          <a:xfrm>
            <a:off x="635318" y="5718855"/>
            <a:ext cx="11139521" cy="768096"/>
          </a:xfrm>
          <a:prstGeom prst="rect">
            <a:avLst/>
          </a:prstGeom>
          <a:solidFill>
            <a:srgbClr val="D6F0F3"/>
          </a:solidFill>
          <a:ln w="5080">
            <a:solidFill>
              <a:srgbClr val="B2D8DE"/>
            </a:solidFill>
            <a:prstDash val="solid"/>
          </a:ln>
        </p:spPr>
        <p:txBody>
          <a:bodyPr/>
          <a:lstStyle/>
          <a:p>
            <a:pPr defTabSz="1219170">
              <a:defRPr/>
            </a:pPr>
            <a:endParaRPr lang="ru-RU" sz="1467" noProof="1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59" name="Text 26">
            <a:extLst>
              <a:ext uri="{FF2B5EF4-FFF2-40B4-BE49-F238E27FC236}">
                <a16:creationId xmlns:a16="http://schemas.microsoft.com/office/drawing/2014/main" id="{7E493580-A683-4210-B0A5-877C72F55A38}"/>
              </a:ext>
            </a:extLst>
          </p:cNvPr>
          <p:cNvSpPr/>
          <p:nvPr/>
        </p:nvSpPr>
        <p:spPr>
          <a:xfrm>
            <a:off x="696277" y="5779815"/>
            <a:ext cx="1950720" cy="67056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600" b="1" noProof="1">
                <a:solidFill>
                  <a:srgbClr val="027A87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15:12 – 15:15</a:t>
            </a:r>
            <a:endParaRPr lang="ru-RU" sz="1600" noProof="1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60" name="Text 27">
            <a:extLst>
              <a:ext uri="{FF2B5EF4-FFF2-40B4-BE49-F238E27FC236}">
                <a16:creationId xmlns:a16="http://schemas.microsoft.com/office/drawing/2014/main" id="{8139D455-75C0-21B3-5C3A-9C6BF8B98B2B}"/>
              </a:ext>
            </a:extLst>
          </p:cNvPr>
          <p:cNvSpPr/>
          <p:nvPr/>
        </p:nvSpPr>
        <p:spPr>
          <a:xfrm>
            <a:off x="2890837" y="5779815"/>
            <a:ext cx="6949440" cy="67056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600" noProof="1">
                <a:solidFill>
                  <a:srgbClr val="16303A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Синтез и переход к Сессии 4</a:t>
            </a:r>
            <a:endParaRPr lang="ru-RU" sz="1600" noProof="1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61" name="Text 28">
            <a:extLst>
              <a:ext uri="{FF2B5EF4-FFF2-40B4-BE49-F238E27FC236}">
                <a16:creationId xmlns:a16="http://schemas.microsoft.com/office/drawing/2014/main" id="{DBDC7987-6B30-9CA9-54D2-E0D367227134}"/>
              </a:ext>
            </a:extLst>
          </p:cNvPr>
          <p:cNvSpPr/>
          <p:nvPr/>
        </p:nvSpPr>
        <p:spPr>
          <a:xfrm>
            <a:off x="9580279" y="5779815"/>
            <a:ext cx="2194560" cy="67056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600" noProof="1">
                <a:solidFill>
                  <a:srgbClr val="3D6673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Пленарное заседание</a:t>
            </a:r>
            <a:endParaRPr lang="ru-RU" sz="1600" noProof="1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62" name="Text 29">
            <a:extLst>
              <a:ext uri="{FF2B5EF4-FFF2-40B4-BE49-F238E27FC236}">
                <a16:creationId xmlns:a16="http://schemas.microsoft.com/office/drawing/2014/main" id="{833F2AFF-2366-C2EE-A42F-B6A77A0E7AB4}"/>
              </a:ext>
            </a:extLst>
          </p:cNvPr>
          <p:cNvSpPr/>
          <p:nvPr/>
        </p:nvSpPr>
        <p:spPr>
          <a:xfrm>
            <a:off x="696277" y="6492240"/>
            <a:ext cx="11460480" cy="36576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333" i="1" noProof="1">
                <a:solidFill>
                  <a:schemeClr val="bg1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Цель: развить диагностическую беглость — распознавание и конструирование — до панели кейсов в Сессии 4</a:t>
            </a:r>
            <a:endParaRPr lang="ru-RU" sz="1333" noProof="1">
              <a:solidFill>
                <a:schemeClr val="bg1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214622852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A7575E2-8BDD-B7AE-262E-554F5681005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DB84476-BC29-4407-9D57-B2E562B8968B}" type="slidenum">
              <a:rPr lang="ru-RU" noProof="1" smtClean="0"/>
              <a:pPr/>
              <a:t>4</a:t>
            </a:fld>
            <a:endParaRPr lang="ru-RU" noProof="1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1F6422F-5A52-05ED-CC06-7D13E145D99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5317" y="422444"/>
            <a:ext cx="9734368" cy="1080120"/>
          </a:xfrm>
        </p:spPr>
        <p:txBody>
          <a:bodyPr/>
          <a:lstStyle/>
          <a:p>
            <a:r>
              <a:rPr lang="ru-RU" noProof="1"/>
              <a:t>Конкурс «Лучшие инсайты тренинга»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41C1213D-006E-121E-13B1-02A4BAB81DDE}"/>
              </a:ext>
            </a:extLst>
          </p:cNvPr>
          <p:cNvSpPr txBox="1"/>
          <p:nvPr/>
        </p:nvSpPr>
        <p:spPr>
          <a:xfrm>
            <a:off x="635316" y="1395724"/>
            <a:ext cx="10645260" cy="526297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buNone/>
            </a:pPr>
            <a:r>
              <a:rPr lang="ru-RU" sz="2400" noProof="1">
                <a:solidFill>
                  <a:schemeClr val="bg1"/>
                </a:solidFill>
              </a:rPr>
              <a:t>Поделитесь самым запомнившимся моментом тренинга в нашей Telegram-группе DARYA SCAFFOLD</a:t>
            </a:r>
          </a:p>
          <a:p>
            <a:pPr>
              <a:buNone/>
            </a:pPr>
            <a:endParaRPr lang="ru-RU" sz="2400" b="1" noProof="1">
              <a:solidFill>
                <a:schemeClr val="bg1"/>
              </a:solidFill>
            </a:endParaRPr>
          </a:p>
          <a:p>
            <a:pPr>
              <a:buNone/>
            </a:pPr>
            <a:r>
              <a:rPr lang="ru-RU" sz="2400" b="1" noProof="1">
                <a:solidFill>
                  <a:schemeClr val="bg1"/>
                </a:solidFill>
              </a:rPr>
              <a:t>Как участвовать:</a:t>
            </a:r>
            <a:r>
              <a:rPr lang="ru-RU" sz="2400" noProof="1">
                <a:solidFill>
                  <a:schemeClr val="bg1"/>
                </a:solidFill>
              </a:rPr>
              <a:t> Опубликуйте пост с </a:t>
            </a:r>
            <a:r>
              <a:rPr lang="ru-RU" sz="2400" b="1" u="sng" noProof="1">
                <a:solidFill>
                  <a:schemeClr val="bg1"/>
                </a:solidFill>
              </a:rPr>
              <a:t>рефлексией</a:t>
            </a:r>
            <a:r>
              <a:rPr lang="ru-RU" sz="2400" noProof="1">
                <a:solidFill>
                  <a:schemeClr val="bg1"/>
                </a:solidFill>
              </a:rPr>
              <a:t> по любой сессии или элементу программы. Важны не просто фотографии, а ваши мысли и основные выводы. </a:t>
            </a:r>
          </a:p>
          <a:p>
            <a:pPr>
              <a:buNone/>
            </a:pPr>
            <a:endParaRPr lang="ru-RU" sz="2400" b="1" noProof="1">
              <a:solidFill>
                <a:schemeClr val="bg1"/>
              </a:solidFill>
            </a:endParaRPr>
          </a:p>
          <a:p>
            <a:pPr>
              <a:buNone/>
            </a:pPr>
            <a:r>
              <a:rPr lang="ru-RU" sz="2400" b="1" noProof="1">
                <a:solidFill>
                  <a:schemeClr val="bg1"/>
                </a:solidFill>
              </a:rPr>
              <a:t>Критерии оценки:</a:t>
            </a:r>
            <a:endParaRPr lang="ru-RU" sz="2400" noProof="1">
              <a:solidFill>
                <a:schemeClr val="bg1"/>
              </a:solidFill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ru-RU" sz="2400" noProof="1">
                <a:solidFill>
                  <a:schemeClr val="bg1"/>
                </a:solidFill>
              </a:rPr>
              <a:t>Ясность и точность мысли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ru-RU" sz="2400" noProof="1">
                <a:solidFill>
                  <a:schemeClr val="bg1"/>
                </a:solidFill>
              </a:rPr>
              <a:t>Отражение ключевых идей обучения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ru-RU" sz="2400" noProof="1">
                <a:solidFill>
                  <a:schemeClr val="bg1"/>
                </a:solidFill>
              </a:rPr>
              <a:t>Доступность для всех участников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ru-RU" sz="2400" noProof="1">
                <a:solidFill>
                  <a:schemeClr val="bg1"/>
                </a:solidFill>
              </a:rPr>
              <a:t>Визуальная привлекательность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ru-RU" sz="2400" noProof="1">
              <a:solidFill>
                <a:schemeClr val="bg1"/>
              </a:solidFill>
            </a:endParaRPr>
          </a:p>
          <a:p>
            <a:pPr>
              <a:buNone/>
            </a:pPr>
            <a:r>
              <a:rPr lang="ru-RU" sz="2400" b="1" noProof="1">
                <a:solidFill>
                  <a:schemeClr val="bg1"/>
                </a:solidFill>
              </a:rPr>
              <a:t>Итоги подводим 29 апреля</a:t>
            </a:r>
            <a:r>
              <a:rPr lang="ru-RU" sz="2400" noProof="1">
                <a:solidFill>
                  <a:schemeClr val="bg1"/>
                </a:solidFill>
              </a:rPr>
              <a:t> 🎯</a:t>
            </a:r>
          </a:p>
        </p:txBody>
      </p:sp>
    </p:spTree>
    <p:extLst>
      <p:ext uri="{BB962C8B-B14F-4D97-AF65-F5344CB8AC3E}">
        <p14:creationId xmlns:p14="http://schemas.microsoft.com/office/powerpoint/2010/main" val="318952740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hape 2">
            <a:extLst>
              <a:ext uri="{FF2B5EF4-FFF2-40B4-BE49-F238E27FC236}">
                <a16:creationId xmlns:a16="http://schemas.microsoft.com/office/drawing/2014/main" id="{6C1161A0-A7B6-CA90-F1A8-B216A79A3CB3}"/>
              </a:ext>
            </a:extLst>
          </p:cNvPr>
          <p:cNvSpPr/>
          <p:nvPr/>
        </p:nvSpPr>
        <p:spPr>
          <a:xfrm>
            <a:off x="731520" y="996570"/>
            <a:ext cx="10850880" cy="1889760"/>
          </a:xfrm>
          <a:prstGeom prst="rect">
            <a:avLst/>
          </a:prstGeom>
          <a:solidFill>
            <a:srgbClr val="007BB8"/>
          </a:solidFill>
          <a:ln w="12700">
            <a:solidFill>
              <a:srgbClr val="16303A"/>
            </a:solidFill>
            <a:prstDash val="solid"/>
          </a:ln>
        </p:spPr>
        <p:txBody>
          <a:bodyPr/>
          <a:lstStyle/>
          <a:p>
            <a:pPr defTabSz="1219170">
              <a:defRPr/>
            </a:pPr>
            <a:endParaRPr lang="ru-RU" sz="24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Text 3">
            <a:extLst>
              <a:ext uri="{FF2B5EF4-FFF2-40B4-BE49-F238E27FC236}">
                <a16:creationId xmlns:a16="http://schemas.microsoft.com/office/drawing/2014/main" id="{76B50ADC-8030-446F-2AC6-F56ACB8AE78B}"/>
              </a:ext>
            </a:extLst>
          </p:cNvPr>
          <p:cNvSpPr/>
          <p:nvPr/>
        </p:nvSpPr>
        <p:spPr>
          <a:xfrm>
            <a:off x="975360" y="996570"/>
            <a:ext cx="10485120" cy="188976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i="1" noProof="1">
                <a:solidFill>
                  <a:srgbClr val="FFFFFF"/>
                </a:solidFill>
                <a:latin typeface="Arial" panose="020B0604020202020204" pitchFamily="34" charset="0"/>
                <a:ea typeface="Georgia" pitchFamily="34" charset="-122"/>
                <a:cs typeface="Arial" panose="020B0604020202020204" pitchFamily="34" charset="0"/>
              </a:rPr>
              <a:t>Этим утром вы создали представление о том, как выглядит эффективное профессиональное развитие педагогов и где оно отсутствует в ваших контекстах. Сегодня во второй половине дня мы займёмся чем-то более активным. До панели кейсов мы будем тренировать ваш взгляд — чтобы когда коллега представит реальную программу, вы могли быстро и точно соотнести её с индикаторами качества. Мы сделаем это через игру.</a:t>
            </a:r>
            <a:endParaRPr lang="ru-RU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Text 4">
            <a:extLst>
              <a:ext uri="{FF2B5EF4-FFF2-40B4-BE49-F238E27FC236}">
                <a16:creationId xmlns:a16="http://schemas.microsoft.com/office/drawing/2014/main" id="{721C5AB3-A89C-159C-16DB-CE7A6353C4F3}"/>
              </a:ext>
            </a:extLst>
          </p:cNvPr>
          <p:cNvSpPr/>
          <p:nvPr/>
        </p:nvSpPr>
        <p:spPr>
          <a:xfrm>
            <a:off x="731520" y="3032634"/>
            <a:ext cx="11094720" cy="42672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867" b="1" noProof="1">
                <a:solidFill>
                  <a:srgbClr val="16303A"/>
                </a:solidFill>
                <a:latin typeface="Arial" panose="020B0604020202020204" pitchFamily="34" charset="0"/>
                <a:ea typeface="Georgia" pitchFamily="34" charset="-122"/>
                <a:cs typeface="Arial" panose="020B0604020202020204" pitchFamily="34" charset="0"/>
              </a:rPr>
              <a:t>На каждом столе два стопки карточек лицом вниз:</a:t>
            </a:r>
            <a:endParaRPr lang="ru-RU" sz="1867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Shape 5">
            <a:extLst>
              <a:ext uri="{FF2B5EF4-FFF2-40B4-BE49-F238E27FC236}">
                <a16:creationId xmlns:a16="http://schemas.microsoft.com/office/drawing/2014/main" id="{85EA0CAB-950E-EF5C-1267-E98600985757}"/>
              </a:ext>
            </a:extLst>
          </p:cNvPr>
          <p:cNvSpPr/>
          <p:nvPr/>
        </p:nvSpPr>
        <p:spPr>
          <a:xfrm>
            <a:off x="731520" y="3593466"/>
            <a:ext cx="5181600" cy="2560320"/>
          </a:xfrm>
          <a:prstGeom prst="rect">
            <a:avLst/>
          </a:prstGeom>
          <a:solidFill>
            <a:srgbClr val="D6F0F3"/>
          </a:solidFill>
          <a:ln w="19050">
            <a:solidFill>
              <a:srgbClr val="027A87"/>
            </a:solidFill>
            <a:prstDash val="solid"/>
          </a:ln>
          <a:effectLst>
            <a:outerShdw blurRad="76200" dist="38100" dir="8100000" algn="bl" rotWithShape="0">
              <a:srgbClr val="000000">
                <a:alpha val="10000"/>
              </a:srgbClr>
            </a:outerShdw>
          </a:effectLst>
        </p:spPr>
        <p:txBody>
          <a:bodyPr/>
          <a:lstStyle/>
          <a:p>
            <a:pPr defTabSz="1219170">
              <a:defRPr/>
            </a:pPr>
            <a:endParaRPr lang="ru-RU" sz="24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Shape 6">
            <a:extLst>
              <a:ext uri="{FF2B5EF4-FFF2-40B4-BE49-F238E27FC236}">
                <a16:creationId xmlns:a16="http://schemas.microsoft.com/office/drawing/2014/main" id="{31229388-A108-2B33-4BFD-E4948CDEEDD8}"/>
              </a:ext>
            </a:extLst>
          </p:cNvPr>
          <p:cNvSpPr/>
          <p:nvPr/>
        </p:nvSpPr>
        <p:spPr>
          <a:xfrm>
            <a:off x="731520" y="3593466"/>
            <a:ext cx="5181600" cy="548640"/>
          </a:xfrm>
          <a:prstGeom prst="rect">
            <a:avLst/>
          </a:prstGeom>
          <a:solidFill>
            <a:srgbClr val="027A87"/>
          </a:solidFill>
          <a:ln w="12700">
            <a:solidFill>
              <a:srgbClr val="027A87"/>
            </a:solidFill>
            <a:prstDash val="solid"/>
          </a:ln>
        </p:spPr>
        <p:txBody>
          <a:bodyPr/>
          <a:lstStyle/>
          <a:p>
            <a:pPr defTabSz="1219170">
              <a:defRPr/>
            </a:pPr>
            <a:endParaRPr lang="ru-RU" sz="24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Text 7">
            <a:extLst>
              <a:ext uri="{FF2B5EF4-FFF2-40B4-BE49-F238E27FC236}">
                <a16:creationId xmlns:a16="http://schemas.microsoft.com/office/drawing/2014/main" id="{7568F6A4-B5B3-E8AB-7F5D-DAB19B42AAFC}"/>
              </a:ext>
            </a:extLst>
          </p:cNvPr>
          <p:cNvSpPr/>
          <p:nvPr/>
        </p:nvSpPr>
        <p:spPr>
          <a:xfrm>
            <a:off x="914400" y="3593466"/>
            <a:ext cx="5181600" cy="54864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2667" b="1" noProof="1">
                <a:solidFill>
                  <a:srgbClr val="FFFFFF"/>
                </a:solidFill>
                <a:latin typeface="Arial" panose="020B0604020202020204" pitchFamily="34" charset="0"/>
                <a:ea typeface="Georgia" pitchFamily="34" charset="-122"/>
                <a:cs typeface="Arial" panose="020B0604020202020204" pitchFamily="34" charset="0"/>
              </a:rPr>
              <a:t>Колода А</a:t>
            </a:r>
            <a:endParaRPr lang="ru-RU" sz="2667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Text 8">
            <a:extLst>
              <a:ext uri="{FF2B5EF4-FFF2-40B4-BE49-F238E27FC236}">
                <a16:creationId xmlns:a16="http://schemas.microsoft.com/office/drawing/2014/main" id="{66F31101-0E4D-3756-B3A1-5A28C7B71670}"/>
              </a:ext>
            </a:extLst>
          </p:cNvPr>
          <p:cNvSpPr/>
          <p:nvPr/>
        </p:nvSpPr>
        <p:spPr>
          <a:xfrm>
            <a:off x="914400" y="4203066"/>
            <a:ext cx="4866468" cy="950976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533" noProof="1">
                <a:solidFill>
                  <a:srgbClr val="16303A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16 коротких карточек с описанием профессионального развития педагогов — каждая описывает одну характеристику программы в двух предложениях.</a:t>
            </a:r>
            <a:endParaRPr lang="ru-RU" sz="1533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Text 9">
            <a:extLst>
              <a:ext uri="{FF2B5EF4-FFF2-40B4-BE49-F238E27FC236}">
                <a16:creationId xmlns:a16="http://schemas.microsoft.com/office/drawing/2014/main" id="{05B4B5E0-FE88-59BC-C678-5B0DB7E1F23C}"/>
              </a:ext>
            </a:extLst>
          </p:cNvPr>
          <p:cNvSpPr/>
          <p:nvPr/>
        </p:nvSpPr>
        <p:spPr>
          <a:xfrm>
            <a:off x="914400" y="5178426"/>
            <a:ext cx="4998720" cy="877824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400" i="1" noProof="1">
                <a:solidFill>
                  <a:srgbClr val="3D6673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8 карточек показывают хорошо реализованный индикатор качества. 8 — его отсутствие или искажение.</a:t>
            </a:r>
            <a:endParaRPr lang="ru-RU" sz="14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Shape 10">
            <a:extLst>
              <a:ext uri="{FF2B5EF4-FFF2-40B4-BE49-F238E27FC236}">
                <a16:creationId xmlns:a16="http://schemas.microsoft.com/office/drawing/2014/main" id="{9E722C2A-EA30-FFAC-A543-31F04DE81AD3}"/>
              </a:ext>
            </a:extLst>
          </p:cNvPr>
          <p:cNvSpPr/>
          <p:nvPr/>
        </p:nvSpPr>
        <p:spPr>
          <a:xfrm>
            <a:off x="6644640" y="3593466"/>
            <a:ext cx="4937760" cy="2560320"/>
          </a:xfrm>
          <a:prstGeom prst="rect">
            <a:avLst/>
          </a:prstGeom>
          <a:solidFill>
            <a:srgbClr val="FDF3DC"/>
          </a:solidFill>
          <a:ln w="19050">
            <a:solidFill>
              <a:srgbClr val="E8940A"/>
            </a:solidFill>
            <a:prstDash val="solid"/>
          </a:ln>
          <a:effectLst>
            <a:outerShdw blurRad="76200" dist="38100" dir="8100000" algn="bl" rotWithShape="0">
              <a:srgbClr val="000000">
                <a:alpha val="10000"/>
              </a:srgbClr>
            </a:outerShdw>
          </a:effectLst>
        </p:spPr>
        <p:txBody>
          <a:bodyPr/>
          <a:lstStyle/>
          <a:p>
            <a:pPr defTabSz="1219170">
              <a:defRPr/>
            </a:pPr>
            <a:endParaRPr lang="ru-RU" sz="24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Shape 11">
            <a:extLst>
              <a:ext uri="{FF2B5EF4-FFF2-40B4-BE49-F238E27FC236}">
                <a16:creationId xmlns:a16="http://schemas.microsoft.com/office/drawing/2014/main" id="{68036281-75F1-3EC7-1EDD-35C37C9E964A}"/>
              </a:ext>
            </a:extLst>
          </p:cNvPr>
          <p:cNvSpPr/>
          <p:nvPr/>
        </p:nvSpPr>
        <p:spPr>
          <a:xfrm>
            <a:off x="6644640" y="3593466"/>
            <a:ext cx="4937760" cy="548640"/>
          </a:xfrm>
          <a:prstGeom prst="rect">
            <a:avLst/>
          </a:prstGeom>
          <a:solidFill>
            <a:srgbClr val="E8940A"/>
          </a:solidFill>
          <a:ln w="12700">
            <a:solidFill>
              <a:srgbClr val="E8940A"/>
            </a:solidFill>
            <a:prstDash val="solid"/>
          </a:ln>
        </p:spPr>
        <p:txBody>
          <a:bodyPr/>
          <a:lstStyle/>
          <a:p>
            <a:pPr defTabSz="1219170">
              <a:defRPr/>
            </a:pPr>
            <a:endParaRPr lang="ru-RU" sz="24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Text 12">
            <a:extLst>
              <a:ext uri="{FF2B5EF4-FFF2-40B4-BE49-F238E27FC236}">
                <a16:creationId xmlns:a16="http://schemas.microsoft.com/office/drawing/2014/main" id="{9E65C49D-9157-ADFA-5C06-2BA471F9F539}"/>
              </a:ext>
            </a:extLst>
          </p:cNvPr>
          <p:cNvSpPr/>
          <p:nvPr/>
        </p:nvSpPr>
        <p:spPr>
          <a:xfrm>
            <a:off x="6827520" y="3593466"/>
            <a:ext cx="5181600" cy="54864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2667" b="1" noProof="1">
                <a:solidFill>
                  <a:srgbClr val="FFFFFF"/>
                </a:solidFill>
                <a:latin typeface="Arial" panose="020B0604020202020204" pitchFamily="34" charset="0"/>
                <a:ea typeface="Georgia" pitchFamily="34" charset="-122"/>
                <a:cs typeface="Arial" panose="020B0604020202020204" pitchFamily="34" charset="0"/>
              </a:rPr>
              <a:t>Колода Б</a:t>
            </a:r>
            <a:endParaRPr lang="ru-RU" sz="2667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Text 13">
            <a:extLst>
              <a:ext uri="{FF2B5EF4-FFF2-40B4-BE49-F238E27FC236}">
                <a16:creationId xmlns:a16="http://schemas.microsoft.com/office/drawing/2014/main" id="{5AFAA9D3-EC28-5763-E401-7E51CC47DFE4}"/>
              </a:ext>
            </a:extLst>
          </p:cNvPr>
          <p:cNvSpPr/>
          <p:nvPr/>
        </p:nvSpPr>
        <p:spPr>
          <a:xfrm>
            <a:off x="6827520" y="4203066"/>
            <a:ext cx="4632960" cy="950976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533" noProof="1">
                <a:solidFill>
                  <a:srgbClr val="16303A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8 карточек с индикаторами качества — по одной на индикатор, только с номером и названием.</a:t>
            </a:r>
            <a:endParaRPr lang="ru-RU" sz="1533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Text 14">
            <a:extLst>
              <a:ext uri="{FF2B5EF4-FFF2-40B4-BE49-F238E27FC236}">
                <a16:creationId xmlns:a16="http://schemas.microsoft.com/office/drawing/2014/main" id="{C47BA605-6AE9-921D-2DAE-3F83DDDAF6E0}"/>
              </a:ext>
            </a:extLst>
          </p:cNvPr>
          <p:cNvSpPr/>
          <p:nvPr/>
        </p:nvSpPr>
        <p:spPr>
          <a:xfrm>
            <a:off x="6827520" y="5178426"/>
            <a:ext cx="5181600" cy="877824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400" i="1" noProof="1">
                <a:solidFill>
                  <a:srgbClr val="3D6673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Это ваши ключи к ответам. </a:t>
            </a:r>
          </a:p>
          <a:p>
            <a:pPr defTabSz="1219170">
              <a:defRPr/>
            </a:pPr>
            <a:r>
              <a:rPr lang="ru-RU" sz="1400" i="1" noProof="1">
                <a:solidFill>
                  <a:srgbClr val="3D6673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Суть игры — соотнести Стопку А со Стопкой Б.</a:t>
            </a:r>
            <a:endParaRPr lang="ru-RU" sz="14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Text 15">
            <a:extLst>
              <a:ext uri="{FF2B5EF4-FFF2-40B4-BE49-F238E27FC236}">
                <a16:creationId xmlns:a16="http://schemas.microsoft.com/office/drawing/2014/main" id="{497E13F4-7C17-5378-51E3-852E483E97C3}"/>
              </a:ext>
            </a:extLst>
          </p:cNvPr>
          <p:cNvSpPr/>
          <p:nvPr/>
        </p:nvSpPr>
        <p:spPr>
          <a:xfrm>
            <a:off x="731520" y="6275706"/>
            <a:ext cx="11216640" cy="341376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333" i="1" noProof="1">
                <a:solidFill>
                  <a:srgbClr val="5C7A84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Смешанные (по странам) группы за столами по 5 человек на протяжении всей игры</a:t>
            </a:r>
            <a:endParaRPr lang="ru-RU" sz="1333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Title 3">
            <a:extLst>
              <a:ext uri="{FF2B5EF4-FFF2-40B4-BE49-F238E27FC236}">
                <a16:creationId xmlns:a16="http://schemas.microsoft.com/office/drawing/2014/main" id="{EF143FA4-3943-A4EA-960C-074A605C67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31520" y="4278"/>
            <a:ext cx="7815651" cy="1080120"/>
          </a:xfrm>
        </p:spPr>
        <p:txBody>
          <a:bodyPr/>
          <a:lstStyle/>
          <a:p>
            <a:r>
              <a:rPr lang="ru-RU" noProof="1"/>
              <a:t>Подготовка и повторное вовлечение</a:t>
            </a:r>
          </a:p>
        </p:txBody>
      </p:sp>
    </p:spTree>
    <p:extLst>
      <p:ext uri="{BB962C8B-B14F-4D97-AF65-F5344CB8AC3E}">
        <p14:creationId xmlns:p14="http://schemas.microsoft.com/office/powerpoint/2010/main" val="210671571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8065EE4-A274-D47E-BBE7-D5F8D58B7B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31520" y="522567"/>
            <a:ext cx="7815651" cy="1080120"/>
          </a:xfrm>
        </p:spPr>
        <p:txBody>
          <a:bodyPr/>
          <a:lstStyle/>
          <a:p>
            <a:r>
              <a:rPr lang="ru-RU" noProof="1">
                <a:latin typeface="Arial" panose="020B0604020202020204" pitchFamily="34" charset="0"/>
              </a:rPr>
              <a:t>Раунд 1 - Правила</a:t>
            </a:r>
          </a:p>
        </p:txBody>
      </p:sp>
      <p:sp>
        <p:nvSpPr>
          <p:cNvPr id="4" name="Shape 3">
            <a:extLst>
              <a:ext uri="{FF2B5EF4-FFF2-40B4-BE49-F238E27FC236}">
                <a16:creationId xmlns:a16="http://schemas.microsoft.com/office/drawing/2014/main" id="{011E5B4E-36E1-1E15-EE01-2ED4B574E467}"/>
              </a:ext>
            </a:extLst>
          </p:cNvPr>
          <p:cNvSpPr/>
          <p:nvPr/>
        </p:nvSpPr>
        <p:spPr>
          <a:xfrm>
            <a:off x="731520" y="1437324"/>
            <a:ext cx="10728960" cy="950976"/>
          </a:xfrm>
          <a:prstGeom prst="rect">
            <a:avLst/>
          </a:prstGeom>
          <a:solidFill>
            <a:srgbClr val="FFFFFF"/>
          </a:solidFill>
          <a:ln w="6350">
            <a:solidFill>
              <a:srgbClr val="B2D8DE"/>
            </a:solidFill>
            <a:prstDash val="solid"/>
          </a:ln>
          <a:effectLst>
            <a:outerShdw blurRad="76200" dist="38100" dir="8100000" algn="bl" rotWithShape="0">
              <a:srgbClr val="000000">
                <a:alpha val="10000"/>
              </a:srgbClr>
            </a:outerShdw>
          </a:effectLst>
        </p:spPr>
        <p:txBody>
          <a:bodyPr/>
          <a:lstStyle/>
          <a:p>
            <a:pPr defTabSz="1219170">
              <a:defRPr/>
            </a:pPr>
            <a:endParaRPr lang="ru-RU" sz="24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Shape 4">
            <a:extLst>
              <a:ext uri="{FF2B5EF4-FFF2-40B4-BE49-F238E27FC236}">
                <a16:creationId xmlns:a16="http://schemas.microsoft.com/office/drawing/2014/main" id="{249AAAB6-1C7C-D145-619E-E59C6B2AEC6D}"/>
              </a:ext>
            </a:extLst>
          </p:cNvPr>
          <p:cNvSpPr/>
          <p:nvPr/>
        </p:nvSpPr>
        <p:spPr>
          <a:xfrm>
            <a:off x="877824" y="1681164"/>
            <a:ext cx="487680" cy="487680"/>
          </a:xfrm>
          <a:prstGeom prst="ellipse">
            <a:avLst/>
          </a:prstGeom>
          <a:solidFill>
            <a:schemeClr val="accent2"/>
          </a:solidFill>
          <a:ln w="12700">
            <a:solidFill>
              <a:srgbClr val="027A87"/>
            </a:solidFill>
            <a:prstDash val="solid"/>
          </a:ln>
        </p:spPr>
        <p:txBody>
          <a:bodyPr/>
          <a:lstStyle/>
          <a:p>
            <a:pPr defTabSz="1219170">
              <a:defRPr/>
            </a:pPr>
            <a:endParaRPr lang="ru-RU" sz="24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Text 5">
            <a:extLst>
              <a:ext uri="{FF2B5EF4-FFF2-40B4-BE49-F238E27FC236}">
                <a16:creationId xmlns:a16="http://schemas.microsoft.com/office/drawing/2014/main" id="{92C7498A-DBE8-B2D8-2C8B-5648F82C5632}"/>
              </a:ext>
            </a:extLst>
          </p:cNvPr>
          <p:cNvSpPr/>
          <p:nvPr/>
        </p:nvSpPr>
        <p:spPr>
          <a:xfrm>
            <a:off x="877824" y="1681164"/>
            <a:ext cx="487680" cy="48768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algn="ctr" defTabSz="1219170">
              <a:defRPr/>
            </a:pPr>
            <a:r>
              <a:rPr lang="ru-RU" sz="2000" b="1" noProof="1">
                <a:solidFill>
                  <a:srgbClr val="FFFFFF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1</a:t>
            </a:r>
            <a:endParaRPr lang="ru-RU" sz="20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Text 6">
            <a:extLst>
              <a:ext uri="{FF2B5EF4-FFF2-40B4-BE49-F238E27FC236}">
                <a16:creationId xmlns:a16="http://schemas.microsoft.com/office/drawing/2014/main" id="{93F04FBB-C7BC-8CA4-BDD9-6B8621602DDB}"/>
              </a:ext>
            </a:extLst>
          </p:cNvPr>
          <p:cNvSpPr/>
          <p:nvPr/>
        </p:nvSpPr>
        <p:spPr>
          <a:xfrm>
            <a:off x="1584960" y="1559244"/>
            <a:ext cx="10119360" cy="73152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733" noProof="1">
                <a:solidFill>
                  <a:srgbClr val="16303A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Один участник переворачивает верхнюю карточку из Колоды А и читает её вслух за столом.</a:t>
            </a:r>
            <a:endParaRPr lang="ru-RU" sz="1733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Shape 7">
            <a:extLst>
              <a:ext uri="{FF2B5EF4-FFF2-40B4-BE49-F238E27FC236}">
                <a16:creationId xmlns:a16="http://schemas.microsoft.com/office/drawing/2014/main" id="{A60681F1-DCFF-D0CB-1C76-5CCE15987F77}"/>
              </a:ext>
            </a:extLst>
          </p:cNvPr>
          <p:cNvSpPr/>
          <p:nvPr/>
        </p:nvSpPr>
        <p:spPr>
          <a:xfrm>
            <a:off x="731520" y="2510220"/>
            <a:ext cx="10728960" cy="950976"/>
          </a:xfrm>
          <a:prstGeom prst="rect">
            <a:avLst/>
          </a:prstGeom>
          <a:solidFill>
            <a:srgbClr val="D6F0F3"/>
          </a:solidFill>
          <a:ln w="6350">
            <a:solidFill>
              <a:srgbClr val="B2D8DE"/>
            </a:solidFill>
            <a:prstDash val="solid"/>
          </a:ln>
          <a:effectLst>
            <a:outerShdw blurRad="76200" dist="38100" dir="8100000" algn="bl" rotWithShape="0">
              <a:srgbClr val="000000">
                <a:alpha val="10000"/>
              </a:srgbClr>
            </a:outerShdw>
          </a:effectLst>
        </p:spPr>
        <p:txBody>
          <a:bodyPr/>
          <a:lstStyle/>
          <a:p>
            <a:pPr defTabSz="1219170">
              <a:defRPr/>
            </a:pPr>
            <a:endParaRPr lang="ru-RU" sz="24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Shape 8">
            <a:extLst>
              <a:ext uri="{FF2B5EF4-FFF2-40B4-BE49-F238E27FC236}">
                <a16:creationId xmlns:a16="http://schemas.microsoft.com/office/drawing/2014/main" id="{D04022E5-3E2F-59EB-21DF-3332C3190F0C}"/>
              </a:ext>
            </a:extLst>
          </p:cNvPr>
          <p:cNvSpPr/>
          <p:nvPr/>
        </p:nvSpPr>
        <p:spPr>
          <a:xfrm>
            <a:off x="877824" y="2754060"/>
            <a:ext cx="487680" cy="487680"/>
          </a:xfrm>
          <a:prstGeom prst="ellipse">
            <a:avLst/>
          </a:prstGeom>
          <a:solidFill>
            <a:schemeClr val="accent2"/>
          </a:solidFill>
          <a:ln w="12700">
            <a:solidFill>
              <a:srgbClr val="027A87"/>
            </a:solidFill>
            <a:prstDash val="solid"/>
          </a:ln>
        </p:spPr>
        <p:txBody>
          <a:bodyPr/>
          <a:lstStyle/>
          <a:p>
            <a:pPr defTabSz="1219170">
              <a:defRPr/>
            </a:pPr>
            <a:endParaRPr lang="ru-RU" sz="24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Text 9">
            <a:extLst>
              <a:ext uri="{FF2B5EF4-FFF2-40B4-BE49-F238E27FC236}">
                <a16:creationId xmlns:a16="http://schemas.microsoft.com/office/drawing/2014/main" id="{6F929F10-9F1E-3DB0-D1D7-C8E1DF9DB14B}"/>
              </a:ext>
            </a:extLst>
          </p:cNvPr>
          <p:cNvSpPr/>
          <p:nvPr/>
        </p:nvSpPr>
        <p:spPr>
          <a:xfrm>
            <a:off x="877824" y="2754060"/>
            <a:ext cx="487680" cy="48768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algn="ctr" defTabSz="1219170">
              <a:defRPr/>
            </a:pPr>
            <a:r>
              <a:rPr lang="ru-RU" sz="2000" b="1" noProof="1">
                <a:solidFill>
                  <a:srgbClr val="FFFFFF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2</a:t>
            </a:r>
            <a:endParaRPr lang="ru-RU" sz="20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Text 10">
            <a:extLst>
              <a:ext uri="{FF2B5EF4-FFF2-40B4-BE49-F238E27FC236}">
                <a16:creationId xmlns:a16="http://schemas.microsoft.com/office/drawing/2014/main" id="{C540D152-F996-1708-D0A3-88F0CBC2151C}"/>
              </a:ext>
            </a:extLst>
          </p:cNvPr>
          <p:cNvSpPr/>
          <p:nvPr/>
        </p:nvSpPr>
        <p:spPr>
          <a:xfrm>
            <a:off x="1584960" y="2632140"/>
            <a:ext cx="10119360" cy="73152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733" noProof="1">
                <a:solidFill>
                  <a:srgbClr val="16303A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Группа за столом соревнуется в определении того, какой индикатор качества представляет описание — присутствие или отсутствие.</a:t>
            </a:r>
            <a:endParaRPr lang="ru-RU" sz="1733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Shape 11">
            <a:extLst>
              <a:ext uri="{FF2B5EF4-FFF2-40B4-BE49-F238E27FC236}">
                <a16:creationId xmlns:a16="http://schemas.microsoft.com/office/drawing/2014/main" id="{10C0C9E1-1C0B-DE75-1827-63D8EAD8885A}"/>
              </a:ext>
            </a:extLst>
          </p:cNvPr>
          <p:cNvSpPr/>
          <p:nvPr/>
        </p:nvSpPr>
        <p:spPr>
          <a:xfrm>
            <a:off x="731520" y="3583116"/>
            <a:ext cx="10728960" cy="950976"/>
          </a:xfrm>
          <a:prstGeom prst="rect">
            <a:avLst/>
          </a:prstGeom>
          <a:solidFill>
            <a:srgbClr val="FFFFFF"/>
          </a:solidFill>
          <a:ln w="6350">
            <a:solidFill>
              <a:srgbClr val="B2D8DE"/>
            </a:solidFill>
            <a:prstDash val="solid"/>
          </a:ln>
          <a:effectLst>
            <a:outerShdw blurRad="76200" dist="38100" dir="8100000" algn="bl" rotWithShape="0">
              <a:srgbClr val="000000">
                <a:alpha val="10000"/>
              </a:srgbClr>
            </a:outerShdw>
          </a:effectLst>
        </p:spPr>
        <p:txBody>
          <a:bodyPr/>
          <a:lstStyle/>
          <a:p>
            <a:pPr defTabSz="1219170">
              <a:defRPr/>
            </a:pPr>
            <a:endParaRPr lang="ru-RU" sz="24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Shape 12">
            <a:extLst>
              <a:ext uri="{FF2B5EF4-FFF2-40B4-BE49-F238E27FC236}">
                <a16:creationId xmlns:a16="http://schemas.microsoft.com/office/drawing/2014/main" id="{03A9CDD5-3F69-D04C-3D58-52A76084ECE5}"/>
              </a:ext>
            </a:extLst>
          </p:cNvPr>
          <p:cNvSpPr/>
          <p:nvPr/>
        </p:nvSpPr>
        <p:spPr>
          <a:xfrm>
            <a:off x="877824" y="3826956"/>
            <a:ext cx="487680" cy="487680"/>
          </a:xfrm>
          <a:prstGeom prst="ellipse">
            <a:avLst/>
          </a:prstGeom>
          <a:solidFill>
            <a:schemeClr val="accent2"/>
          </a:solidFill>
          <a:ln w="12700">
            <a:solidFill>
              <a:srgbClr val="027A87"/>
            </a:solidFill>
            <a:prstDash val="solid"/>
          </a:ln>
        </p:spPr>
        <p:txBody>
          <a:bodyPr/>
          <a:lstStyle/>
          <a:p>
            <a:pPr defTabSz="1219170">
              <a:defRPr/>
            </a:pPr>
            <a:endParaRPr lang="ru-RU" sz="24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Text 13">
            <a:extLst>
              <a:ext uri="{FF2B5EF4-FFF2-40B4-BE49-F238E27FC236}">
                <a16:creationId xmlns:a16="http://schemas.microsoft.com/office/drawing/2014/main" id="{38E700BF-5A9E-E97B-46B0-0FA7D838892A}"/>
              </a:ext>
            </a:extLst>
          </p:cNvPr>
          <p:cNvSpPr/>
          <p:nvPr/>
        </p:nvSpPr>
        <p:spPr>
          <a:xfrm>
            <a:off x="877824" y="3826956"/>
            <a:ext cx="487680" cy="48768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algn="ctr" defTabSz="1219170">
              <a:defRPr/>
            </a:pPr>
            <a:r>
              <a:rPr lang="ru-RU" sz="2000" b="1" noProof="1">
                <a:solidFill>
                  <a:srgbClr val="FFFFFF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3</a:t>
            </a:r>
            <a:endParaRPr lang="ru-RU" sz="20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Text 14">
            <a:extLst>
              <a:ext uri="{FF2B5EF4-FFF2-40B4-BE49-F238E27FC236}">
                <a16:creationId xmlns:a16="http://schemas.microsoft.com/office/drawing/2014/main" id="{7B5F4CC1-049D-DE7E-D624-438B8D381903}"/>
              </a:ext>
            </a:extLst>
          </p:cNvPr>
          <p:cNvSpPr/>
          <p:nvPr/>
        </p:nvSpPr>
        <p:spPr>
          <a:xfrm>
            <a:off x="1584960" y="3705036"/>
            <a:ext cx="10119360" cy="73152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733" noProof="1">
                <a:solidFill>
                  <a:srgbClr val="16303A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Первый, кто хлопнет правильную карточку индикатора из Колоды Б лицом вверх на стол, выигрывает карточку из Колоды А.</a:t>
            </a:r>
            <a:endParaRPr lang="ru-RU" sz="1733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Shape 15">
            <a:extLst>
              <a:ext uri="{FF2B5EF4-FFF2-40B4-BE49-F238E27FC236}">
                <a16:creationId xmlns:a16="http://schemas.microsoft.com/office/drawing/2014/main" id="{C0FDF265-FCFF-37E0-B5F5-3AA25CAA5AD3}"/>
              </a:ext>
            </a:extLst>
          </p:cNvPr>
          <p:cNvSpPr/>
          <p:nvPr/>
        </p:nvSpPr>
        <p:spPr>
          <a:xfrm>
            <a:off x="731520" y="4656012"/>
            <a:ext cx="10728960" cy="950976"/>
          </a:xfrm>
          <a:prstGeom prst="rect">
            <a:avLst/>
          </a:prstGeom>
          <a:solidFill>
            <a:srgbClr val="D6F0F3"/>
          </a:solidFill>
          <a:ln w="6350">
            <a:solidFill>
              <a:srgbClr val="B2D8DE"/>
            </a:solidFill>
            <a:prstDash val="solid"/>
          </a:ln>
          <a:effectLst>
            <a:outerShdw blurRad="76200" dist="38100" dir="8100000" algn="bl" rotWithShape="0">
              <a:srgbClr val="000000">
                <a:alpha val="10000"/>
              </a:srgbClr>
            </a:outerShdw>
          </a:effectLst>
        </p:spPr>
        <p:txBody>
          <a:bodyPr/>
          <a:lstStyle/>
          <a:p>
            <a:pPr defTabSz="1219170">
              <a:defRPr/>
            </a:pPr>
            <a:endParaRPr lang="ru-RU" sz="24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Shape 16">
            <a:extLst>
              <a:ext uri="{FF2B5EF4-FFF2-40B4-BE49-F238E27FC236}">
                <a16:creationId xmlns:a16="http://schemas.microsoft.com/office/drawing/2014/main" id="{CA43A648-7D97-7212-2604-CEA3CECA6134}"/>
              </a:ext>
            </a:extLst>
          </p:cNvPr>
          <p:cNvSpPr/>
          <p:nvPr/>
        </p:nvSpPr>
        <p:spPr>
          <a:xfrm>
            <a:off x="877824" y="4899852"/>
            <a:ext cx="487680" cy="487680"/>
          </a:xfrm>
          <a:prstGeom prst="ellipse">
            <a:avLst/>
          </a:prstGeom>
          <a:solidFill>
            <a:schemeClr val="accent2"/>
          </a:solidFill>
          <a:ln w="12700">
            <a:solidFill>
              <a:srgbClr val="027A87"/>
            </a:solidFill>
            <a:prstDash val="solid"/>
          </a:ln>
        </p:spPr>
        <p:txBody>
          <a:bodyPr/>
          <a:lstStyle/>
          <a:p>
            <a:pPr defTabSz="1219170">
              <a:defRPr/>
            </a:pPr>
            <a:endParaRPr lang="ru-RU" sz="24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Text 17">
            <a:extLst>
              <a:ext uri="{FF2B5EF4-FFF2-40B4-BE49-F238E27FC236}">
                <a16:creationId xmlns:a16="http://schemas.microsoft.com/office/drawing/2014/main" id="{4D8D1184-8C8F-89B4-11C0-18C5023F5DD9}"/>
              </a:ext>
            </a:extLst>
          </p:cNvPr>
          <p:cNvSpPr/>
          <p:nvPr/>
        </p:nvSpPr>
        <p:spPr>
          <a:xfrm>
            <a:off x="877824" y="4899852"/>
            <a:ext cx="487680" cy="48768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algn="ctr" defTabSz="1219170">
              <a:defRPr/>
            </a:pPr>
            <a:r>
              <a:rPr lang="ru-RU" sz="2000" b="1" noProof="1">
                <a:solidFill>
                  <a:srgbClr val="FFFFFF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4</a:t>
            </a:r>
            <a:endParaRPr lang="ru-RU" sz="20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Text 18">
            <a:extLst>
              <a:ext uri="{FF2B5EF4-FFF2-40B4-BE49-F238E27FC236}">
                <a16:creationId xmlns:a16="http://schemas.microsoft.com/office/drawing/2014/main" id="{8D589814-E874-D3F5-4F6A-01C961014B12}"/>
              </a:ext>
            </a:extLst>
          </p:cNvPr>
          <p:cNvSpPr/>
          <p:nvPr/>
        </p:nvSpPr>
        <p:spPr>
          <a:xfrm>
            <a:off x="1584960" y="4777932"/>
            <a:ext cx="9729216" cy="73152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733" noProof="1">
                <a:solidFill>
                  <a:srgbClr val="16303A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Проведите 16 раундов. Выигрывает тот, у кого в конце больше карточек из Колоды А. Считайте очки вслух — соревновательный элемент реален.</a:t>
            </a:r>
            <a:endParaRPr lang="ru-RU" sz="1733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" name="Shape 19">
            <a:extLst>
              <a:ext uri="{FF2B5EF4-FFF2-40B4-BE49-F238E27FC236}">
                <a16:creationId xmlns:a16="http://schemas.microsoft.com/office/drawing/2014/main" id="{8901A219-9CA4-470F-38D4-3A22B688F16B}"/>
              </a:ext>
            </a:extLst>
          </p:cNvPr>
          <p:cNvSpPr/>
          <p:nvPr/>
        </p:nvSpPr>
        <p:spPr>
          <a:xfrm>
            <a:off x="731520" y="5789868"/>
            <a:ext cx="10728960" cy="463296"/>
          </a:xfrm>
          <a:prstGeom prst="rect">
            <a:avLst/>
          </a:prstGeom>
          <a:solidFill>
            <a:srgbClr val="FDF3DC"/>
          </a:solidFill>
          <a:ln w="12700">
            <a:solidFill>
              <a:srgbClr val="E8940A"/>
            </a:solidFill>
            <a:prstDash val="solid"/>
          </a:ln>
        </p:spPr>
        <p:txBody>
          <a:bodyPr/>
          <a:lstStyle/>
          <a:p>
            <a:pPr defTabSz="1219170">
              <a:defRPr/>
            </a:pPr>
            <a:endParaRPr lang="ru-RU" sz="24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" name="Text 20">
            <a:extLst>
              <a:ext uri="{FF2B5EF4-FFF2-40B4-BE49-F238E27FC236}">
                <a16:creationId xmlns:a16="http://schemas.microsoft.com/office/drawing/2014/main" id="{0C941E94-B3A4-CD18-D84F-2D4098C67BE5}"/>
              </a:ext>
            </a:extLst>
          </p:cNvPr>
          <p:cNvSpPr/>
          <p:nvPr/>
        </p:nvSpPr>
        <p:spPr>
          <a:xfrm>
            <a:off x="975360" y="5789868"/>
            <a:ext cx="10850880" cy="463296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400" b="1" noProof="1">
                <a:solidFill>
                  <a:srgbClr val="16303A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Каждый раунд: прим. 45–60 секунд  |  16 раундов всего  |  Объявляйте перерывы между раундами и текущий счёт</a:t>
            </a:r>
            <a:endParaRPr lang="ru-RU" sz="14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3189530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E63D855-4368-1E2E-187A-6AD1B91566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8641" y="324908"/>
            <a:ext cx="10045383" cy="1080120"/>
          </a:xfrm>
        </p:spPr>
        <p:txBody>
          <a:bodyPr>
            <a:normAutofit/>
          </a:bodyPr>
          <a:lstStyle/>
          <a:p>
            <a:r>
              <a:rPr lang="ru-RU" noProof="1"/>
              <a:t>Раунд 1 — Образцы карточек из Стопки А (для справки фасилитатора)</a:t>
            </a:r>
          </a:p>
        </p:txBody>
      </p:sp>
      <p:sp>
        <p:nvSpPr>
          <p:cNvPr id="3" name="Text 2">
            <a:extLst>
              <a:ext uri="{FF2B5EF4-FFF2-40B4-BE49-F238E27FC236}">
                <a16:creationId xmlns:a16="http://schemas.microsoft.com/office/drawing/2014/main" id="{BA7B5404-7E82-02DC-0BFF-A66E0A5A9457}"/>
              </a:ext>
            </a:extLst>
          </p:cNvPr>
          <p:cNvSpPr/>
          <p:nvPr/>
        </p:nvSpPr>
        <p:spPr>
          <a:xfrm>
            <a:off x="548640" y="1502564"/>
            <a:ext cx="5547360" cy="42672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600" b="1" noProof="1">
                <a:solidFill>
                  <a:srgbClr val="2D8A3E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Карточки присутствия — индикатор качества хорошо реализован</a:t>
            </a:r>
            <a:endParaRPr lang="ru-RU" sz="16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Text 3">
            <a:extLst>
              <a:ext uri="{FF2B5EF4-FFF2-40B4-BE49-F238E27FC236}">
                <a16:creationId xmlns:a16="http://schemas.microsoft.com/office/drawing/2014/main" id="{D5E465FD-9F78-B23F-FB9D-409093545DCB}"/>
              </a:ext>
            </a:extLst>
          </p:cNvPr>
          <p:cNvSpPr/>
          <p:nvPr/>
        </p:nvSpPr>
        <p:spPr>
          <a:xfrm>
            <a:off x="6400800" y="1502564"/>
            <a:ext cx="5364480" cy="42672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600" b="1" noProof="1">
                <a:solidFill>
                  <a:srgbClr val="B03030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Карточки отсутствия — индикатор отсутствует или искажён</a:t>
            </a:r>
            <a:endParaRPr lang="ru-RU" sz="16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Shape 4">
            <a:extLst>
              <a:ext uri="{FF2B5EF4-FFF2-40B4-BE49-F238E27FC236}">
                <a16:creationId xmlns:a16="http://schemas.microsoft.com/office/drawing/2014/main" id="{908BB240-D92B-0488-B373-C52933C0B6C5}"/>
              </a:ext>
            </a:extLst>
          </p:cNvPr>
          <p:cNvSpPr/>
          <p:nvPr/>
        </p:nvSpPr>
        <p:spPr>
          <a:xfrm>
            <a:off x="548640" y="2026820"/>
            <a:ext cx="5547360" cy="1438656"/>
          </a:xfrm>
          <a:prstGeom prst="rect">
            <a:avLst/>
          </a:prstGeom>
          <a:solidFill>
            <a:srgbClr val="E8F5EC"/>
          </a:solidFill>
          <a:ln w="12700">
            <a:solidFill>
              <a:srgbClr val="2D8A3E"/>
            </a:solidFill>
            <a:prstDash val="solid"/>
          </a:ln>
          <a:effectLst>
            <a:outerShdw blurRad="76200" dist="38100" dir="8100000" algn="bl" rotWithShape="0">
              <a:srgbClr val="000000">
                <a:alpha val="10000"/>
              </a:srgbClr>
            </a:outerShdw>
          </a:effectLst>
        </p:spPr>
        <p:txBody>
          <a:bodyPr/>
          <a:lstStyle/>
          <a:p>
            <a:pPr defTabSz="1219170">
              <a:defRPr/>
            </a:pPr>
            <a:endParaRPr lang="ru-RU" sz="24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Shape 5">
            <a:extLst>
              <a:ext uri="{FF2B5EF4-FFF2-40B4-BE49-F238E27FC236}">
                <a16:creationId xmlns:a16="http://schemas.microsoft.com/office/drawing/2014/main" id="{3B41133F-CE95-068F-BE5F-5FE2CCD2F581}"/>
              </a:ext>
            </a:extLst>
          </p:cNvPr>
          <p:cNvSpPr/>
          <p:nvPr/>
        </p:nvSpPr>
        <p:spPr>
          <a:xfrm>
            <a:off x="548640" y="2026820"/>
            <a:ext cx="5547360" cy="390144"/>
          </a:xfrm>
          <a:prstGeom prst="rect">
            <a:avLst/>
          </a:prstGeom>
          <a:solidFill>
            <a:srgbClr val="2D8A3E"/>
          </a:solidFill>
          <a:ln w="12700">
            <a:solidFill>
              <a:srgbClr val="2D8A3E"/>
            </a:solidFill>
            <a:prstDash val="solid"/>
          </a:ln>
        </p:spPr>
        <p:txBody>
          <a:bodyPr/>
          <a:lstStyle/>
          <a:p>
            <a:pPr defTabSz="1219170">
              <a:defRPr/>
            </a:pPr>
            <a:endParaRPr lang="ru-RU" sz="24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Text 6">
            <a:extLst>
              <a:ext uri="{FF2B5EF4-FFF2-40B4-BE49-F238E27FC236}">
                <a16:creationId xmlns:a16="http://schemas.microsoft.com/office/drawing/2014/main" id="{E34EBCA2-5F93-E772-48DA-7D62604D586A}"/>
              </a:ext>
            </a:extLst>
          </p:cNvPr>
          <p:cNvSpPr/>
          <p:nvPr/>
        </p:nvSpPr>
        <p:spPr>
          <a:xfrm>
            <a:off x="731520" y="2026820"/>
            <a:ext cx="5181600" cy="390144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200" b="1" kern="0" spc="40" noProof="1">
                <a:solidFill>
                  <a:srgbClr val="FFFFFF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ИК 1 — Связь с вашей реальной работой</a:t>
            </a:r>
            <a:endParaRPr lang="ru-RU" sz="12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Text 7">
            <a:extLst>
              <a:ext uri="{FF2B5EF4-FFF2-40B4-BE49-F238E27FC236}">
                <a16:creationId xmlns:a16="http://schemas.microsoft.com/office/drawing/2014/main" id="{8AD98731-B3CC-86F9-563B-743F51F42D2F}"/>
              </a:ext>
            </a:extLst>
          </p:cNvPr>
          <p:cNvSpPr/>
          <p:nvPr/>
        </p:nvSpPr>
        <p:spPr>
          <a:xfrm>
            <a:off x="731520" y="2465732"/>
            <a:ext cx="5181600" cy="926592"/>
          </a:xfrm>
          <a:prstGeom prst="rect">
            <a:avLst/>
          </a:prstGeom>
          <a:noFill/>
          <a:ln/>
        </p:spPr>
        <p:txBody>
          <a:bodyPr wrap="square" rtlCol="0" anchor="t"/>
          <a:lstStyle/>
          <a:p>
            <a:pPr defTabSz="1219170">
              <a:defRPr/>
            </a:pPr>
            <a:r>
              <a:rPr lang="ru-RU" sz="1467" noProof="1">
                <a:solidFill>
                  <a:srgbClr val="16303A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Педагоги приносят на каждую сессию одну работу обучающегося и анализируют её вместе. Фасилитатор задаёт вопросы, а не даёт ответы.</a:t>
            </a:r>
            <a:endParaRPr lang="ru-RU" sz="1467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Shape 8">
            <a:extLst>
              <a:ext uri="{FF2B5EF4-FFF2-40B4-BE49-F238E27FC236}">
                <a16:creationId xmlns:a16="http://schemas.microsoft.com/office/drawing/2014/main" id="{C05F02BF-5A79-5F89-DEB3-F77041FE9D09}"/>
              </a:ext>
            </a:extLst>
          </p:cNvPr>
          <p:cNvSpPr/>
          <p:nvPr/>
        </p:nvSpPr>
        <p:spPr>
          <a:xfrm>
            <a:off x="548640" y="3587396"/>
            <a:ext cx="5547360" cy="1438656"/>
          </a:xfrm>
          <a:prstGeom prst="rect">
            <a:avLst/>
          </a:prstGeom>
          <a:solidFill>
            <a:srgbClr val="E8F5EC"/>
          </a:solidFill>
          <a:ln w="12700">
            <a:solidFill>
              <a:srgbClr val="2D8A3E"/>
            </a:solidFill>
            <a:prstDash val="solid"/>
          </a:ln>
          <a:effectLst>
            <a:outerShdw blurRad="76200" dist="38100" dir="8100000" algn="bl" rotWithShape="0">
              <a:srgbClr val="000000">
                <a:alpha val="10000"/>
              </a:srgbClr>
            </a:outerShdw>
          </a:effectLst>
        </p:spPr>
        <p:txBody>
          <a:bodyPr/>
          <a:lstStyle/>
          <a:p>
            <a:pPr defTabSz="1219170">
              <a:defRPr/>
            </a:pPr>
            <a:endParaRPr lang="ru-RU" sz="24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Shape 9">
            <a:extLst>
              <a:ext uri="{FF2B5EF4-FFF2-40B4-BE49-F238E27FC236}">
                <a16:creationId xmlns:a16="http://schemas.microsoft.com/office/drawing/2014/main" id="{A5D369C4-C331-F031-BEE6-E9ECAF3453DD}"/>
              </a:ext>
            </a:extLst>
          </p:cNvPr>
          <p:cNvSpPr/>
          <p:nvPr/>
        </p:nvSpPr>
        <p:spPr>
          <a:xfrm>
            <a:off x="548640" y="3587396"/>
            <a:ext cx="5547360" cy="390144"/>
          </a:xfrm>
          <a:prstGeom prst="rect">
            <a:avLst/>
          </a:prstGeom>
          <a:solidFill>
            <a:srgbClr val="2D8A3E"/>
          </a:solidFill>
          <a:ln w="12700">
            <a:solidFill>
              <a:srgbClr val="2D8A3E"/>
            </a:solidFill>
            <a:prstDash val="solid"/>
          </a:ln>
        </p:spPr>
        <p:txBody>
          <a:bodyPr/>
          <a:lstStyle/>
          <a:p>
            <a:pPr defTabSz="1219170">
              <a:defRPr/>
            </a:pPr>
            <a:endParaRPr lang="ru-RU" sz="24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Text 10">
            <a:extLst>
              <a:ext uri="{FF2B5EF4-FFF2-40B4-BE49-F238E27FC236}">
                <a16:creationId xmlns:a16="http://schemas.microsoft.com/office/drawing/2014/main" id="{9D1433BE-3B7A-C083-FD52-EF4BD181618F}"/>
              </a:ext>
            </a:extLst>
          </p:cNvPr>
          <p:cNvSpPr/>
          <p:nvPr/>
        </p:nvSpPr>
        <p:spPr>
          <a:xfrm>
            <a:off x="731520" y="3587396"/>
            <a:ext cx="5181600" cy="390144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200" b="1" kern="0" spc="40" noProof="1">
                <a:solidFill>
                  <a:srgbClr val="FFFFFF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ИК 2 — Вам необходимо время</a:t>
            </a:r>
            <a:endParaRPr lang="ru-RU" sz="12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Text 11">
            <a:extLst>
              <a:ext uri="{FF2B5EF4-FFF2-40B4-BE49-F238E27FC236}">
                <a16:creationId xmlns:a16="http://schemas.microsoft.com/office/drawing/2014/main" id="{20744AE4-FBB7-577B-38FD-890D3D812906}"/>
              </a:ext>
            </a:extLst>
          </p:cNvPr>
          <p:cNvSpPr/>
          <p:nvPr/>
        </p:nvSpPr>
        <p:spPr>
          <a:xfrm>
            <a:off x="731520" y="4026308"/>
            <a:ext cx="5181600" cy="926592"/>
          </a:xfrm>
          <a:prstGeom prst="rect">
            <a:avLst/>
          </a:prstGeom>
          <a:noFill/>
          <a:ln/>
        </p:spPr>
        <p:txBody>
          <a:bodyPr wrap="square" rtlCol="0" anchor="t"/>
          <a:lstStyle/>
          <a:p>
            <a:pPr defTabSz="1219170">
              <a:defRPr/>
            </a:pPr>
            <a:r>
              <a:rPr lang="ru-RU" sz="1467" noProof="1">
                <a:solidFill>
                  <a:srgbClr val="16303A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Программа реализуется на протяжении одного учебного года. Педагоги возвращаются каждый семестр с данными о том, что они пробовали, что сработало и что они хотели бы изменить.</a:t>
            </a:r>
            <a:endParaRPr lang="ru-RU" sz="1467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Shape 12">
            <a:extLst>
              <a:ext uri="{FF2B5EF4-FFF2-40B4-BE49-F238E27FC236}">
                <a16:creationId xmlns:a16="http://schemas.microsoft.com/office/drawing/2014/main" id="{6BA53225-35A9-4C18-151D-C1D01D665063}"/>
              </a:ext>
            </a:extLst>
          </p:cNvPr>
          <p:cNvSpPr/>
          <p:nvPr/>
        </p:nvSpPr>
        <p:spPr>
          <a:xfrm>
            <a:off x="548640" y="5147972"/>
            <a:ext cx="5547360" cy="1438656"/>
          </a:xfrm>
          <a:prstGeom prst="rect">
            <a:avLst/>
          </a:prstGeom>
          <a:solidFill>
            <a:srgbClr val="E8F5EC"/>
          </a:solidFill>
          <a:ln w="12700">
            <a:solidFill>
              <a:srgbClr val="2D8A3E"/>
            </a:solidFill>
            <a:prstDash val="solid"/>
          </a:ln>
          <a:effectLst>
            <a:outerShdw blurRad="76200" dist="38100" dir="8100000" algn="bl" rotWithShape="0">
              <a:srgbClr val="000000">
                <a:alpha val="10000"/>
              </a:srgbClr>
            </a:outerShdw>
          </a:effectLst>
        </p:spPr>
        <p:txBody>
          <a:bodyPr/>
          <a:lstStyle/>
          <a:p>
            <a:pPr defTabSz="1219170">
              <a:defRPr/>
            </a:pPr>
            <a:endParaRPr lang="ru-RU" sz="24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Shape 13">
            <a:extLst>
              <a:ext uri="{FF2B5EF4-FFF2-40B4-BE49-F238E27FC236}">
                <a16:creationId xmlns:a16="http://schemas.microsoft.com/office/drawing/2014/main" id="{C69DC800-133D-3FB3-2A80-817786E1D4CA}"/>
              </a:ext>
            </a:extLst>
          </p:cNvPr>
          <p:cNvSpPr/>
          <p:nvPr/>
        </p:nvSpPr>
        <p:spPr>
          <a:xfrm>
            <a:off x="548640" y="5147972"/>
            <a:ext cx="5547360" cy="390144"/>
          </a:xfrm>
          <a:prstGeom prst="rect">
            <a:avLst/>
          </a:prstGeom>
          <a:solidFill>
            <a:srgbClr val="2D8A3E"/>
          </a:solidFill>
          <a:ln w="12700">
            <a:solidFill>
              <a:srgbClr val="2D8A3E"/>
            </a:solidFill>
            <a:prstDash val="solid"/>
          </a:ln>
        </p:spPr>
        <p:txBody>
          <a:bodyPr/>
          <a:lstStyle/>
          <a:p>
            <a:pPr defTabSz="1219170">
              <a:defRPr/>
            </a:pPr>
            <a:endParaRPr lang="ru-RU" sz="24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Text 14">
            <a:extLst>
              <a:ext uri="{FF2B5EF4-FFF2-40B4-BE49-F238E27FC236}">
                <a16:creationId xmlns:a16="http://schemas.microsoft.com/office/drawing/2014/main" id="{D8549629-9676-C458-C2E7-5361D40B1738}"/>
              </a:ext>
            </a:extLst>
          </p:cNvPr>
          <p:cNvSpPr/>
          <p:nvPr/>
        </p:nvSpPr>
        <p:spPr>
          <a:xfrm>
            <a:off x="731520" y="5147972"/>
            <a:ext cx="5181600" cy="390144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200" b="1" kern="0" spc="40" noProof="1">
                <a:solidFill>
                  <a:srgbClr val="FFFFFF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ИК 3 — Вы получаете возможность попробовать</a:t>
            </a:r>
            <a:endParaRPr lang="ru-RU" sz="12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Text 15">
            <a:extLst>
              <a:ext uri="{FF2B5EF4-FFF2-40B4-BE49-F238E27FC236}">
                <a16:creationId xmlns:a16="http://schemas.microsoft.com/office/drawing/2014/main" id="{12D4A029-F3A8-DA31-6FB3-D9BCE247CBF3}"/>
              </a:ext>
            </a:extLst>
          </p:cNvPr>
          <p:cNvSpPr/>
          <p:nvPr/>
        </p:nvSpPr>
        <p:spPr>
          <a:xfrm>
            <a:off x="731520" y="5586884"/>
            <a:ext cx="5181600" cy="926592"/>
          </a:xfrm>
          <a:prstGeom prst="rect">
            <a:avLst/>
          </a:prstGeom>
          <a:noFill/>
          <a:ln/>
        </p:spPr>
        <p:txBody>
          <a:bodyPr wrap="square" rtlCol="0" anchor="t"/>
          <a:lstStyle/>
          <a:p>
            <a:pPr defTabSz="1219170">
              <a:defRPr/>
            </a:pPr>
            <a:r>
              <a:rPr lang="ru-RU" sz="1467" noProof="1">
                <a:solidFill>
                  <a:srgbClr val="16303A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Каждая сессия заканчивается тем, что педагоги записывают одно предложение: что они попробуют до следующей встречи и как узнают, сработало ли это.</a:t>
            </a:r>
            <a:endParaRPr lang="ru-RU" sz="1467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Shape 16">
            <a:extLst>
              <a:ext uri="{FF2B5EF4-FFF2-40B4-BE49-F238E27FC236}">
                <a16:creationId xmlns:a16="http://schemas.microsoft.com/office/drawing/2014/main" id="{6DE8BBD5-65BB-5B67-6B2F-1AB7DEC75CE0}"/>
              </a:ext>
            </a:extLst>
          </p:cNvPr>
          <p:cNvSpPr/>
          <p:nvPr/>
        </p:nvSpPr>
        <p:spPr>
          <a:xfrm>
            <a:off x="6400800" y="2026820"/>
            <a:ext cx="5364480" cy="1438656"/>
          </a:xfrm>
          <a:prstGeom prst="rect">
            <a:avLst/>
          </a:prstGeom>
          <a:solidFill>
            <a:srgbClr val="FDECEA"/>
          </a:solidFill>
          <a:ln w="12700">
            <a:solidFill>
              <a:srgbClr val="B03030"/>
            </a:solidFill>
            <a:prstDash val="solid"/>
          </a:ln>
          <a:effectLst>
            <a:outerShdw blurRad="76200" dist="38100" dir="8100000" algn="bl" rotWithShape="0">
              <a:srgbClr val="000000">
                <a:alpha val="10000"/>
              </a:srgbClr>
            </a:outerShdw>
          </a:effectLst>
        </p:spPr>
        <p:txBody>
          <a:bodyPr/>
          <a:lstStyle/>
          <a:p>
            <a:pPr defTabSz="1219170">
              <a:defRPr/>
            </a:pPr>
            <a:endParaRPr lang="ru-RU" sz="24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Shape 17">
            <a:extLst>
              <a:ext uri="{FF2B5EF4-FFF2-40B4-BE49-F238E27FC236}">
                <a16:creationId xmlns:a16="http://schemas.microsoft.com/office/drawing/2014/main" id="{118D7142-A920-090B-C685-5A259EC51CC3}"/>
              </a:ext>
            </a:extLst>
          </p:cNvPr>
          <p:cNvSpPr/>
          <p:nvPr/>
        </p:nvSpPr>
        <p:spPr>
          <a:xfrm>
            <a:off x="6400800" y="2026820"/>
            <a:ext cx="5364480" cy="390144"/>
          </a:xfrm>
          <a:prstGeom prst="rect">
            <a:avLst/>
          </a:prstGeom>
          <a:solidFill>
            <a:srgbClr val="B03030"/>
          </a:solidFill>
          <a:ln w="12700">
            <a:solidFill>
              <a:srgbClr val="B03030"/>
            </a:solidFill>
            <a:prstDash val="solid"/>
          </a:ln>
        </p:spPr>
        <p:txBody>
          <a:bodyPr/>
          <a:lstStyle/>
          <a:p>
            <a:pPr defTabSz="1219170">
              <a:defRPr/>
            </a:pPr>
            <a:endParaRPr lang="ru-RU" sz="24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Text 18">
            <a:extLst>
              <a:ext uri="{FF2B5EF4-FFF2-40B4-BE49-F238E27FC236}">
                <a16:creationId xmlns:a16="http://schemas.microsoft.com/office/drawing/2014/main" id="{33C14407-AFC9-252F-8FBF-31ADE72A3974}"/>
              </a:ext>
            </a:extLst>
          </p:cNvPr>
          <p:cNvSpPr/>
          <p:nvPr/>
        </p:nvSpPr>
        <p:spPr>
          <a:xfrm>
            <a:off x="6583680" y="2026820"/>
            <a:ext cx="4998720" cy="390144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200" b="1" kern="0" spc="40" noProof="1">
                <a:solidFill>
                  <a:srgbClr val="FFFFFF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ИК 7 — Ваше руководство поддерживает это (отсутствует)</a:t>
            </a:r>
            <a:endParaRPr lang="ru-RU" sz="12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" name="Text 19">
            <a:extLst>
              <a:ext uri="{FF2B5EF4-FFF2-40B4-BE49-F238E27FC236}">
                <a16:creationId xmlns:a16="http://schemas.microsoft.com/office/drawing/2014/main" id="{2525CC3F-8455-0AAC-5BA9-2FED6F6165EB}"/>
              </a:ext>
            </a:extLst>
          </p:cNvPr>
          <p:cNvSpPr/>
          <p:nvPr/>
        </p:nvSpPr>
        <p:spPr>
          <a:xfrm>
            <a:off x="6583680" y="2465732"/>
            <a:ext cx="4998720" cy="926592"/>
          </a:xfrm>
          <a:prstGeom prst="rect">
            <a:avLst/>
          </a:prstGeom>
          <a:noFill/>
          <a:ln/>
        </p:spPr>
        <p:txBody>
          <a:bodyPr wrap="square" rtlCol="0" anchor="t"/>
          <a:lstStyle/>
          <a:p>
            <a:pPr defTabSz="1219170">
              <a:defRPr/>
            </a:pPr>
            <a:r>
              <a:rPr lang="ru-RU" sz="1467" noProof="1">
                <a:solidFill>
                  <a:srgbClr val="16303A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Координатор профессионального развития педагогов разработал отличный цикл последующей работы, но директора учебных заведений не были об этом уведомлены и не выделили на это время.</a:t>
            </a:r>
            <a:endParaRPr lang="ru-RU" sz="1467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" name="Shape 20">
            <a:extLst>
              <a:ext uri="{FF2B5EF4-FFF2-40B4-BE49-F238E27FC236}">
                <a16:creationId xmlns:a16="http://schemas.microsoft.com/office/drawing/2014/main" id="{BDC4FFA4-BB76-E33C-C684-28DB3529AA0F}"/>
              </a:ext>
            </a:extLst>
          </p:cNvPr>
          <p:cNvSpPr/>
          <p:nvPr/>
        </p:nvSpPr>
        <p:spPr>
          <a:xfrm>
            <a:off x="6400800" y="3587396"/>
            <a:ext cx="5364480" cy="1438656"/>
          </a:xfrm>
          <a:prstGeom prst="rect">
            <a:avLst/>
          </a:prstGeom>
          <a:solidFill>
            <a:srgbClr val="FDECEA"/>
          </a:solidFill>
          <a:ln w="12700">
            <a:solidFill>
              <a:srgbClr val="B03030"/>
            </a:solidFill>
            <a:prstDash val="solid"/>
          </a:ln>
          <a:effectLst>
            <a:outerShdw blurRad="76200" dist="38100" dir="8100000" algn="bl" rotWithShape="0">
              <a:srgbClr val="000000">
                <a:alpha val="10000"/>
              </a:srgbClr>
            </a:outerShdw>
          </a:effectLst>
        </p:spPr>
        <p:txBody>
          <a:bodyPr/>
          <a:lstStyle/>
          <a:p>
            <a:pPr defTabSz="1219170">
              <a:defRPr/>
            </a:pPr>
            <a:endParaRPr lang="ru-RU" sz="24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2" name="Shape 21">
            <a:extLst>
              <a:ext uri="{FF2B5EF4-FFF2-40B4-BE49-F238E27FC236}">
                <a16:creationId xmlns:a16="http://schemas.microsoft.com/office/drawing/2014/main" id="{3EDC12B0-51C4-BDB2-6BF7-A1770CE69125}"/>
              </a:ext>
            </a:extLst>
          </p:cNvPr>
          <p:cNvSpPr/>
          <p:nvPr/>
        </p:nvSpPr>
        <p:spPr>
          <a:xfrm>
            <a:off x="6400800" y="3587396"/>
            <a:ext cx="5364480" cy="390144"/>
          </a:xfrm>
          <a:prstGeom prst="rect">
            <a:avLst/>
          </a:prstGeom>
          <a:solidFill>
            <a:srgbClr val="B03030"/>
          </a:solidFill>
          <a:ln w="12700">
            <a:solidFill>
              <a:srgbClr val="B03030"/>
            </a:solidFill>
            <a:prstDash val="solid"/>
          </a:ln>
        </p:spPr>
        <p:txBody>
          <a:bodyPr/>
          <a:lstStyle/>
          <a:p>
            <a:pPr defTabSz="1219170">
              <a:defRPr/>
            </a:pPr>
            <a:endParaRPr lang="ru-RU" sz="24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3" name="Text 22">
            <a:extLst>
              <a:ext uri="{FF2B5EF4-FFF2-40B4-BE49-F238E27FC236}">
                <a16:creationId xmlns:a16="http://schemas.microsoft.com/office/drawing/2014/main" id="{4D026C2C-732D-0209-30BA-BDA68EBE5AC6}"/>
              </a:ext>
            </a:extLst>
          </p:cNvPr>
          <p:cNvSpPr/>
          <p:nvPr/>
        </p:nvSpPr>
        <p:spPr>
          <a:xfrm>
            <a:off x="6583680" y="3587396"/>
            <a:ext cx="4998720" cy="390144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200" b="1" kern="0" spc="40" noProof="1">
                <a:solidFill>
                  <a:srgbClr val="FFFFFF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ИК 6 — Это касается ваших студентов (отсутствует)</a:t>
            </a:r>
            <a:endParaRPr lang="ru-RU" sz="12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4" name="Text 23">
            <a:extLst>
              <a:ext uri="{FF2B5EF4-FFF2-40B4-BE49-F238E27FC236}">
                <a16:creationId xmlns:a16="http://schemas.microsoft.com/office/drawing/2014/main" id="{67A46355-0D5D-0F02-7273-9025C320AB2E}"/>
              </a:ext>
            </a:extLst>
          </p:cNvPr>
          <p:cNvSpPr/>
          <p:nvPr/>
        </p:nvSpPr>
        <p:spPr>
          <a:xfrm>
            <a:off x="6583680" y="4026308"/>
            <a:ext cx="4998720" cy="926592"/>
          </a:xfrm>
          <a:prstGeom prst="rect">
            <a:avLst/>
          </a:prstGeom>
          <a:noFill/>
          <a:ln/>
        </p:spPr>
        <p:txBody>
          <a:bodyPr wrap="square" rtlCol="0" anchor="t"/>
          <a:lstStyle/>
          <a:p>
            <a:pPr defTabSz="1219170">
              <a:defRPr/>
            </a:pPr>
            <a:r>
              <a:rPr lang="ru-RU" sz="1467" noProof="1">
                <a:solidFill>
                  <a:srgbClr val="16303A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Ведущий увлекателен. Участники в конце заполняют анкету удовлетворённости. Никто не отслеживает, изменилось ли что-то в классах.</a:t>
            </a:r>
            <a:endParaRPr lang="ru-RU" sz="1467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5" name="Shape 24">
            <a:extLst>
              <a:ext uri="{FF2B5EF4-FFF2-40B4-BE49-F238E27FC236}">
                <a16:creationId xmlns:a16="http://schemas.microsoft.com/office/drawing/2014/main" id="{116520E9-B97B-802D-1EE1-BDB71318110F}"/>
              </a:ext>
            </a:extLst>
          </p:cNvPr>
          <p:cNvSpPr/>
          <p:nvPr/>
        </p:nvSpPr>
        <p:spPr>
          <a:xfrm>
            <a:off x="6400800" y="5147972"/>
            <a:ext cx="5364480" cy="1438656"/>
          </a:xfrm>
          <a:prstGeom prst="rect">
            <a:avLst/>
          </a:prstGeom>
          <a:solidFill>
            <a:srgbClr val="FDECEA"/>
          </a:solidFill>
          <a:ln w="12700">
            <a:solidFill>
              <a:srgbClr val="B03030"/>
            </a:solidFill>
            <a:prstDash val="solid"/>
          </a:ln>
          <a:effectLst>
            <a:outerShdw blurRad="76200" dist="38100" dir="8100000" algn="bl" rotWithShape="0">
              <a:srgbClr val="000000">
                <a:alpha val="10000"/>
              </a:srgbClr>
            </a:outerShdw>
          </a:effectLst>
        </p:spPr>
        <p:txBody>
          <a:bodyPr/>
          <a:lstStyle/>
          <a:p>
            <a:pPr defTabSz="1219170">
              <a:defRPr/>
            </a:pPr>
            <a:endParaRPr lang="ru-RU" sz="24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6" name="Shape 25">
            <a:extLst>
              <a:ext uri="{FF2B5EF4-FFF2-40B4-BE49-F238E27FC236}">
                <a16:creationId xmlns:a16="http://schemas.microsoft.com/office/drawing/2014/main" id="{C88074D2-E409-31BF-95F5-3DEF84DB8676}"/>
              </a:ext>
            </a:extLst>
          </p:cNvPr>
          <p:cNvSpPr/>
          <p:nvPr/>
        </p:nvSpPr>
        <p:spPr>
          <a:xfrm>
            <a:off x="6400800" y="5147972"/>
            <a:ext cx="5364480" cy="390144"/>
          </a:xfrm>
          <a:prstGeom prst="rect">
            <a:avLst/>
          </a:prstGeom>
          <a:solidFill>
            <a:srgbClr val="B03030"/>
          </a:solidFill>
          <a:ln w="12700">
            <a:solidFill>
              <a:srgbClr val="B03030"/>
            </a:solidFill>
            <a:prstDash val="solid"/>
          </a:ln>
        </p:spPr>
        <p:txBody>
          <a:bodyPr/>
          <a:lstStyle/>
          <a:p>
            <a:pPr defTabSz="1219170">
              <a:defRPr/>
            </a:pPr>
            <a:endParaRPr lang="ru-RU" sz="24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7" name="Text 26">
            <a:extLst>
              <a:ext uri="{FF2B5EF4-FFF2-40B4-BE49-F238E27FC236}">
                <a16:creationId xmlns:a16="http://schemas.microsoft.com/office/drawing/2014/main" id="{69C21E7C-E822-099F-A3DF-F73C3481DE7E}"/>
              </a:ext>
            </a:extLst>
          </p:cNvPr>
          <p:cNvSpPr/>
          <p:nvPr/>
        </p:nvSpPr>
        <p:spPr>
          <a:xfrm>
            <a:off x="6583680" y="5147972"/>
            <a:ext cx="4998720" cy="390144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200" b="1" kern="0" spc="40" noProof="1">
                <a:solidFill>
                  <a:srgbClr val="FFFFFF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ИК 1 — Связь с вашей реальной работой (отсутствует)</a:t>
            </a:r>
            <a:endParaRPr lang="ru-RU" sz="12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8" name="Text 27">
            <a:extLst>
              <a:ext uri="{FF2B5EF4-FFF2-40B4-BE49-F238E27FC236}">
                <a16:creationId xmlns:a16="http://schemas.microsoft.com/office/drawing/2014/main" id="{27FE4CCA-3803-8DAD-F390-07717564082D}"/>
              </a:ext>
            </a:extLst>
          </p:cNvPr>
          <p:cNvSpPr/>
          <p:nvPr/>
        </p:nvSpPr>
        <p:spPr>
          <a:xfrm>
            <a:off x="6583680" y="5586884"/>
            <a:ext cx="4998720" cy="926592"/>
          </a:xfrm>
          <a:prstGeom prst="rect">
            <a:avLst/>
          </a:prstGeom>
          <a:noFill/>
          <a:ln/>
        </p:spPr>
        <p:txBody>
          <a:bodyPr wrap="square" rtlCol="0" anchor="t"/>
          <a:lstStyle/>
          <a:p>
            <a:pPr defTabSz="1219170">
              <a:defRPr/>
            </a:pPr>
            <a:r>
              <a:rPr lang="ru-RU" sz="1467" noProof="1">
                <a:solidFill>
                  <a:srgbClr val="16303A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Учебный день охватывает цифровые инструменты, коммуникативные навыки и управление классом — ни одна тема не связана с конкретными предметами или группами обучающихся.</a:t>
            </a:r>
            <a:endParaRPr lang="ru-RU" sz="1467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9803989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hape 3">
            <a:extLst>
              <a:ext uri="{FF2B5EF4-FFF2-40B4-BE49-F238E27FC236}">
                <a16:creationId xmlns:a16="http://schemas.microsoft.com/office/drawing/2014/main" id="{27925515-3620-19B4-FF49-989E4C419D03}"/>
              </a:ext>
            </a:extLst>
          </p:cNvPr>
          <p:cNvSpPr/>
          <p:nvPr/>
        </p:nvSpPr>
        <p:spPr>
          <a:xfrm>
            <a:off x="731519" y="772732"/>
            <a:ext cx="11216640" cy="1952880"/>
          </a:xfrm>
          <a:prstGeom prst="rect">
            <a:avLst/>
          </a:prstGeom>
          <a:solidFill>
            <a:srgbClr val="D6F0F3"/>
          </a:solidFill>
          <a:ln w="12700">
            <a:solidFill>
              <a:srgbClr val="039AAA"/>
            </a:solidFill>
            <a:prstDash val="solid"/>
          </a:ln>
        </p:spPr>
        <p:txBody>
          <a:bodyPr/>
          <a:lstStyle/>
          <a:p>
            <a:pPr defTabSz="1219170">
              <a:defRPr/>
            </a:pPr>
            <a:endParaRPr lang="ru-RU" sz="24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Shape 4">
            <a:extLst>
              <a:ext uri="{FF2B5EF4-FFF2-40B4-BE49-F238E27FC236}">
                <a16:creationId xmlns:a16="http://schemas.microsoft.com/office/drawing/2014/main" id="{88EA959B-02BD-5EA7-59EF-F5087C99802B}"/>
              </a:ext>
            </a:extLst>
          </p:cNvPr>
          <p:cNvSpPr/>
          <p:nvPr/>
        </p:nvSpPr>
        <p:spPr>
          <a:xfrm>
            <a:off x="731519" y="772732"/>
            <a:ext cx="121920" cy="1952880"/>
          </a:xfrm>
          <a:prstGeom prst="rect">
            <a:avLst/>
          </a:prstGeom>
          <a:solidFill>
            <a:srgbClr val="027A87"/>
          </a:solidFill>
          <a:ln w="12700">
            <a:solidFill>
              <a:srgbClr val="027A87"/>
            </a:solidFill>
            <a:prstDash val="solid"/>
          </a:ln>
        </p:spPr>
        <p:txBody>
          <a:bodyPr/>
          <a:lstStyle/>
          <a:p>
            <a:pPr defTabSz="1219170">
              <a:defRPr/>
            </a:pPr>
            <a:endParaRPr lang="ru-RU" sz="24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Text 6">
            <a:extLst>
              <a:ext uri="{FF2B5EF4-FFF2-40B4-BE49-F238E27FC236}">
                <a16:creationId xmlns:a16="http://schemas.microsoft.com/office/drawing/2014/main" id="{0B584C6C-E7D6-A33F-6AFA-22167F9A519F}"/>
              </a:ext>
            </a:extLst>
          </p:cNvPr>
          <p:cNvSpPr/>
          <p:nvPr/>
        </p:nvSpPr>
        <p:spPr>
          <a:xfrm>
            <a:off x="1097279" y="1100641"/>
            <a:ext cx="10607040" cy="548640"/>
          </a:xfrm>
          <a:prstGeom prst="rect">
            <a:avLst/>
          </a:prstGeom>
          <a:noFill/>
          <a:ln/>
        </p:spPr>
        <p:txBody>
          <a:bodyPr wrap="square" rtlCol="0" anchor="t"/>
          <a:lstStyle/>
          <a:p>
            <a:pPr marL="285750" indent="-285750" defTabSz="1219170">
              <a:buFont typeface="Arial" panose="020B0604020202020204" pitchFamily="34" charset="0"/>
              <a:buChar char="•"/>
              <a:defRPr/>
            </a:pPr>
            <a:r>
              <a:rPr lang="ru-RU" sz="1667" i="1" noProof="1">
                <a:solidFill>
                  <a:srgbClr val="16303A"/>
                </a:solidFill>
                <a:latin typeface="Arial" panose="020B0604020202020204" pitchFamily="34" charset="0"/>
                <a:ea typeface="Georgia" pitchFamily="34" charset="-122"/>
                <a:cs typeface="Arial" panose="020B0604020202020204" pitchFamily="34" charset="0"/>
              </a:rPr>
              <a:t>Какую карточку было сложнее всего разместить — и почему?</a:t>
            </a:r>
          </a:p>
          <a:p>
            <a:pPr marL="285750" indent="-285750" defTabSz="1219170">
              <a:buFont typeface="Arial" panose="020B0604020202020204" pitchFamily="34" charset="0"/>
              <a:buChar char="•"/>
              <a:defRPr/>
            </a:pPr>
            <a:r>
              <a:rPr lang="ru-RU" sz="1667" i="1" noProof="1">
                <a:solidFill>
                  <a:srgbClr val="16303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зовите один индикатор, который вы теперь точно сможете идентифицировать в реальной программе профессионального развития</a:t>
            </a:r>
          </a:p>
          <a:p>
            <a:pPr marL="285750" indent="-285750" defTabSz="1219170">
              <a:buFont typeface="Arial" panose="020B0604020202020204" pitchFamily="34" charset="0"/>
              <a:buChar char="•"/>
              <a:defRPr/>
            </a:pPr>
            <a:r>
              <a:rPr lang="ru-RU" sz="1667" noProof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акие индикаторы идентифицировать тяжелее всего? Какие – легче всего? </a:t>
            </a:r>
          </a:p>
        </p:txBody>
      </p:sp>
      <p:sp>
        <p:nvSpPr>
          <p:cNvPr id="8" name="Shape 7">
            <a:extLst>
              <a:ext uri="{FF2B5EF4-FFF2-40B4-BE49-F238E27FC236}">
                <a16:creationId xmlns:a16="http://schemas.microsoft.com/office/drawing/2014/main" id="{916BF102-0939-6625-FAE0-70316DD587B3}"/>
              </a:ext>
            </a:extLst>
          </p:cNvPr>
          <p:cNvSpPr/>
          <p:nvPr/>
        </p:nvSpPr>
        <p:spPr>
          <a:xfrm>
            <a:off x="731519" y="2847532"/>
            <a:ext cx="11216640" cy="1158240"/>
          </a:xfrm>
          <a:prstGeom prst="rect">
            <a:avLst/>
          </a:prstGeom>
          <a:solidFill>
            <a:srgbClr val="FFFFFF"/>
          </a:solidFill>
          <a:ln w="10160">
            <a:solidFill>
              <a:srgbClr val="B2D8DE"/>
            </a:solidFill>
            <a:prstDash val="solid"/>
          </a:ln>
          <a:effectLst>
            <a:outerShdw blurRad="76200" dist="38100" dir="8100000" algn="bl" rotWithShape="0">
              <a:srgbClr val="000000">
                <a:alpha val="10000"/>
              </a:srgbClr>
            </a:outerShdw>
          </a:effectLst>
        </p:spPr>
        <p:txBody>
          <a:bodyPr/>
          <a:lstStyle/>
          <a:p>
            <a:pPr defTabSz="1219170">
              <a:defRPr/>
            </a:pPr>
            <a:endParaRPr lang="ru-RU" sz="24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Text 8">
            <a:extLst>
              <a:ext uri="{FF2B5EF4-FFF2-40B4-BE49-F238E27FC236}">
                <a16:creationId xmlns:a16="http://schemas.microsoft.com/office/drawing/2014/main" id="{71522D08-00F1-ED44-C5CF-4F245C18FF2B}"/>
              </a:ext>
            </a:extLst>
          </p:cNvPr>
          <p:cNvSpPr/>
          <p:nvPr/>
        </p:nvSpPr>
        <p:spPr>
          <a:xfrm>
            <a:off x="975359" y="2908492"/>
            <a:ext cx="10728960" cy="36576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467" b="1" noProof="1">
                <a:solidFill>
                  <a:srgbClr val="027A87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На что обратить внимание:</a:t>
            </a:r>
            <a:endParaRPr lang="ru-RU" sz="1467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Text 9">
            <a:extLst>
              <a:ext uri="{FF2B5EF4-FFF2-40B4-BE49-F238E27FC236}">
                <a16:creationId xmlns:a16="http://schemas.microsoft.com/office/drawing/2014/main" id="{64BFCCD2-8E5D-6304-CED5-6CD7D564230A}"/>
              </a:ext>
            </a:extLst>
          </p:cNvPr>
          <p:cNvSpPr/>
          <p:nvPr/>
        </p:nvSpPr>
        <p:spPr>
          <a:xfrm>
            <a:off x="975359" y="3298636"/>
            <a:ext cx="10728960" cy="633984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533" noProof="1">
                <a:solidFill>
                  <a:srgbClr val="3D6673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Индикаторы, которые последовательно было трудно определить за всеми столами.</a:t>
            </a:r>
            <a:endParaRPr lang="ru-RU" sz="1533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Text 13">
            <a:extLst>
              <a:ext uri="{FF2B5EF4-FFF2-40B4-BE49-F238E27FC236}">
                <a16:creationId xmlns:a16="http://schemas.microsoft.com/office/drawing/2014/main" id="{0C70E041-289D-FDCD-8D2F-8557916322ED}"/>
              </a:ext>
            </a:extLst>
          </p:cNvPr>
          <p:cNvSpPr/>
          <p:nvPr/>
        </p:nvSpPr>
        <p:spPr>
          <a:xfrm>
            <a:off x="731519" y="5858956"/>
            <a:ext cx="11216640" cy="42672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467" b="1" noProof="1">
                <a:solidFill>
                  <a:srgbClr val="027A87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Не разбирайте каждую карточку. Назовите один вывод из Раунда 1 и сразу переходите к Раунду 2.</a:t>
            </a:r>
            <a:endParaRPr lang="ru-RU" sz="1467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Shape 14">
            <a:extLst>
              <a:ext uri="{FF2B5EF4-FFF2-40B4-BE49-F238E27FC236}">
                <a16:creationId xmlns:a16="http://schemas.microsoft.com/office/drawing/2014/main" id="{958D8EA7-C10D-0226-8DA7-2C12113DB890}"/>
              </a:ext>
            </a:extLst>
          </p:cNvPr>
          <p:cNvSpPr/>
          <p:nvPr/>
        </p:nvSpPr>
        <p:spPr>
          <a:xfrm>
            <a:off x="731519" y="6358828"/>
            <a:ext cx="11216640" cy="414528"/>
          </a:xfrm>
          <a:prstGeom prst="rect">
            <a:avLst/>
          </a:prstGeom>
          <a:solidFill>
            <a:srgbClr val="E8940A"/>
          </a:solidFill>
          <a:ln w="12700">
            <a:solidFill>
              <a:srgbClr val="E8940A"/>
            </a:solidFill>
            <a:prstDash val="solid"/>
          </a:ln>
        </p:spPr>
        <p:txBody>
          <a:bodyPr/>
          <a:lstStyle/>
          <a:p>
            <a:pPr defTabSz="1219170">
              <a:defRPr/>
            </a:pPr>
            <a:endParaRPr lang="ru-RU" sz="24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Text 15">
            <a:extLst>
              <a:ext uri="{FF2B5EF4-FFF2-40B4-BE49-F238E27FC236}">
                <a16:creationId xmlns:a16="http://schemas.microsoft.com/office/drawing/2014/main" id="{1CE436CA-CEDE-1CE8-156A-243B8542A03F}"/>
              </a:ext>
            </a:extLst>
          </p:cNvPr>
          <p:cNvSpPr/>
          <p:nvPr/>
        </p:nvSpPr>
        <p:spPr>
          <a:xfrm>
            <a:off x="731519" y="6358828"/>
            <a:ext cx="11216640" cy="414528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algn="ctr" defTabSz="1219170">
              <a:defRPr/>
            </a:pPr>
            <a:r>
              <a:rPr lang="ru-RU" sz="1200" b="1" noProof="1">
                <a:solidFill>
                  <a:srgbClr val="FFFFFF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SCAFFOLD: Принцип 3.7 — оценивайте прогресс различными методами и делайте его видимым</a:t>
            </a:r>
            <a:endParaRPr lang="ru-RU" sz="12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855935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hape 2">
            <a:extLst>
              <a:ext uri="{FF2B5EF4-FFF2-40B4-BE49-F238E27FC236}">
                <a16:creationId xmlns:a16="http://schemas.microsoft.com/office/drawing/2014/main" id="{76694BAA-A86A-8455-FA8C-4EBCE37A1D76}"/>
              </a:ext>
            </a:extLst>
          </p:cNvPr>
          <p:cNvSpPr/>
          <p:nvPr/>
        </p:nvSpPr>
        <p:spPr>
          <a:xfrm>
            <a:off x="614680" y="1311501"/>
            <a:ext cx="11216640" cy="1645920"/>
          </a:xfrm>
          <a:prstGeom prst="rect">
            <a:avLst/>
          </a:prstGeom>
          <a:solidFill>
            <a:srgbClr val="D6F0F3"/>
          </a:solidFill>
          <a:ln w="12700">
            <a:solidFill>
              <a:srgbClr val="039AAA"/>
            </a:solidFill>
            <a:prstDash val="solid"/>
          </a:ln>
        </p:spPr>
        <p:txBody>
          <a:bodyPr/>
          <a:lstStyle/>
          <a:p>
            <a:pPr defTabSz="1219170">
              <a:defRPr/>
            </a:pPr>
            <a:endParaRPr lang="ru-RU" sz="24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Shape 3">
            <a:extLst>
              <a:ext uri="{FF2B5EF4-FFF2-40B4-BE49-F238E27FC236}">
                <a16:creationId xmlns:a16="http://schemas.microsoft.com/office/drawing/2014/main" id="{DD6E5F78-5EBF-7FD4-3FA9-7FE4C3A01576}"/>
              </a:ext>
            </a:extLst>
          </p:cNvPr>
          <p:cNvSpPr/>
          <p:nvPr/>
        </p:nvSpPr>
        <p:spPr>
          <a:xfrm>
            <a:off x="614680" y="1311501"/>
            <a:ext cx="121920" cy="1645920"/>
          </a:xfrm>
          <a:prstGeom prst="rect">
            <a:avLst/>
          </a:prstGeom>
          <a:solidFill>
            <a:srgbClr val="027A87"/>
          </a:solidFill>
          <a:ln w="12700">
            <a:solidFill>
              <a:srgbClr val="027A87"/>
            </a:solidFill>
            <a:prstDash val="solid"/>
          </a:ln>
        </p:spPr>
        <p:txBody>
          <a:bodyPr/>
          <a:lstStyle/>
          <a:p>
            <a:pPr defTabSz="1219170">
              <a:defRPr/>
            </a:pPr>
            <a:endParaRPr lang="ru-RU" sz="24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Text 4">
            <a:extLst>
              <a:ext uri="{FF2B5EF4-FFF2-40B4-BE49-F238E27FC236}">
                <a16:creationId xmlns:a16="http://schemas.microsoft.com/office/drawing/2014/main" id="{6784819C-0758-1F01-7CEB-52EE3C232D8C}"/>
              </a:ext>
            </a:extLst>
          </p:cNvPr>
          <p:cNvSpPr/>
          <p:nvPr/>
        </p:nvSpPr>
        <p:spPr>
          <a:xfrm>
            <a:off x="980440" y="1332837"/>
            <a:ext cx="10607040" cy="390144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467" b="1" noProof="1">
                <a:solidFill>
                  <a:srgbClr val="027A87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Задание по написанию за столом</a:t>
            </a:r>
            <a:endParaRPr lang="ru-RU" sz="1467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Text 5">
            <a:extLst>
              <a:ext uri="{FF2B5EF4-FFF2-40B4-BE49-F238E27FC236}">
                <a16:creationId xmlns:a16="http://schemas.microsoft.com/office/drawing/2014/main" id="{37AC66C4-3600-7FB1-D8E8-242E5DBCDFA8}"/>
              </a:ext>
            </a:extLst>
          </p:cNvPr>
          <p:cNvSpPr/>
          <p:nvPr/>
        </p:nvSpPr>
        <p:spPr>
          <a:xfrm>
            <a:off x="980439" y="1747365"/>
            <a:ext cx="10716260" cy="1036320"/>
          </a:xfrm>
          <a:prstGeom prst="rect">
            <a:avLst/>
          </a:prstGeom>
          <a:noFill/>
          <a:ln/>
        </p:spPr>
        <p:txBody>
          <a:bodyPr wrap="square" rtlCol="0" anchor="t"/>
          <a:lstStyle/>
          <a:p>
            <a:pPr defTabSz="1219170">
              <a:defRPr/>
            </a:pPr>
            <a:r>
              <a:rPr lang="ru-RU" sz="1467" i="1" noProof="1">
                <a:solidFill>
                  <a:srgbClr val="16303A"/>
                </a:solidFill>
                <a:latin typeface="Arial" panose="020B0604020202020204" pitchFamily="34" charset="0"/>
                <a:ea typeface="Georgia" pitchFamily="34" charset="-122"/>
                <a:cs typeface="Arial" panose="020B0604020202020204" pitchFamily="34" charset="0"/>
              </a:rPr>
              <a:t>Каждый стол составляет четыре новые карточки для Колоды А — две карточки присутствия и две карточки отсутствия — основанных на программах профессионального развития педагогов, существующих в ваших национальных контекстах. Каждая карточка описывает реальную характеристику реальной программы в двух предложениях, без названия индикатора или программы. индикатор, который она представляет, пишется на обороте.</a:t>
            </a:r>
            <a:endParaRPr lang="ru-RU" sz="1467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Shape 6">
            <a:extLst>
              <a:ext uri="{FF2B5EF4-FFF2-40B4-BE49-F238E27FC236}">
                <a16:creationId xmlns:a16="http://schemas.microsoft.com/office/drawing/2014/main" id="{3782594E-0149-89AF-0482-DDFB8D0D005B}"/>
              </a:ext>
            </a:extLst>
          </p:cNvPr>
          <p:cNvSpPr/>
          <p:nvPr/>
        </p:nvSpPr>
        <p:spPr>
          <a:xfrm>
            <a:off x="614680" y="3079341"/>
            <a:ext cx="11216640" cy="1121664"/>
          </a:xfrm>
          <a:prstGeom prst="rect">
            <a:avLst/>
          </a:prstGeom>
          <a:solidFill>
            <a:srgbClr val="FFFFFF"/>
          </a:solidFill>
          <a:ln w="10160">
            <a:solidFill>
              <a:srgbClr val="B2D8DE"/>
            </a:solidFill>
            <a:prstDash val="solid"/>
          </a:ln>
          <a:effectLst>
            <a:outerShdw blurRad="76200" dist="38100" dir="8100000" algn="bl" rotWithShape="0">
              <a:srgbClr val="000000">
                <a:alpha val="10000"/>
              </a:srgbClr>
            </a:outerShdw>
          </a:effectLst>
        </p:spPr>
        <p:txBody>
          <a:bodyPr/>
          <a:lstStyle/>
          <a:p>
            <a:pPr defTabSz="1219170">
              <a:defRPr/>
            </a:pPr>
            <a:endParaRPr lang="ru-RU" sz="24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Text 7">
            <a:extLst>
              <a:ext uri="{FF2B5EF4-FFF2-40B4-BE49-F238E27FC236}">
                <a16:creationId xmlns:a16="http://schemas.microsoft.com/office/drawing/2014/main" id="{9AA37128-A1AF-AB89-C73C-F58FC8929534}"/>
              </a:ext>
            </a:extLst>
          </p:cNvPr>
          <p:cNvSpPr/>
          <p:nvPr/>
        </p:nvSpPr>
        <p:spPr>
          <a:xfrm>
            <a:off x="858520" y="3114393"/>
            <a:ext cx="10728960" cy="36576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467" b="1" noProof="1">
                <a:solidFill>
                  <a:srgbClr val="027A87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Почему это более сложное задание:</a:t>
            </a:r>
            <a:endParaRPr lang="ru-RU" sz="1467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Text 8">
            <a:extLst>
              <a:ext uri="{FF2B5EF4-FFF2-40B4-BE49-F238E27FC236}">
                <a16:creationId xmlns:a16="http://schemas.microsoft.com/office/drawing/2014/main" id="{470FDED3-F831-EF01-43A7-C6B58707F659}"/>
              </a:ext>
            </a:extLst>
          </p:cNvPr>
          <p:cNvSpPr/>
          <p:nvPr/>
        </p:nvSpPr>
        <p:spPr>
          <a:xfrm>
            <a:off x="858520" y="3504537"/>
            <a:ext cx="10728960" cy="585216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467" noProof="1">
                <a:solidFill>
                  <a:srgbClr val="3D6673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Чтобы написать хорошую карточку «Снэп», нужно достаточно точно понимать индикатор, чтобы составить описание, которое однозначно иллюстрирует его — или его отсутствие — не называя его. Это другая когнитивная задача по сравнению с распознаванием, и она формирует более чёткое понимание.</a:t>
            </a:r>
            <a:endParaRPr lang="ru-RU" sz="1467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Text 9">
            <a:extLst>
              <a:ext uri="{FF2B5EF4-FFF2-40B4-BE49-F238E27FC236}">
                <a16:creationId xmlns:a16="http://schemas.microsoft.com/office/drawing/2014/main" id="{C2AD091C-6FF8-892C-BB67-B9CE832FB67E}"/>
              </a:ext>
            </a:extLst>
          </p:cNvPr>
          <p:cNvSpPr/>
          <p:nvPr/>
        </p:nvSpPr>
        <p:spPr>
          <a:xfrm>
            <a:off x="614680" y="4322925"/>
            <a:ext cx="10972800" cy="36576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600" b="1" noProof="1">
                <a:solidFill>
                  <a:srgbClr val="16303A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Шаблон карточки:</a:t>
            </a:r>
            <a:endParaRPr lang="ru-RU" sz="16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Shape 10">
            <a:extLst>
              <a:ext uri="{FF2B5EF4-FFF2-40B4-BE49-F238E27FC236}">
                <a16:creationId xmlns:a16="http://schemas.microsoft.com/office/drawing/2014/main" id="{2B25F288-700D-4754-C9AB-6322D33CE7E7}"/>
              </a:ext>
            </a:extLst>
          </p:cNvPr>
          <p:cNvSpPr/>
          <p:nvPr/>
        </p:nvSpPr>
        <p:spPr>
          <a:xfrm>
            <a:off x="614680" y="4761837"/>
            <a:ext cx="5303520" cy="1853184"/>
          </a:xfrm>
          <a:prstGeom prst="rect">
            <a:avLst/>
          </a:prstGeom>
          <a:solidFill>
            <a:srgbClr val="D6F0F3"/>
          </a:solidFill>
          <a:ln w="19050">
            <a:solidFill>
              <a:srgbClr val="027A87"/>
            </a:solidFill>
            <a:prstDash val="solid"/>
          </a:ln>
          <a:effectLst>
            <a:outerShdw blurRad="76200" dist="38100" dir="8100000" algn="bl" rotWithShape="0">
              <a:srgbClr val="000000">
                <a:alpha val="10000"/>
              </a:srgbClr>
            </a:outerShdw>
          </a:effectLst>
        </p:spPr>
        <p:txBody>
          <a:bodyPr/>
          <a:lstStyle/>
          <a:p>
            <a:pPr defTabSz="1219170">
              <a:defRPr/>
            </a:pPr>
            <a:endParaRPr lang="ru-RU" sz="24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Shape 11">
            <a:extLst>
              <a:ext uri="{FF2B5EF4-FFF2-40B4-BE49-F238E27FC236}">
                <a16:creationId xmlns:a16="http://schemas.microsoft.com/office/drawing/2014/main" id="{1F5D2DE6-4F58-43ED-9B03-5A8E188B53E7}"/>
              </a:ext>
            </a:extLst>
          </p:cNvPr>
          <p:cNvSpPr/>
          <p:nvPr/>
        </p:nvSpPr>
        <p:spPr>
          <a:xfrm>
            <a:off x="614680" y="4761837"/>
            <a:ext cx="5303520" cy="463296"/>
          </a:xfrm>
          <a:prstGeom prst="rect">
            <a:avLst/>
          </a:prstGeom>
          <a:solidFill>
            <a:srgbClr val="027A87"/>
          </a:solidFill>
          <a:ln w="12700">
            <a:solidFill>
              <a:srgbClr val="027A87"/>
            </a:solidFill>
            <a:prstDash val="solid"/>
          </a:ln>
        </p:spPr>
        <p:txBody>
          <a:bodyPr/>
          <a:lstStyle/>
          <a:p>
            <a:pPr defTabSz="1219170">
              <a:defRPr/>
            </a:pPr>
            <a:endParaRPr lang="ru-RU" sz="24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Text 12">
            <a:extLst>
              <a:ext uri="{FF2B5EF4-FFF2-40B4-BE49-F238E27FC236}">
                <a16:creationId xmlns:a16="http://schemas.microsoft.com/office/drawing/2014/main" id="{211E3F99-6BF5-3BC8-5258-98983D98CCA7}"/>
              </a:ext>
            </a:extLst>
          </p:cNvPr>
          <p:cNvSpPr/>
          <p:nvPr/>
        </p:nvSpPr>
        <p:spPr>
          <a:xfrm>
            <a:off x="797560" y="4761837"/>
            <a:ext cx="5181600" cy="463296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867" b="1" noProof="1">
                <a:solidFill>
                  <a:srgbClr val="FFFFFF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ЛИЦЕВАЯ СТОРОНА</a:t>
            </a:r>
            <a:endParaRPr lang="ru-RU" sz="1867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Text 13">
            <a:extLst>
              <a:ext uri="{FF2B5EF4-FFF2-40B4-BE49-F238E27FC236}">
                <a16:creationId xmlns:a16="http://schemas.microsoft.com/office/drawing/2014/main" id="{D91FF622-EA2D-B72A-C0B1-576D42293618}"/>
              </a:ext>
            </a:extLst>
          </p:cNvPr>
          <p:cNvSpPr/>
          <p:nvPr/>
        </p:nvSpPr>
        <p:spPr>
          <a:xfrm>
            <a:off x="736600" y="5371437"/>
            <a:ext cx="5181600" cy="1243584"/>
          </a:xfrm>
          <a:prstGeom prst="rect">
            <a:avLst/>
          </a:prstGeom>
          <a:noFill/>
          <a:ln/>
        </p:spPr>
        <p:txBody>
          <a:bodyPr wrap="square" rtlCol="0" anchor="t"/>
          <a:lstStyle/>
          <a:p>
            <a:pPr defTabSz="1219170">
              <a:defRPr/>
            </a:pPr>
            <a:r>
              <a:rPr lang="ru-RU" sz="1600" i="1" noProof="1">
                <a:solidFill>
                  <a:srgbClr val="16303A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Два предложения, описывающих характеристику реальной программы профессионального развития педагогов. Без названия индикатора. Без названия программы.</a:t>
            </a:r>
            <a:endParaRPr lang="ru-RU" sz="16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Shape 14">
            <a:extLst>
              <a:ext uri="{FF2B5EF4-FFF2-40B4-BE49-F238E27FC236}">
                <a16:creationId xmlns:a16="http://schemas.microsoft.com/office/drawing/2014/main" id="{F4A6A5A3-3BAF-2938-CA24-C22288061185}"/>
              </a:ext>
            </a:extLst>
          </p:cNvPr>
          <p:cNvSpPr/>
          <p:nvPr/>
        </p:nvSpPr>
        <p:spPr>
          <a:xfrm>
            <a:off x="6527800" y="4761837"/>
            <a:ext cx="5303520" cy="1853184"/>
          </a:xfrm>
          <a:prstGeom prst="rect">
            <a:avLst/>
          </a:prstGeom>
          <a:solidFill>
            <a:srgbClr val="FDF3DC"/>
          </a:solidFill>
          <a:ln w="19050">
            <a:solidFill>
              <a:srgbClr val="E8940A"/>
            </a:solidFill>
            <a:prstDash val="solid"/>
          </a:ln>
          <a:effectLst>
            <a:outerShdw blurRad="76200" dist="38100" dir="8100000" algn="bl" rotWithShape="0">
              <a:srgbClr val="000000">
                <a:alpha val="10000"/>
              </a:srgbClr>
            </a:outerShdw>
          </a:effectLst>
        </p:spPr>
        <p:txBody>
          <a:bodyPr/>
          <a:lstStyle/>
          <a:p>
            <a:pPr defTabSz="1219170">
              <a:defRPr/>
            </a:pPr>
            <a:endParaRPr lang="ru-RU" sz="24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Shape 15">
            <a:extLst>
              <a:ext uri="{FF2B5EF4-FFF2-40B4-BE49-F238E27FC236}">
                <a16:creationId xmlns:a16="http://schemas.microsoft.com/office/drawing/2014/main" id="{BC302FC9-8456-C36F-CA91-CC6CCBFE1A0A}"/>
              </a:ext>
            </a:extLst>
          </p:cNvPr>
          <p:cNvSpPr/>
          <p:nvPr/>
        </p:nvSpPr>
        <p:spPr>
          <a:xfrm>
            <a:off x="6527800" y="4761837"/>
            <a:ext cx="5303520" cy="463296"/>
          </a:xfrm>
          <a:prstGeom prst="rect">
            <a:avLst/>
          </a:prstGeom>
          <a:solidFill>
            <a:srgbClr val="E8940A"/>
          </a:solidFill>
          <a:ln w="12700">
            <a:solidFill>
              <a:srgbClr val="E8940A"/>
            </a:solidFill>
            <a:prstDash val="solid"/>
          </a:ln>
        </p:spPr>
        <p:txBody>
          <a:bodyPr/>
          <a:lstStyle/>
          <a:p>
            <a:pPr defTabSz="1219170">
              <a:defRPr/>
            </a:pPr>
            <a:endParaRPr lang="ru-RU" sz="24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Text 16">
            <a:extLst>
              <a:ext uri="{FF2B5EF4-FFF2-40B4-BE49-F238E27FC236}">
                <a16:creationId xmlns:a16="http://schemas.microsoft.com/office/drawing/2014/main" id="{75BA6BDE-4D3F-4E47-EF65-06D77B34BCBF}"/>
              </a:ext>
            </a:extLst>
          </p:cNvPr>
          <p:cNvSpPr/>
          <p:nvPr/>
        </p:nvSpPr>
        <p:spPr>
          <a:xfrm>
            <a:off x="6710680" y="4761837"/>
            <a:ext cx="5181600" cy="463296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867" b="1" noProof="1">
                <a:solidFill>
                  <a:srgbClr val="FFFFFF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ОБОРОТНАЯ СТОРОНА</a:t>
            </a:r>
            <a:endParaRPr lang="ru-RU" sz="1867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Text 17">
            <a:extLst>
              <a:ext uri="{FF2B5EF4-FFF2-40B4-BE49-F238E27FC236}">
                <a16:creationId xmlns:a16="http://schemas.microsoft.com/office/drawing/2014/main" id="{D4DA65EE-6A8C-953A-95D0-1C713CEA276E}"/>
              </a:ext>
            </a:extLst>
          </p:cNvPr>
          <p:cNvSpPr/>
          <p:nvPr/>
        </p:nvSpPr>
        <p:spPr>
          <a:xfrm>
            <a:off x="6710680" y="5371437"/>
            <a:ext cx="5181600" cy="1243584"/>
          </a:xfrm>
          <a:prstGeom prst="rect">
            <a:avLst/>
          </a:prstGeom>
          <a:noFill/>
          <a:ln/>
        </p:spPr>
        <p:txBody>
          <a:bodyPr wrap="square" rtlCol="0" anchor="t"/>
          <a:lstStyle/>
          <a:p>
            <a:pPr defTabSz="1219170">
              <a:defRPr/>
            </a:pPr>
            <a:r>
              <a:rPr lang="ru-RU" sz="1600" i="1" noProof="1">
                <a:solidFill>
                  <a:srgbClr val="16303A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Только номер и название индикатора качества.</a:t>
            </a:r>
            <a:endParaRPr lang="ru-RU" sz="16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defTabSz="1219170">
              <a:defRPr/>
            </a:pPr>
            <a:endParaRPr lang="ru-RU" sz="16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defTabSz="1219170">
              <a:defRPr/>
            </a:pPr>
            <a:r>
              <a:rPr lang="ru-RU" sz="1600" i="1" noProof="1">
                <a:solidFill>
                  <a:srgbClr val="16303A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Присутствие или отсутствие?</a:t>
            </a:r>
            <a:endParaRPr lang="ru-RU" sz="16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594D88D-2F0C-315D-7F18-8CCFBCDD595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75640" y="206997"/>
            <a:ext cx="11066780" cy="1080120"/>
          </a:xfrm>
        </p:spPr>
        <p:txBody>
          <a:bodyPr>
            <a:normAutofit/>
          </a:bodyPr>
          <a:lstStyle/>
          <a:p>
            <a:r>
              <a:rPr lang="ru-RU" noProof="1"/>
              <a:t>Раунд 2 – напишите свои собственные карты</a:t>
            </a:r>
          </a:p>
        </p:txBody>
      </p:sp>
    </p:spTree>
    <p:extLst>
      <p:ext uri="{BB962C8B-B14F-4D97-AF65-F5344CB8AC3E}">
        <p14:creationId xmlns:p14="http://schemas.microsoft.com/office/powerpoint/2010/main" val="91997653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642F14B-13FF-479B-2A23-11D3F3E2393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31519" y="515029"/>
            <a:ext cx="10380980" cy="1080120"/>
          </a:xfrm>
        </p:spPr>
        <p:txBody>
          <a:bodyPr>
            <a:normAutofit/>
          </a:bodyPr>
          <a:lstStyle/>
          <a:p>
            <a:r>
              <a:rPr lang="ru-RU" noProof="1"/>
              <a:t>Челлендж между столами: Обменяйтесь, сыграйте и сравните прочтения</a:t>
            </a:r>
          </a:p>
        </p:txBody>
      </p:sp>
      <p:sp>
        <p:nvSpPr>
          <p:cNvPr id="4" name="Shape 3">
            <a:extLst>
              <a:ext uri="{FF2B5EF4-FFF2-40B4-BE49-F238E27FC236}">
                <a16:creationId xmlns:a16="http://schemas.microsoft.com/office/drawing/2014/main" id="{FEB1E837-06B6-DA53-304A-55842F6BFFB2}"/>
              </a:ext>
            </a:extLst>
          </p:cNvPr>
          <p:cNvSpPr/>
          <p:nvPr/>
        </p:nvSpPr>
        <p:spPr>
          <a:xfrm>
            <a:off x="731520" y="1951610"/>
            <a:ext cx="10800081" cy="1121664"/>
          </a:xfrm>
          <a:prstGeom prst="rect">
            <a:avLst/>
          </a:prstGeom>
          <a:solidFill>
            <a:srgbClr val="FFFFFF"/>
          </a:solidFill>
          <a:ln w="6350">
            <a:solidFill>
              <a:srgbClr val="B2D8DE"/>
            </a:solidFill>
            <a:prstDash val="solid"/>
          </a:ln>
          <a:effectLst>
            <a:outerShdw blurRad="76200" dist="38100" dir="8100000" algn="bl" rotWithShape="0">
              <a:srgbClr val="000000">
                <a:alpha val="10000"/>
              </a:srgbClr>
            </a:outerShdw>
          </a:effectLst>
        </p:spPr>
        <p:txBody>
          <a:bodyPr/>
          <a:lstStyle/>
          <a:p>
            <a:pPr defTabSz="1219170">
              <a:defRPr/>
            </a:pPr>
            <a:endParaRPr lang="ru-RU" sz="2400" noProof="1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5" name="Shape 4">
            <a:extLst>
              <a:ext uri="{FF2B5EF4-FFF2-40B4-BE49-F238E27FC236}">
                <a16:creationId xmlns:a16="http://schemas.microsoft.com/office/drawing/2014/main" id="{D3944FE0-0970-18DA-3738-C00BEDB7075E}"/>
              </a:ext>
            </a:extLst>
          </p:cNvPr>
          <p:cNvSpPr/>
          <p:nvPr/>
        </p:nvSpPr>
        <p:spPr>
          <a:xfrm>
            <a:off x="877823" y="2256410"/>
            <a:ext cx="493047" cy="512064"/>
          </a:xfrm>
          <a:prstGeom prst="ellipse">
            <a:avLst/>
          </a:prstGeom>
          <a:solidFill>
            <a:srgbClr val="027A87"/>
          </a:solidFill>
          <a:ln w="12700">
            <a:solidFill>
              <a:srgbClr val="027A87"/>
            </a:solidFill>
            <a:prstDash val="solid"/>
          </a:ln>
        </p:spPr>
        <p:txBody>
          <a:bodyPr/>
          <a:lstStyle/>
          <a:p>
            <a:pPr defTabSz="1219170">
              <a:defRPr/>
            </a:pPr>
            <a:endParaRPr lang="ru-RU" sz="2400" noProof="1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6" name="Text 5">
            <a:extLst>
              <a:ext uri="{FF2B5EF4-FFF2-40B4-BE49-F238E27FC236}">
                <a16:creationId xmlns:a16="http://schemas.microsoft.com/office/drawing/2014/main" id="{B0732D5F-CE47-E234-BF0A-24FC5283E59F}"/>
              </a:ext>
            </a:extLst>
          </p:cNvPr>
          <p:cNvSpPr/>
          <p:nvPr/>
        </p:nvSpPr>
        <p:spPr>
          <a:xfrm>
            <a:off x="877823" y="2256410"/>
            <a:ext cx="493047" cy="512064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algn="ctr" defTabSz="1219170">
              <a:defRPr/>
            </a:pPr>
            <a:r>
              <a:rPr lang="ru-RU" sz="2133" b="1" noProof="1">
                <a:solidFill>
                  <a:srgbClr val="FFFFFF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1</a:t>
            </a:r>
            <a:endParaRPr lang="ru-RU" sz="2133" noProof="1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7" name="Text 6">
            <a:extLst>
              <a:ext uri="{FF2B5EF4-FFF2-40B4-BE49-F238E27FC236}">
                <a16:creationId xmlns:a16="http://schemas.microsoft.com/office/drawing/2014/main" id="{A32054C5-DF26-E1F6-13CB-5A6694E80FD5}"/>
              </a:ext>
            </a:extLst>
          </p:cNvPr>
          <p:cNvSpPr/>
          <p:nvPr/>
        </p:nvSpPr>
        <p:spPr>
          <a:xfrm>
            <a:off x="1609343" y="2023746"/>
            <a:ext cx="9626160" cy="390144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867" b="1" noProof="1">
                <a:solidFill>
                  <a:srgbClr val="027A87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Обмен</a:t>
            </a:r>
            <a:endParaRPr lang="ru-RU" sz="1867" noProof="1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8" name="Text 7">
            <a:extLst>
              <a:ext uri="{FF2B5EF4-FFF2-40B4-BE49-F238E27FC236}">
                <a16:creationId xmlns:a16="http://schemas.microsoft.com/office/drawing/2014/main" id="{7A517302-3963-DA5E-943D-5D0135C105DC}"/>
              </a:ext>
            </a:extLst>
          </p:cNvPr>
          <p:cNvSpPr/>
          <p:nvPr/>
        </p:nvSpPr>
        <p:spPr>
          <a:xfrm>
            <a:off x="1609343" y="2413890"/>
            <a:ext cx="9626160" cy="573024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867" noProof="1">
                <a:solidFill>
                  <a:srgbClr val="16303A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Столы передают свои четыре рукописные карточки столу слева. Правила те же, что и в Раунде 1.</a:t>
            </a:r>
            <a:endParaRPr lang="ru-RU" sz="1867" noProof="1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9" name="Shape 8">
            <a:extLst>
              <a:ext uri="{FF2B5EF4-FFF2-40B4-BE49-F238E27FC236}">
                <a16:creationId xmlns:a16="http://schemas.microsoft.com/office/drawing/2014/main" id="{08DD8666-7AF1-CB49-BFF5-14260AD18544}"/>
              </a:ext>
            </a:extLst>
          </p:cNvPr>
          <p:cNvSpPr/>
          <p:nvPr/>
        </p:nvSpPr>
        <p:spPr>
          <a:xfrm>
            <a:off x="731520" y="3231770"/>
            <a:ext cx="10800081" cy="1121664"/>
          </a:xfrm>
          <a:prstGeom prst="rect">
            <a:avLst/>
          </a:prstGeom>
          <a:solidFill>
            <a:srgbClr val="D6F0F3"/>
          </a:solidFill>
          <a:ln w="6350">
            <a:solidFill>
              <a:srgbClr val="B2D8DE"/>
            </a:solidFill>
            <a:prstDash val="solid"/>
          </a:ln>
          <a:effectLst>
            <a:outerShdw blurRad="76200" dist="38100" dir="8100000" algn="bl" rotWithShape="0">
              <a:srgbClr val="000000">
                <a:alpha val="10000"/>
              </a:srgbClr>
            </a:outerShdw>
          </a:effectLst>
        </p:spPr>
        <p:txBody>
          <a:bodyPr/>
          <a:lstStyle/>
          <a:p>
            <a:pPr defTabSz="1219170">
              <a:defRPr/>
            </a:pPr>
            <a:endParaRPr lang="ru-RU" sz="2400" noProof="1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0" name="Shape 9">
            <a:extLst>
              <a:ext uri="{FF2B5EF4-FFF2-40B4-BE49-F238E27FC236}">
                <a16:creationId xmlns:a16="http://schemas.microsoft.com/office/drawing/2014/main" id="{A7192DB2-9C26-91AA-8A0F-AAA19C58E231}"/>
              </a:ext>
            </a:extLst>
          </p:cNvPr>
          <p:cNvSpPr/>
          <p:nvPr/>
        </p:nvSpPr>
        <p:spPr>
          <a:xfrm>
            <a:off x="877823" y="3536570"/>
            <a:ext cx="493047" cy="512064"/>
          </a:xfrm>
          <a:prstGeom prst="ellipse">
            <a:avLst/>
          </a:prstGeom>
          <a:solidFill>
            <a:srgbClr val="027A87"/>
          </a:solidFill>
          <a:ln w="12700">
            <a:solidFill>
              <a:srgbClr val="027A87"/>
            </a:solidFill>
            <a:prstDash val="solid"/>
          </a:ln>
        </p:spPr>
        <p:txBody>
          <a:bodyPr/>
          <a:lstStyle/>
          <a:p>
            <a:pPr defTabSz="1219170">
              <a:defRPr/>
            </a:pPr>
            <a:endParaRPr lang="ru-RU" sz="2400" noProof="1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1" name="Text 10">
            <a:extLst>
              <a:ext uri="{FF2B5EF4-FFF2-40B4-BE49-F238E27FC236}">
                <a16:creationId xmlns:a16="http://schemas.microsoft.com/office/drawing/2014/main" id="{B07A8DF1-01A1-1BD1-C0F6-F50024F35E87}"/>
              </a:ext>
            </a:extLst>
          </p:cNvPr>
          <p:cNvSpPr/>
          <p:nvPr/>
        </p:nvSpPr>
        <p:spPr>
          <a:xfrm>
            <a:off x="877823" y="3536570"/>
            <a:ext cx="493047" cy="512064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algn="ctr" defTabSz="1219170">
              <a:defRPr/>
            </a:pPr>
            <a:r>
              <a:rPr lang="ru-RU" sz="2133" b="1" noProof="1">
                <a:solidFill>
                  <a:srgbClr val="FFFFFF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2</a:t>
            </a:r>
            <a:endParaRPr lang="ru-RU" sz="2133" noProof="1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2" name="Text 11">
            <a:extLst>
              <a:ext uri="{FF2B5EF4-FFF2-40B4-BE49-F238E27FC236}">
                <a16:creationId xmlns:a16="http://schemas.microsoft.com/office/drawing/2014/main" id="{4FDB2C17-00FB-5298-C9AB-3DC1D0E382EB}"/>
              </a:ext>
            </a:extLst>
          </p:cNvPr>
          <p:cNvSpPr/>
          <p:nvPr/>
        </p:nvSpPr>
        <p:spPr>
          <a:xfrm>
            <a:off x="1609343" y="3303906"/>
            <a:ext cx="9626160" cy="390144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867" b="1" noProof="1">
                <a:solidFill>
                  <a:srgbClr val="027A87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Игра</a:t>
            </a:r>
            <a:endParaRPr lang="ru-RU" sz="1867" noProof="1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3" name="Text 12">
            <a:extLst>
              <a:ext uri="{FF2B5EF4-FFF2-40B4-BE49-F238E27FC236}">
                <a16:creationId xmlns:a16="http://schemas.microsoft.com/office/drawing/2014/main" id="{7AE16AC0-4D3D-31AB-BF59-9CAF8D0DBD6C}"/>
              </a:ext>
            </a:extLst>
          </p:cNvPr>
          <p:cNvSpPr/>
          <p:nvPr/>
        </p:nvSpPr>
        <p:spPr>
          <a:xfrm>
            <a:off x="1609343" y="3694050"/>
            <a:ext cx="9626160" cy="573024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867" noProof="1">
                <a:solidFill>
                  <a:srgbClr val="16303A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Каждый стол играет короткий раунд с новыми карточками. Тот же соревновательный формат — первый, кто правильно хлопнет, оставляет карточку.</a:t>
            </a:r>
            <a:endParaRPr lang="ru-RU" sz="1867" noProof="1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4" name="Shape 13">
            <a:extLst>
              <a:ext uri="{FF2B5EF4-FFF2-40B4-BE49-F238E27FC236}">
                <a16:creationId xmlns:a16="http://schemas.microsoft.com/office/drawing/2014/main" id="{F6CD178F-F788-5405-A0F0-29249FB3441E}"/>
              </a:ext>
            </a:extLst>
          </p:cNvPr>
          <p:cNvSpPr/>
          <p:nvPr/>
        </p:nvSpPr>
        <p:spPr>
          <a:xfrm>
            <a:off x="731520" y="4511930"/>
            <a:ext cx="10800081" cy="1309666"/>
          </a:xfrm>
          <a:prstGeom prst="rect">
            <a:avLst/>
          </a:prstGeom>
          <a:solidFill>
            <a:srgbClr val="FFFFFF"/>
          </a:solidFill>
          <a:ln w="6350">
            <a:solidFill>
              <a:srgbClr val="B2D8DE"/>
            </a:solidFill>
            <a:prstDash val="solid"/>
          </a:ln>
          <a:effectLst>
            <a:outerShdw blurRad="76200" dist="38100" dir="8100000" algn="bl" rotWithShape="0">
              <a:srgbClr val="000000">
                <a:alpha val="10000"/>
              </a:srgbClr>
            </a:outerShdw>
          </a:effectLst>
        </p:spPr>
        <p:txBody>
          <a:bodyPr/>
          <a:lstStyle/>
          <a:p>
            <a:pPr defTabSz="1219170">
              <a:defRPr/>
            </a:pPr>
            <a:endParaRPr lang="ru-RU" sz="2400" noProof="1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5" name="Shape 14">
            <a:extLst>
              <a:ext uri="{FF2B5EF4-FFF2-40B4-BE49-F238E27FC236}">
                <a16:creationId xmlns:a16="http://schemas.microsoft.com/office/drawing/2014/main" id="{F285B1AA-066B-06FE-B932-BE72048BEBCC}"/>
              </a:ext>
            </a:extLst>
          </p:cNvPr>
          <p:cNvSpPr/>
          <p:nvPr/>
        </p:nvSpPr>
        <p:spPr>
          <a:xfrm>
            <a:off x="877823" y="4816730"/>
            <a:ext cx="493047" cy="512064"/>
          </a:xfrm>
          <a:prstGeom prst="ellipse">
            <a:avLst/>
          </a:prstGeom>
          <a:solidFill>
            <a:srgbClr val="E8940A"/>
          </a:solidFill>
          <a:ln w="12700">
            <a:solidFill>
              <a:srgbClr val="E8940A"/>
            </a:solidFill>
            <a:prstDash val="solid"/>
          </a:ln>
        </p:spPr>
        <p:txBody>
          <a:bodyPr/>
          <a:lstStyle/>
          <a:p>
            <a:pPr defTabSz="1219170">
              <a:defRPr/>
            </a:pPr>
            <a:endParaRPr lang="ru-RU" sz="2400" noProof="1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6" name="Text 15">
            <a:extLst>
              <a:ext uri="{FF2B5EF4-FFF2-40B4-BE49-F238E27FC236}">
                <a16:creationId xmlns:a16="http://schemas.microsoft.com/office/drawing/2014/main" id="{BB844BDD-060B-34A8-A4C9-6C2C6B4697FB}"/>
              </a:ext>
            </a:extLst>
          </p:cNvPr>
          <p:cNvSpPr/>
          <p:nvPr/>
        </p:nvSpPr>
        <p:spPr>
          <a:xfrm>
            <a:off x="877823" y="4816730"/>
            <a:ext cx="493047" cy="512064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algn="ctr" defTabSz="1219170">
              <a:defRPr/>
            </a:pPr>
            <a:r>
              <a:rPr lang="ru-RU" sz="2133" b="1" noProof="1">
                <a:solidFill>
                  <a:srgbClr val="FFFFFF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3</a:t>
            </a:r>
            <a:endParaRPr lang="ru-RU" sz="2133" noProof="1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7" name="Text 16">
            <a:extLst>
              <a:ext uri="{FF2B5EF4-FFF2-40B4-BE49-F238E27FC236}">
                <a16:creationId xmlns:a16="http://schemas.microsoft.com/office/drawing/2014/main" id="{8E508D2F-9FF9-8E7C-2D24-E9B2582F2875}"/>
              </a:ext>
            </a:extLst>
          </p:cNvPr>
          <p:cNvSpPr/>
          <p:nvPr/>
        </p:nvSpPr>
        <p:spPr>
          <a:xfrm>
            <a:off x="1609343" y="4473860"/>
            <a:ext cx="9626160" cy="390144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867" b="1" noProof="1">
                <a:solidFill>
                  <a:srgbClr val="E8940A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Сравнение прочтений</a:t>
            </a:r>
            <a:endParaRPr lang="ru-RU" sz="1867" noProof="1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8" name="Text 17">
            <a:extLst>
              <a:ext uri="{FF2B5EF4-FFF2-40B4-BE49-F238E27FC236}">
                <a16:creationId xmlns:a16="http://schemas.microsoft.com/office/drawing/2014/main" id="{11B89B44-8F6C-7608-0060-F47609036B90}"/>
              </a:ext>
            </a:extLst>
          </p:cNvPr>
          <p:cNvSpPr/>
          <p:nvPr/>
        </p:nvSpPr>
        <p:spPr>
          <a:xfrm>
            <a:off x="1609343" y="4974210"/>
            <a:ext cx="9626160" cy="573024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867" noProof="1">
                <a:solidFill>
                  <a:srgbClr val="16303A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После раунда стол, написавший карточки, даёт краткий вердикт — 30 секунд на карточку: правильно ли другой стол её разместил? Если нет — куда мы намеревались её отнести и почему?</a:t>
            </a:r>
            <a:endParaRPr lang="ru-RU" sz="1867" noProof="1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44338275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F15323A-015E-5DF1-1335-B1DC8228795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31520" y="455520"/>
            <a:ext cx="10312083" cy="1080120"/>
          </a:xfrm>
        </p:spPr>
        <p:txBody>
          <a:bodyPr>
            <a:normAutofit/>
          </a:bodyPr>
          <a:lstStyle/>
          <a:p>
            <a:r>
              <a:rPr lang="ru-RU" noProof="1"/>
              <a:t>Тот же аналитический приём — в более сложной обстановке</a:t>
            </a:r>
          </a:p>
        </p:txBody>
      </p:sp>
      <p:sp>
        <p:nvSpPr>
          <p:cNvPr id="4" name="Shape 3">
            <a:extLst>
              <a:ext uri="{FF2B5EF4-FFF2-40B4-BE49-F238E27FC236}">
                <a16:creationId xmlns:a16="http://schemas.microsoft.com/office/drawing/2014/main" id="{F0DE4722-47CC-369D-97FF-E082C8507BA9}"/>
              </a:ext>
            </a:extLst>
          </p:cNvPr>
          <p:cNvSpPr/>
          <p:nvPr/>
        </p:nvSpPr>
        <p:spPr>
          <a:xfrm>
            <a:off x="731520" y="1579328"/>
            <a:ext cx="11082528" cy="1975104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 w="12700">
            <a:solidFill>
              <a:srgbClr val="16303A"/>
            </a:solidFill>
            <a:prstDash val="solid"/>
          </a:ln>
        </p:spPr>
        <p:txBody>
          <a:bodyPr/>
          <a:lstStyle/>
          <a:p>
            <a:pPr defTabSz="1219170">
              <a:defRPr/>
            </a:pPr>
            <a:endParaRPr lang="ru-RU" sz="24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Text 4">
            <a:extLst>
              <a:ext uri="{FF2B5EF4-FFF2-40B4-BE49-F238E27FC236}">
                <a16:creationId xmlns:a16="http://schemas.microsoft.com/office/drawing/2014/main" id="{712032FF-05F9-4FE6-323E-AFD303FC9C2F}"/>
              </a:ext>
            </a:extLst>
          </p:cNvPr>
          <p:cNvSpPr/>
          <p:nvPr/>
        </p:nvSpPr>
        <p:spPr>
          <a:xfrm>
            <a:off x="975360" y="1579328"/>
            <a:ext cx="10850880" cy="1975104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733" i="1" noProof="1">
                <a:latin typeface="Arial" panose="020B0604020202020204" pitchFamily="34" charset="0"/>
                <a:ea typeface="Georgia" pitchFamily="34" charset="-122"/>
                <a:cs typeface="Arial" panose="020B0604020202020204" pitchFamily="34" charset="0"/>
              </a:rPr>
              <a:t>То, чем вы только что занимались — читали описание из двух предложений и соотносили его с индикатором качества — это именно то, что вы будете делать во второй половине дня с тремя реальными программами профессионального развития педагогов из региона. Программы будут сложнее, чем карточки. Индикаторы не будут написаны на обороте. Но аналитический приём — тот же, что вы отрабатывали последние 75 минут.</a:t>
            </a:r>
            <a:endParaRPr lang="ru-RU" sz="1733" noProof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Shape 5">
            <a:extLst>
              <a:ext uri="{FF2B5EF4-FFF2-40B4-BE49-F238E27FC236}">
                <a16:creationId xmlns:a16="http://schemas.microsoft.com/office/drawing/2014/main" id="{EE5A6232-037E-7098-BECA-4F9752AF76D8}"/>
              </a:ext>
            </a:extLst>
          </p:cNvPr>
          <p:cNvSpPr/>
          <p:nvPr/>
        </p:nvSpPr>
        <p:spPr>
          <a:xfrm>
            <a:off x="731520" y="3725120"/>
            <a:ext cx="3474720" cy="1828800"/>
          </a:xfrm>
          <a:prstGeom prst="rect">
            <a:avLst/>
          </a:prstGeom>
          <a:solidFill>
            <a:srgbClr val="D6F0F3"/>
          </a:solidFill>
          <a:ln w="12700">
            <a:solidFill>
              <a:srgbClr val="039AAA"/>
            </a:solidFill>
            <a:prstDash val="solid"/>
          </a:ln>
          <a:effectLst>
            <a:outerShdw blurRad="76200" dist="38100" dir="8100000" algn="bl" rotWithShape="0">
              <a:srgbClr val="000000">
                <a:alpha val="10000"/>
              </a:srgbClr>
            </a:outerShdw>
          </a:effectLst>
        </p:spPr>
        <p:txBody>
          <a:bodyPr/>
          <a:lstStyle/>
          <a:p>
            <a:pPr defTabSz="1219170">
              <a:defRPr/>
            </a:pPr>
            <a:endParaRPr lang="ru-RU" sz="24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Shape 6">
            <a:extLst>
              <a:ext uri="{FF2B5EF4-FFF2-40B4-BE49-F238E27FC236}">
                <a16:creationId xmlns:a16="http://schemas.microsoft.com/office/drawing/2014/main" id="{B887027C-766D-DA0C-3202-08F90A5BAEF5}"/>
              </a:ext>
            </a:extLst>
          </p:cNvPr>
          <p:cNvSpPr/>
          <p:nvPr/>
        </p:nvSpPr>
        <p:spPr>
          <a:xfrm>
            <a:off x="731520" y="3725120"/>
            <a:ext cx="3474720" cy="463296"/>
          </a:xfrm>
          <a:prstGeom prst="rect">
            <a:avLst/>
          </a:prstGeom>
          <a:solidFill>
            <a:srgbClr val="027A87"/>
          </a:solidFill>
          <a:ln w="12700">
            <a:solidFill>
              <a:srgbClr val="027A87"/>
            </a:solidFill>
            <a:prstDash val="solid"/>
          </a:ln>
        </p:spPr>
        <p:txBody>
          <a:bodyPr/>
          <a:lstStyle/>
          <a:p>
            <a:pPr defTabSz="1219170">
              <a:defRPr/>
            </a:pPr>
            <a:endParaRPr lang="ru-RU" sz="24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Text 7">
            <a:extLst>
              <a:ext uri="{FF2B5EF4-FFF2-40B4-BE49-F238E27FC236}">
                <a16:creationId xmlns:a16="http://schemas.microsoft.com/office/drawing/2014/main" id="{35B9A194-5F8B-6968-B1E7-3C403F7E556B}"/>
              </a:ext>
            </a:extLst>
          </p:cNvPr>
          <p:cNvSpPr/>
          <p:nvPr/>
        </p:nvSpPr>
        <p:spPr>
          <a:xfrm>
            <a:off x="877824" y="3725120"/>
            <a:ext cx="3194304" cy="463296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733" b="1" noProof="1">
                <a:solidFill>
                  <a:srgbClr val="FFFFFF"/>
                </a:solidFill>
                <a:latin typeface="Arial" panose="020B0604020202020204" pitchFamily="34" charset="0"/>
                <a:ea typeface="Georgia" pitchFamily="34" charset="-122"/>
                <a:cs typeface="Arial" panose="020B0604020202020204" pitchFamily="34" charset="0"/>
              </a:rPr>
              <a:t>Раунд 1</a:t>
            </a:r>
            <a:endParaRPr lang="ru-RU" sz="1733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Text 8">
            <a:extLst>
              <a:ext uri="{FF2B5EF4-FFF2-40B4-BE49-F238E27FC236}">
                <a16:creationId xmlns:a16="http://schemas.microsoft.com/office/drawing/2014/main" id="{C5F306DD-0DC5-446D-47A8-272057457581}"/>
              </a:ext>
            </a:extLst>
          </p:cNvPr>
          <p:cNvSpPr/>
          <p:nvPr/>
        </p:nvSpPr>
        <p:spPr>
          <a:xfrm>
            <a:off x="877824" y="4237184"/>
            <a:ext cx="3194304" cy="121920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467" noProof="1">
                <a:solidFill>
                  <a:srgbClr val="16303A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16 подготовленных описаний из двух предложений</a:t>
            </a:r>
            <a:endParaRPr lang="ru-RU" sz="1467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Text 9">
            <a:extLst>
              <a:ext uri="{FF2B5EF4-FFF2-40B4-BE49-F238E27FC236}">
                <a16:creationId xmlns:a16="http://schemas.microsoft.com/office/drawing/2014/main" id="{37DAA554-95CA-15B7-90FE-B31F273AD583}"/>
              </a:ext>
            </a:extLst>
          </p:cNvPr>
          <p:cNvSpPr/>
          <p:nvPr/>
        </p:nvSpPr>
        <p:spPr>
          <a:xfrm>
            <a:off x="4242816" y="4334720"/>
            <a:ext cx="268224" cy="512064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algn="ctr" defTabSz="1219170">
              <a:defRPr/>
            </a:pPr>
            <a:r>
              <a:rPr lang="ru-RU" sz="2400" b="1" noProof="1">
                <a:solidFill>
                  <a:srgbClr val="027A87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→</a:t>
            </a:r>
            <a:endParaRPr lang="ru-RU" sz="24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Shape 10">
            <a:extLst>
              <a:ext uri="{FF2B5EF4-FFF2-40B4-BE49-F238E27FC236}">
                <a16:creationId xmlns:a16="http://schemas.microsoft.com/office/drawing/2014/main" id="{79007BB3-0837-DB0E-B81F-03E44A679E77}"/>
              </a:ext>
            </a:extLst>
          </p:cNvPr>
          <p:cNvSpPr/>
          <p:nvPr/>
        </p:nvSpPr>
        <p:spPr>
          <a:xfrm>
            <a:off x="4535424" y="3725120"/>
            <a:ext cx="3474720" cy="1828800"/>
          </a:xfrm>
          <a:prstGeom prst="rect">
            <a:avLst/>
          </a:prstGeom>
          <a:solidFill>
            <a:srgbClr val="D6F0F3"/>
          </a:solidFill>
          <a:ln w="12700">
            <a:solidFill>
              <a:srgbClr val="039AAA"/>
            </a:solidFill>
            <a:prstDash val="solid"/>
          </a:ln>
          <a:effectLst>
            <a:outerShdw blurRad="76200" dist="38100" dir="8100000" algn="bl" rotWithShape="0">
              <a:srgbClr val="000000">
                <a:alpha val="10000"/>
              </a:srgbClr>
            </a:outerShdw>
          </a:effectLst>
        </p:spPr>
        <p:txBody>
          <a:bodyPr/>
          <a:lstStyle/>
          <a:p>
            <a:pPr defTabSz="1219170">
              <a:defRPr/>
            </a:pPr>
            <a:endParaRPr lang="ru-RU" sz="24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Shape 11">
            <a:extLst>
              <a:ext uri="{FF2B5EF4-FFF2-40B4-BE49-F238E27FC236}">
                <a16:creationId xmlns:a16="http://schemas.microsoft.com/office/drawing/2014/main" id="{41D7DA2D-1D30-40B3-766A-886696D20C22}"/>
              </a:ext>
            </a:extLst>
          </p:cNvPr>
          <p:cNvSpPr/>
          <p:nvPr/>
        </p:nvSpPr>
        <p:spPr>
          <a:xfrm>
            <a:off x="4535424" y="3725120"/>
            <a:ext cx="3474720" cy="463296"/>
          </a:xfrm>
          <a:prstGeom prst="rect">
            <a:avLst/>
          </a:prstGeom>
          <a:solidFill>
            <a:srgbClr val="027A87"/>
          </a:solidFill>
          <a:ln w="12700">
            <a:solidFill>
              <a:srgbClr val="027A87"/>
            </a:solidFill>
            <a:prstDash val="solid"/>
          </a:ln>
        </p:spPr>
        <p:txBody>
          <a:bodyPr/>
          <a:lstStyle/>
          <a:p>
            <a:pPr defTabSz="1219170">
              <a:defRPr/>
            </a:pPr>
            <a:endParaRPr lang="ru-RU" sz="24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Text 12">
            <a:extLst>
              <a:ext uri="{FF2B5EF4-FFF2-40B4-BE49-F238E27FC236}">
                <a16:creationId xmlns:a16="http://schemas.microsoft.com/office/drawing/2014/main" id="{3A21F772-8590-CE46-8A7F-0629F4D73A27}"/>
              </a:ext>
            </a:extLst>
          </p:cNvPr>
          <p:cNvSpPr/>
          <p:nvPr/>
        </p:nvSpPr>
        <p:spPr>
          <a:xfrm>
            <a:off x="4681728" y="3725120"/>
            <a:ext cx="3194304" cy="463296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733" b="1" noProof="1">
                <a:solidFill>
                  <a:srgbClr val="FFFFFF"/>
                </a:solidFill>
                <a:latin typeface="Arial" panose="020B0604020202020204" pitchFamily="34" charset="0"/>
                <a:ea typeface="Georgia" pitchFamily="34" charset="-122"/>
                <a:cs typeface="Arial" panose="020B0604020202020204" pitchFamily="34" charset="0"/>
              </a:rPr>
              <a:t>Раунд 2</a:t>
            </a:r>
            <a:endParaRPr lang="ru-RU" sz="1733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Text 13">
            <a:extLst>
              <a:ext uri="{FF2B5EF4-FFF2-40B4-BE49-F238E27FC236}">
                <a16:creationId xmlns:a16="http://schemas.microsoft.com/office/drawing/2014/main" id="{76CAA7A1-3688-8CFC-21F9-937E9F0BBDA9}"/>
              </a:ext>
            </a:extLst>
          </p:cNvPr>
          <p:cNvSpPr/>
          <p:nvPr/>
        </p:nvSpPr>
        <p:spPr>
          <a:xfrm>
            <a:off x="4681728" y="4237184"/>
            <a:ext cx="3194304" cy="121920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467" noProof="1">
                <a:solidFill>
                  <a:srgbClr val="16303A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4 карточки, написанные из вашего собственного контекста</a:t>
            </a:r>
            <a:endParaRPr lang="ru-RU" sz="1467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Text 14">
            <a:extLst>
              <a:ext uri="{FF2B5EF4-FFF2-40B4-BE49-F238E27FC236}">
                <a16:creationId xmlns:a16="http://schemas.microsoft.com/office/drawing/2014/main" id="{8BBB0093-DBBC-4CC0-9A03-5FC42910FDDD}"/>
              </a:ext>
            </a:extLst>
          </p:cNvPr>
          <p:cNvSpPr/>
          <p:nvPr/>
        </p:nvSpPr>
        <p:spPr>
          <a:xfrm>
            <a:off x="8046720" y="4334720"/>
            <a:ext cx="268224" cy="512064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algn="ctr" defTabSz="1219170">
              <a:defRPr/>
            </a:pPr>
            <a:r>
              <a:rPr lang="ru-RU" sz="2400" b="1" noProof="1">
                <a:solidFill>
                  <a:srgbClr val="027A87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→</a:t>
            </a:r>
            <a:endParaRPr lang="ru-RU" sz="24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Shape 15">
            <a:extLst>
              <a:ext uri="{FF2B5EF4-FFF2-40B4-BE49-F238E27FC236}">
                <a16:creationId xmlns:a16="http://schemas.microsoft.com/office/drawing/2014/main" id="{AE55370A-D7A4-2438-67A9-8B4B20EC2115}"/>
              </a:ext>
            </a:extLst>
          </p:cNvPr>
          <p:cNvSpPr/>
          <p:nvPr/>
        </p:nvSpPr>
        <p:spPr>
          <a:xfrm>
            <a:off x="8339328" y="3725120"/>
            <a:ext cx="3474720" cy="1828800"/>
          </a:xfrm>
          <a:prstGeom prst="rect">
            <a:avLst/>
          </a:prstGeom>
          <a:solidFill>
            <a:srgbClr val="D6F0F3"/>
          </a:solidFill>
          <a:ln w="12700">
            <a:solidFill>
              <a:srgbClr val="039AAA"/>
            </a:solidFill>
            <a:prstDash val="solid"/>
          </a:ln>
          <a:effectLst>
            <a:outerShdw blurRad="76200" dist="38100" dir="8100000" algn="bl" rotWithShape="0">
              <a:srgbClr val="000000">
                <a:alpha val="10000"/>
              </a:srgbClr>
            </a:outerShdw>
          </a:effectLst>
        </p:spPr>
        <p:txBody>
          <a:bodyPr/>
          <a:lstStyle/>
          <a:p>
            <a:pPr defTabSz="1219170">
              <a:defRPr/>
            </a:pPr>
            <a:endParaRPr lang="ru-RU" sz="24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Shape 16">
            <a:extLst>
              <a:ext uri="{FF2B5EF4-FFF2-40B4-BE49-F238E27FC236}">
                <a16:creationId xmlns:a16="http://schemas.microsoft.com/office/drawing/2014/main" id="{3BBA37A8-65F1-06C7-A233-3420108763FA}"/>
              </a:ext>
            </a:extLst>
          </p:cNvPr>
          <p:cNvSpPr/>
          <p:nvPr/>
        </p:nvSpPr>
        <p:spPr>
          <a:xfrm>
            <a:off x="8339328" y="3725120"/>
            <a:ext cx="3474720" cy="463296"/>
          </a:xfrm>
          <a:prstGeom prst="rect">
            <a:avLst/>
          </a:prstGeom>
          <a:solidFill>
            <a:srgbClr val="027A87"/>
          </a:solidFill>
          <a:ln w="12700">
            <a:solidFill>
              <a:srgbClr val="027A87"/>
            </a:solidFill>
            <a:prstDash val="solid"/>
          </a:ln>
        </p:spPr>
        <p:txBody>
          <a:bodyPr/>
          <a:lstStyle/>
          <a:p>
            <a:pPr defTabSz="1219170">
              <a:defRPr/>
            </a:pPr>
            <a:endParaRPr lang="ru-RU" sz="24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Text 17">
            <a:extLst>
              <a:ext uri="{FF2B5EF4-FFF2-40B4-BE49-F238E27FC236}">
                <a16:creationId xmlns:a16="http://schemas.microsoft.com/office/drawing/2014/main" id="{BC9D637E-4C3E-8105-F776-962921823B3E}"/>
              </a:ext>
            </a:extLst>
          </p:cNvPr>
          <p:cNvSpPr/>
          <p:nvPr/>
        </p:nvSpPr>
        <p:spPr>
          <a:xfrm>
            <a:off x="8485632" y="3725120"/>
            <a:ext cx="3194304" cy="463296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733" b="1" noProof="1">
                <a:solidFill>
                  <a:srgbClr val="FFFFFF"/>
                </a:solidFill>
                <a:latin typeface="Arial" panose="020B0604020202020204" pitchFamily="34" charset="0"/>
                <a:ea typeface="Georgia" pitchFamily="34" charset="-122"/>
                <a:cs typeface="Arial" panose="020B0604020202020204" pitchFamily="34" charset="0"/>
              </a:rPr>
              <a:t>Сессия 4</a:t>
            </a:r>
            <a:endParaRPr lang="ru-RU" sz="1733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Text 18">
            <a:extLst>
              <a:ext uri="{FF2B5EF4-FFF2-40B4-BE49-F238E27FC236}">
                <a16:creationId xmlns:a16="http://schemas.microsoft.com/office/drawing/2014/main" id="{A7BC8CFD-5A7C-7C2A-93F1-74C8DD679A12}"/>
              </a:ext>
            </a:extLst>
          </p:cNvPr>
          <p:cNvSpPr/>
          <p:nvPr/>
        </p:nvSpPr>
        <p:spPr>
          <a:xfrm>
            <a:off x="8485632" y="4237184"/>
            <a:ext cx="3194304" cy="121920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467" noProof="1">
                <a:solidFill>
                  <a:srgbClr val="16303A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3 реальных региональных программы профессионального развития педагогов — полная сложность</a:t>
            </a:r>
            <a:endParaRPr lang="ru-RU" sz="1467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" name="Shape 19">
            <a:extLst>
              <a:ext uri="{FF2B5EF4-FFF2-40B4-BE49-F238E27FC236}">
                <a16:creationId xmlns:a16="http://schemas.microsoft.com/office/drawing/2014/main" id="{4C17AC61-E7EF-37C3-C933-BB3BC75F865E}"/>
              </a:ext>
            </a:extLst>
          </p:cNvPr>
          <p:cNvSpPr/>
          <p:nvPr/>
        </p:nvSpPr>
        <p:spPr>
          <a:xfrm>
            <a:off x="731520" y="5724608"/>
            <a:ext cx="11216640" cy="414528"/>
          </a:xfrm>
          <a:prstGeom prst="rect">
            <a:avLst/>
          </a:prstGeom>
          <a:solidFill>
            <a:srgbClr val="E8940A"/>
          </a:solidFill>
          <a:ln w="12700">
            <a:solidFill>
              <a:srgbClr val="E8940A"/>
            </a:solidFill>
            <a:prstDash val="solid"/>
          </a:ln>
        </p:spPr>
        <p:txBody>
          <a:bodyPr/>
          <a:lstStyle/>
          <a:p>
            <a:pPr defTabSz="1219170">
              <a:defRPr/>
            </a:pPr>
            <a:endParaRPr lang="ru-RU" sz="24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" name="Text 20">
            <a:extLst>
              <a:ext uri="{FF2B5EF4-FFF2-40B4-BE49-F238E27FC236}">
                <a16:creationId xmlns:a16="http://schemas.microsoft.com/office/drawing/2014/main" id="{159EFA1E-2AB3-7FBE-089F-561B5B088588}"/>
              </a:ext>
            </a:extLst>
          </p:cNvPr>
          <p:cNvSpPr/>
          <p:nvPr/>
        </p:nvSpPr>
        <p:spPr>
          <a:xfrm>
            <a:off x="731520" y="5724608"/>
            <a:ext cx="11216640" cy="414528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algn="ctr" defTabSz="1219170">
              <a:defRPr/>
            </a:pPr>
            <a:r>
              <a:rPr lang="ru-RU" sz="1200" b="1" noProof="1">
                <a:solidFill>
                  <a:srgbClr val="FFFFFF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SCAFFOLD: Принцип 3.4 — смещение акцента с преподавания на фасилитацию обучения. Знания уже были в аудитории.</a:t>
            </a:r>
            <a:endParaRPr lang="ru-RU" sz="12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2" name="Text 21">
            <a:extLst>
              <a:ext uri="{FF2B5EF4-FFF2-40B4-BE49-F238E27FC236}">
                <a16:creationId xmlns:a16="http://schemas.microsoft.com/office/drawing/2014/main" id="{61BC86AA-CDA3-3140-6B33-4A74F8C420EE}"/>
              </a:ext>
            </a:extLst>
          </p:cNvPr>
          <p:cNvSpPr/>
          <p:nvPr/>
        </p:nvSpPr>
        <p:spPr>
          <a:xfrm>
            <a:off x="731520" y="6248864"/>
            <a:ext cx="11216640" cy="341376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333" i="1" noProof="1">
                <a:solidFill>
                  <a:srgbClr val="5C7A84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Материалы для Сессии 4: подготовленные пакеты кейсов — по одному на стол. Соберите все рукописные карточки Раунда 2 со столов.</a:t>
            </a:r>
            <a:endParaRPr lang="ru-RU" sz="1333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1268177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>
          <a:extLst>
            <a:ext uri="{FF2B5EF4-FFF2-40B4-BE49-F238E27FC236}">
              <a16:creationId xmlns:a16="http://schemas.microsoft.com/office/drawing/2014/main" id="{025527CD-FDB0-7814-C34F-36C6624777C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51DB499-789A-695D-5F41-5D0C40A4139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3099" y="197288"/>
            <a:ext cx="7815651" cy="1080120"/>
          </a:xfrm>
        </p:spPr>
        <p:txBody>
          <a:bodyPr/>
          <a:lstStyle/>
          <a:p>
            <a:r>
              <a:rPr lang="ru-RU" noProof="1"/>
              <a:t>СЕССИЯ 3  |  СПИСОК МАТЕРИАЛОВ</a:t>
            </a:r>
          </a:p>
        </p:txBody>
      </p:sp>
      <p:sp>
        <p:nvSpPr>
          <p:cNvPr id="3" name="Shape 2">
            <a:extLst>
              <a:ext uri="{FF2B5EF4-FFF2-40B4-BE49-F238E27FC236}">
                <a16:creationId xmlns:a16="http://schemas.microsoft.com/office/drawing/2014/main" id="{FDC756A4-4996-3462-DA71-1A320531AD6C}"/>
              </a:ext>
            </a:extLst>
          </p:cNvPr>
          <p:cNvSpPr/>
          <p:nvPr/>
        </p:nvSpPr>
        <p:spPr>
          <a:xfrm>
            <a:off x="543099" y="1082336"/>
            <a:ext cx="11277600" cy="755904"/>
          </a:xfrm>
          <a:prstGeom prst="rect">
            <a:avLst/>
          </a:prstGeom>
          <a:solidFill>
            <a:srgbClr val="FFFFFF"/>
          </a:solidFill>
          <a:ln w="5080">
            <a:solidFill>
              <a:srgbClr val="B2D8DE"/>
            </a:solidFill>
            <a:prstDash val="solid"/>
          </a:ln>
        </p:spPr>
        <p:txBody>
          <a:bodyPr/>
          <a:lstStyle/>
          <a:p>
            <a:pPr defTabSz="1219170">
              <a:defRPr/>
            </a:pPr>
            <a:endParaRPr lang="ru-RU" sz="2400" noProof="1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4" name="Shape 3">
            <a:extLst>
              <a:ext uri="{FF2B5EF4-FFF2-40B4-BE49-F238E27FC236}">
                <a16:creationId xmlns:a16="http://schemas.microsoft.com/office/drawing/2014/main" id="{01786C51-1605-5647-4292-B4EB600FC6A5}"/>
              </a:ext>
            </a:extLst>
          </p:cNvPr>
          <p:cNvSpPr/>
          <p:nvPr/>
        </p:nvSpPr>
        <p:spPr>
          <a:xfrm>
            <a:off x="665019" y="1277408"/>
            <a:ext cx="316992" cy="316992"/>
          </a:xfrm>
          <a:prstGeom prst="rect">
            <a:avLst/>
          </a:prstGeom>
          <a:solidFill>
            <a:srgbClr val="FFFFFF"/>
          </a:solidFill>
          <a:ln w="19050">
            <a:solidFill>
              <a:srgbClr val="027A87"/>
            </a:solidFill>
            <a:prstDash val="solid"/>
          </a:ln>
        </p:spPr>
        <p:txBody>
          <a:bodyPr/>
          <a:lstStyle/>
          <a:p>
            <a:pPr defTabSz="1219170">
              <a:defRPr/>
            </a:pPr>
            <a:endParaRPr lang="ru-RU" sz="2400" noProof="1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5" name="Text 4">
            <a:extLst>
              <a:ext uri="{FF2B5EF4-FFF2-40B4-BE49-F238E27FC236}">
                <a16:creationId xmlns:a16="http://schemas.microsoft.com/office/drawing/2014/main" id="{5B7B519D-1E95-3B33-D265-FF15EA74A8C1}"/>
              </a:ext>
            </a:extLst>
          </p:cNvPr>
          <p:cNvSpPr/>
          <p:nvPr/>
        </p:nvSpPr>
        <p:spPr>
          <a:xfrm>
            <a:off x="1213659" y="1082336"/>
            <a:ext cx="4267200" cy="755904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467" b="1" noProof="1">
                <a:solidFill>
                  <a:srgbClr val="16303A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Стопка А — Карточки с описаниями профессионального развития педагогов</a:t>
            </a:r>
            <a:endParaRPr lang="ru-RU" sz="1467" noProof="1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6" name="Text 5">
            <a:extLst>
              <a:ext uri="{FF2B5EF4-FFF2-40B4-BE49-F238E27FC236}">
                <a16:creationId xmlns:a16="http://schemas.microsoft.com/office/drawing/2014/main" id="{0474E5F3-8B02-C430-5AA5-D1C9F8B7D557}"/>
              </a:ext>
            </a:extLst>
          </p:cNvPr>
          <p:cNvSpPr/>
          <p:nvPr/>
        </p:nvSpPr>
        <p:spPr>
          <a:xfrm>
            <a:off x="5602779" y="1082336"/>
            <a:ext cx="6217920" cy="755904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400" noProof="1">
                <a:solidFill>
                  <a:srgbClr val="3D6673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16 на стол  |  8 присутствия, 8 отсутствия  |  предварительно рассортированы лицом вниз  |  подготовить заранее</a:t>
            </a:r>
            <a:endParaRPr lang="ru-RU" sz="1400" noProof="1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7" name="Shape 6">
            <a:extLst>
              <a:ext uri="{FF2B5EF4-FFF2-40B4-BE49-F238E27FC236}">
                <a16:creationId xmlns:a16="http://schemas.microsoft.com/office/drawing/2014/main" id="{7E49C132-C44F-F7CC-8CB7-596D38492127}"/>
              </a:ext>
            </a:extLst>
          </p:cNvPr>
          <p:cNvSpPr/>
          <p:nvPr/>
        </p:nvSpPr>
        <p:spPr>
          <a:xfrm>
            <a:off x="543099" y="1960160"/>
            <a:ext cx="11277600" cy="755904"/>
          </a:xfrm>
          <a:prstGeom prst="rect">
            <a:avLst/>
          </a:prstGeom>
          <a:solidFill>
            <a:srgbClr val="D6F0F3"/>
          </a:solidFill>
          <a:ln w="5080">
            <a:solidFill>
              <a:srgbClr val="B2D8DE"/>
            </a:solidFill>
            <a:prstDash val="solid"/>
          </a:ln>
        </p:spPr>
        <p:txBody>
          <a:bodyPr/>
          <a:lstStyle/>
          <a:p>
            <a:pPr defTabSz="1219170">
              <a:defRPr/>
            </a:pPr>
            <a:endParaRPr lang="ru-RU" sz="2400" noProof="1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8" name="Shape 7">
            <a:extLst>
              <a:ext uri="{FF2B5EF4-FFF2-40B4-BE49-F238E27FC236}">
                <a16:creationId xmlns:a16="http://schemas.microsoft.com/office/drawing/2014/main" id="{5B1CD303-0B3D-D70F-2165-143E42BFB80F}"/>
              </a:ext>
            </a:extLst>
          </p:cNvPr>
          <p:cNvSpPr/>
          <p:nvPr/>
        </p:nvSpPr>
        <p:spPr>
          <a:xfrm>
            <a:off x="665019" y="2155232"/>
            <a:ext cx="316992" cy="316992"/>
          </a:xfrm>
          <a:prstGeom prst="rect">
            <a:avLst/>
          </a:prstGeom>
          <a:solidFill>
            <a:srgbClr val="FFFFFF"/>
          </a:solidFill>
          <a:ln w="19050">
            <a:solidFill>
              <a:srgbClr val="027A87"/>
            </a:solidFill>
            <a:prstDash val="solid"/>
          </a:ln>
        </p:spPr>
        <p:txBody>
          <a:bodyPr/>
          <a:lstStyle/>
          <a:p>
            <a:pPr defTabSz="1219170">
              <a:defRPr/>
            </a:pPr>
            <a:endParaRPr lang="ru-RU" sz="2400" noProof="1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9" name="Text 8">
            <a:extLst>
              <a:ext uri="{FF2B5EF4-FFF2-40B4-BE49-F238E27FC236}">
                <a16:creationId xmlns:a16="http://schemas.microsoft.com/office/drawing/2014/main" id="{42CEA0C8-B540-FDE0-7CB8-5EABB4A6EEF1}"/>
              </a:ext>
            </a:extLst>
          </p:cNvPr>
          <p:cNvSpPr/>
          <p:nvPr/>
        </p:nvSpPr>
        <p:spPr>
          <a:xfrm>
            <a:off x="1213659" y="1960160"/>
            <a:ext cx="4267200" cy="755904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467" b="1" noProof="1">
                <a:solidFill>
                  <a:srgbClr val="16303A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Стопка Б — Карточки с индикаторами качества</a:t>
            </a:r>
            <a:endParaRPr lang="ru-RU" sz="1467" noProof="1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0" name="Text 9">
            <a:extLst>
              <a:ext uri="{FF2B5EF4-FFF2-40B4-BE49-F238E27FC236}">
                <a16:creationId xmlns:a16="http://schemas.microsoft.com/office/drawing/2014/main" id="{FA1F19E5-F0BA-2F07-D8C6-A6D23C70ADB1}"/>
              </a:ext>
            </a:extLst>
          </p:cNvPr>
          <p:cNvSpPr/>
          <p:nvPr/>
        </p:nvSpPr>
        <p:spPr>
          <a:xfrm>
            <a:off x="5602779" y="1960160"/>
            <a:ext cx="6217920" cy="755904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400" noProof="1">
                <a:solidFill>
                  <a:srgbClr val="3D6673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8 на стол  |  только номер и название индикатора |  лицом вниз</a:t>
            </a:r>
            <a:endParaRPr lang="ru-RU" sz="1400" noProof="1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1" name="Shape 10">
            <a:extLst>
              <a:ext uri="{FF2B5EF4-FFF2-40B4-BE49-F238E27FC236}">
                <a16:creationId xmlns:a16="http://schemas.microsoft.com/office/drawing/2014/main" id="{A443D7DC-9FB0-5EC6-D290-CBC110E8D6F8}"/>
              </a:ext>
            </a:extLst>
          </p:cNvPr>
          <p:cNvSpPr/>
          <p:nvPr/>
        </p:nvSpPr>
        <p:spPr>
          <a:xfrm>
            <a:off x="543099" y="2837984"/>
            <a:ext cx="11277600" cy="755904"/>
          </a:xfrm>
          <a:prstGeom prst="rect">
            <a:avLst/>
          </a:prstGeom>
          <a:solidFill>
            <a:srgbClr val="FFFFFF"/>
          </a:solidFill>
          <a:ln w="5080">
            <a:solidFill>
              <a:srgbClr val="B2D8DE"/>
            </a:solidFill>
            <a:prstDash val="solid"/>
          </a:ln>
        </p:spPr>
        <p:txBody>
          <a:bodyPr/>
          <a:lstStyle/>
          <a:p>
            <a:pPr defTabSz="1219170">
              <a:defRPr/>
            </a:pPr>
            <a:endParaRPr lang="ru-RU" sz="2400" noProof="1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2" name="Shape 11">
            <a:extLst>
              <a:ext uri="{FF2B5EF4-FFF2-40B4-BE49-F238E27FC236}">
                <a16:creationId xmlns:a16="http://schemas.microsoft.com/office/drawing/2014/main" id="{CCA5C94F-4928-9351-DFD9-812A5F9B4ED8}"/>
              </a:ext>
            </a:extLst>
          </p:cNvPr>
          <p:cNvSpPr/>
          <p:nvPr/>
        </p:nvSpPr>
        <p:spPr>
          <a:xfrm>
            <a:off x="665019" y="3033056"/>
            <a:ext cx="316992" cy="316992"/>
          </a:xfrm>
          <a:prstGeom prst="rect">
            <a:avLst/>
          </a:prstGeom>
          <a:solidFill>
            <a:srgbClr val="FFFFFF"/>
          </a:solidFill>
          <a:ln w="19050">
            <a:solidFill>
              <a:srgbClr val="027A87"/>
            </a:solidFill>
            <a:prstDash val="solid"/>
          </a:ln>
        </p:spPr>
        <p:txBody>
          <a:bodyPr/>
          <a:lstStyle/>
          <a:p>
            <a:pPr defTabSz="1219170">
              <a:defRPr/>
            </a:pPr>
            <a:endParaRPr lang="ru-RU" sz="2400" noProof="1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3" name="Text 12">
            <a:extLst>
              <a:ext uri="{FF2B5EF4-FFF2-40B4-BE49-F238E27FC236}">
                <a16:creationId xmlns:a16="http://schemas.microsoft.com/office/drawing/2014/main" id="{BCBCBF45-08F5-AAEB-4E2B-147E692CD123}"/>
              </a:ext>
            </a:extLst>
          </p:cNvPr>
          <p:cNvSpPr/>
          <p:nvPr/>
        </p:nvSpPr>
        <p:spPr>
          <a:xfrm>
            <a:off x="1213659" y="2837984"/>
            <a:ext cx="4267200" cy="755904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467" b="1" noProof="1">
                <a:solidFill>
                  <a:srgbClr val="16303A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Чистые карточки-индексы и ручки</a:t>
            </a:r>
            <a:endParaRPr lang="ru-RU" sz="1467" noProof="1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4" name="Text 13">
            <a:extLst>
              <a:ext uri="{FF2B5EF4-FFF2-40B4-BE49-F238E27FC236}">
                <a16:creationId xmlns:a16="http://schemas.microsoft.com/office/drawing/2014/main" id="{C11A64E1-60FB-798D-B07C-EC844F618004}"/>
              </a:ext>
            </a:extLst>
          </p:cNvPr>
          <p:cNvSpPr/>
          <p:nvPr/>
        </p:nvSpPr>
        <p:spPr>
          <a:xfrm>
            <a:off x="5602779" y="2837984"/>
            <a:ext cx="6217920" cy="755904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400" noProof="1">
                <a:solidFill>
                  <a:srgbClr val="3D6673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Для написания карточек в Раунде 2 — на каждом столе</a:t>
            </a:r>
            <a:endParaRPr lang="ru-RU" sz="1400" noProof="1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5" name="Shape 14">
            <a:extLst>
              <a:ext uri="{FF2B5EF4-FFF2-40B4-BE49-F238E27FC236}">
                <a16:creationId xmlns:a16="http://schemas.microsoft.com/office/drawing/2014/main" id="{40964DCB-BF89-E72C-BE90-15CD003F8898}"/>
              </a:ext>
            </a:extLst>
          </p:cNvPr>
          <p:cNvSpPr/>
          <p:nvPr/>
        </p:nvSpPr>
        <p:spPr>
          <a:xfrm>
            <a:off x="543099" y="3715808"/>
            <a:ext cx="11277600" cy="755904"/>
          </a:xfrm>
          <a:prstGeom prst="rect">
            <a:avLst/>
          </a:prstGeom>
          <a:solidFill>
            <a:srgbClr val="D6F0F3"/>
          </a:solidFill>
          <a:ln w="5080">
            <a:solidFill>
              <a:srgbClr val="B2D8DE"/>
            </a:solidFill>
            <a:prstDash val="solid"/>
          </a:ln>
        </p:spPr>
        <p:txBody>
          <a:bodyPr/>
          <a:lstStyle/>
          <a:p>
            <a:pPr defTabSz="1219170">
              <a:defRPr/>
            </a:pPr>
            <a:endParaRPr lang="ru-RU" sz="2400" noProof="1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6" name="Shape 15">
            <a:extLst>
              <a:ext uri="{FF2B5EF4-FFF2-40B4-BE49-F238E27FC236}">
                <a16:creationId xmlns:a16="http://schemas.microsoft.com/office/drawing/2014/main" id="{05B8DB2E-C798-015B-C955-8F63AEDD1C6B}"/>
              </a:ext>
            </a:extLst>
          </p:cNvPr>
          <p:cNvSpPr/>
          <p:nvPr/>
        </p:nvSpPr>
        <p:spPr>
          <a:xfrm>
            <a:off x="665019" y="3910880"/>
            <a:ext cx="316992" cy="316992"/>
          </a:xfrm>
          <a:prstGeom prst="rect">
            <a:avLst/>
          </a:prstGeom>
          <a:solidFill>
            <a:srgbClr val="FFFFFF"/>
          </a:solidFill>
          <a:ln w="19050">
            <a:solidFill>
              <a:srgbClr val="027A87"/>
            </a:solidFill>
            <a:prstDash val="solid"/>
          </a:ln>
        </p:spPr>
        <p:txBody>
          <a:bodyPr/>
          <a:lstStyle/>
          <a:p>
            <a:pPr defTabSz="1219170">
              <a:defRPr/>
            </a:pPr>
            <a:endParaRPr lang="ru-RU" sz="2400" noProof="1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7" name="Text 16">
            <a:extLst>
              <a:ext uri="{FF2B5EF4-FFF2-40B4-BE49-F238E27FC236}">
                <a16:creationId xmlns:a16="http://schemas.microsoft.com/office/drawing/2014/main" id="{618FAD9D-E0C2-A4DB-688D-6A300174F4E6}"/>
              </a:ext>
            </a:extLst>
          </p:cNvPr>
          <p:cNvSpPr/>
          <p:nvPr/>
        </p:nvSpPr>
        <p:spPr>
          <a:xfrm>
            <a:off x="1213659" y="3715808"/>
            <a:ext cx="4267200" cy="755904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467" b="1" noProof="1">
                <a:solidFill>
                  <a:srgbClr val="16303A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Слайд: Инструкции к игре Раунда 1</a:t>
            </a:r>
            <a:endParaRPr lang="ru-RU" sz="1467" noProof="1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8" name="Text 17">
            <a:extLst>
              <a:ext uri="{FF2B5EF4-FFF2-40B4-BE49-F238E27FC236}">
                <a16:creationId xmlns:a16="http://schemas.microsoft.com/office/drawing/2014/main" id="{58724237-2DE9-B5C5-790E-7E79FDA42E18}"/>
              </a:ext>
            </a:extLst>
          </p:cNvPr>
          <p:cNvSpPr/>
          <p:nvPr/>
        </p:nvSpPr>
        <p:spPr>
          <a:xfrm>
            <a:off x="5602779" y="3715808"/>
            <a:ext cx="6217920" cy="755904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400" noProof="1">
                <a:solidFill>
                  <a:srgbClr val="3D6673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Отображать во время подготовки в 14:05 — держать видимым на протяжении всего раунда</a:t>
            </a:r>
            <a:endParaRPr lang="ru-RU" sz="1400" noProof="1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9" name="Shape 18">
            <a:extLst>
              <a:ext uri="{FF2B5EF4-FFF2-40B4-BE49-F238E27FC236}">
                <a16:creationId xmlns:a16="http://schemas.microsoft.com/office/drawing/2014/main" id="{6C5E63E5-1A7A-DA49-C4FF-FD9310346460}"/>
              </a:ext>
            </a:extLst>
          </p:cNvPr>
          <p:cNvSpPr/>
          <p:nvPr/>
        </p:nvSpPr>
        <p:spPr>
          <a:xfrm>
            <a:off x="543099" y="4593632"/>
            <a:ext cx="11277600" cy="755904"/>
          </a:xfrm>
          <a:prstGeom prst="rect">
            <a:avLst/>
          </a:prstGeom>
          <a:solidFill>
            <a:srgbClr val="FFFFFF"/>
          </a:solidFill>
          <a:ln w="5080">
            <a:solidFill>
              <a:srgbClr val="B2D8DE"/>
            </a:solidFill>
            <a:prstDash val="solid"/>
          </a:ln>
        </p:spPr>
        <p:txBody>
          <a:bodyPr/>
          <a:lstStyle/>
          <a:p>
            <a:pPr defTabSz="1219170">
              <a:defRPr/>
            </a:pPr>
            <a:endParaRPr lang="ru-RU" sz="2400" noProof="1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20" name="Shape 19">
            <a:extLst>
              <a:ext uri="{FF2B5EF4-FFF2-40B4-BE49-F238E27FC236}">
                <a16:creationId xmlns:a16="http://schemas.microsoft.com/office/drawing/2014/main" id="{0A0B905B-ACB2-1849-3612-C6EE4AFC3904}"/>
              </a:ext>
            </a:extLst>
          </p:cNvPr>
          <p:cNvSpPr/>
          <p:nvPr/>
        </p:nvSpPr>
        <p:spPr>
          <a:xfrm>
            <a:off x="665019" y="4788704"/>
            <a:ext cx="316992" cy="316992"/>
          </a:xfrm>
          <a:prstGeom prst="rect">
            <a:avLst/>
          </a:prstGeom>
          <a:solidFill>
            <a:srgbClr val="FFFFFF"/>
          </a:solidFill>
          <a:ln w="19050">
            <a:solidFill>
              <a:srgbClr val="027A87"/>
            </a:solidFill>
            <a:prstDash val="solid"/>
          </a:ln>
        </p:spPr>
        <p:txBody>
          <a:bodyPr/>
          <a:lstStyle/>
          <a:p>
            <a:pPr defTabSz="1219170">
              <a:defRPr/>
            </a:pPr>
            <a:endParaRPr lang="ru-RU" sz="2400" noProof="1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21" name="Text 20">
            <a:extLst>
              <a:ext uri="{FF2B5EF4-FFF2-40B4-BE49-F238E27FC236}">
                <a16:creationId xmlns:a16="http://schemas.microsoft.com/office/drawing/2014/main" id="{67938655-5D38-25AB-29C6-A4530BE686F1}"/>
              </a:ext>
            </a:extLst>
          </p:cNvPr>
          <p:cNvSpPr/>
          <p:nvPr/>
        </p:nvSpPr>
        <p:spPr>
          <a:xfrm>
            <a:off x="1213659" y="4593632"/>
            <a:ext cx="4267200" cy="755904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467" b="1" noProof="1">
                <a:solidFill>
                  <a:srgbClr val="16303A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Слайд: Инструкции к заданию Раунда 2</a:t>
            </a:r>
            <a:endParaRPr lang="ru-RU" sz="1467" noProof="1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22" name="Text 21">
            <a:extLst>
              <a:ext uri="{FF2B5EF4-FFF2-40B4-BE49-F238E27FC236}">
                <a16:creationId xmlns:a16="http://schemas.microsoft.com/office/drawing/2014/main" id="{9C72F956-5684-8382-46A4-67B024AD3695}"/>
              </a:ext>
            </a:extLst>
          </p:cNvPr>
          <p:cNvSpPr/>
          <p:nvPr/>
        </p:nvSpPr>
        <p:spPr>
          <a:xfrm>
            <a:off x="5602779" y="4593632"/>
            <a:ext cx="6217920" cy="755904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400" noProof="1">
                <a:solidFill>
                  <a:srgbClr val="3D6673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Отображать с 14:42 — четыре карточки, два присутствия, два отсутствия</a:t>
            </a:r>
            <a:endParaRPr lang="ru-RU" sz="1400" noProof="1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23" name="Shape 22">
            <a:extLst>
              <a:ext uri="{FF2B5EF4-FFF2-40B4-BE49-F238E27FC236}">
                <a16:creationId xmlns:a16="http://schemas.microsoft.com/office/drawing/2014/main" id="{582A9E79-748D-6982-2E3F-E26B0222B660}"/>
              </a:ext>
            </a:extLst>
          </p:cNvPr>
          <p:cNvSpPr/>
          <p:nvPr/>
        </p:nvSpPr>
        <p:spPr>
          <a:xfrm>
            <a:off x="543099" y="5471456"/>
            <a:ext cx="11277600" cy="755904"/>
          </a:xfrm>
          <a:prstGeom prst="rect">
            <a:avLst/>
          </a:prstGeom>
          <a:solidFill>
            <a:srgbClr val="D6F0F3"/>
          </a:solidFill>
          <a:ln w="5080">
            <a:solidFill>
              <a:srgbClr val="B2D8DE"/>
            </a:solidFill>
            <a:prstDash val="solid"/>
          </a:ln>
        </p:spPr>
        <p:txBody>
          <a:bodyPr/>
          <a:lstStyle/>
          <a:p>
            <a:pPr defTabSz="1219170">
              <a:defRPr/>
            </a:pPr>
            <a:endParaRPr lang="ru-RU" sz="2400" noProof="1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24" name="Shape 23">
            <a:extLst>
              <a:ext uri="{FF2B5EF4-FFF2-40B4-BE49-F238E27FC236}">
                <a16:creationId xmlns:a16="http://schemas.microsoft.com/office/drawing/2014/main" id="{5CD3E369-D3CF-EAEC-D275-C04545BA5BF7}"/>
              </a:ext>
            </a:extLst>
          </p:cNvPr>
          <p:cNvSpPr/>
          <p:nvPr/>
        </p:nvSpPr>
        <p:spPr>
          <a:xfrm>
            <a:off x="665019" y="5666528"/>
            <a:ext cx="316992" cy="316992"/>
          </a:xfrm>
          <a:prstGeom prst="rect">
            <a:avLst/>
          </a:prstGeom>
          <a:solidFill>
            <a:srgbClr val="FFFFFF"/>
          </a:solidFill>
          <a:ln w="19050">
            <a:solidFill>
              <a:srgbClr val="027A87"/>
            </a:solidFill>
            <a:prstDash val="solid"/>
          </a:ln>
        </p:spPr>
        <p:txBody>
          <a:bodyPr/>
          <a:lstStyle/>
          <a:p>
            <a:pPr defTabSz="1219170">
              <a:defRPr/>
            </a:pPr>
            <a:endParaRPr lang="ru-RU" sz="2400" noProof="1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25" name="Text 24">
            <a:extLst>
              <a:ext uri="{FF2B5EF4-FFF2-40B4-BE49-F238E27FC236}">
                <a16:creationId xmlns:a16="http://schemas.microsoft.com/office/drawing/2014/main" id="{AF3F97F8-8D32-A074-6D7E-0DAE2408DF2F}"/>
              </a:ext>
            </a:extLst>
          </p:cNvPr>
          <p:cNvSpPr/>
          <p:nvPr/>
        </p:nvSpPr>
        <p:spPr>
          <a:xfrm>
            <a:off x="1213659" y="5471456"/>
            <a:ext cx="4267200" cy="755904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467" b="1" noProof="1">
                <a:solidFill>
                  <a:srgbClr val="16303A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Карточки «SCAFFOLD в действии»</a:t>
            </a:r>
            <a:endParaRPr lang="ru-RU" sz="1467" noProof="1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26" name="Text 25">
            <a:extLst>
              <a:ext uri="{FF2B5EF4-FFF2-40B4-BE49-F238E27FC236}">
                <a16:creationId xmlns:a16="http://schemas.microsoft.com/office/drawing/2014/main" id="{ED82E845-AF7B-BB53-7220-E007BCE219A4}"/>
              </a:ext>
            </a:extLst>
          </p:cNvPr>
          <p:cNvSpPr/>
          <p:nvPr/>
        </p:nvSpPr>
        <p:spPr>
          <a:xfrm>
            <a:off x="5602779" y="5471456"/>
            <a:ext cx="6217920" cy="755904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400" noProof="1">
                <a:solidFill>
                  <a:srgbClr val="3D6673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Уже на столах с Сессии 1</a:t>
            </a:r>
            <a:endParaRPr lang="ru-RU" sz="1400" noProof="1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27" name="Shape 26">
            <a:extLst>
              <a:ext uri="{FF2B5EF4-FFF2-40B4-BE49-F238E27FC236}">
                <a16:creationId xmlns:a16="http://schemas.microsoft.com/office/drawing/2014/main" id="{C857C4F7-8C25-9AFF-2605-216E468BAF0D}"/>
              </a:ext>
            </a:extLst>
          </p:cNvPr>
          <p:cNvSpPr/>
          <p:nvPr/>
        </p:nvSpPr>
        <p:spPr>
          <a:xfrm>
            <a:off x="543099" y="6324896"/>
            <a:ext cx="11277600" cy="304800"/>
          </a:xfrm>
          <a:prstGeom prst="rect">
            <a:avLst/>
          </a:prstGeom>
          <a:solidFill>
            <a:srgbClr val="027A87"/>
          </a:solidFill>
          <a:ln w="12700">
            <a:solidFill>
              <a:srgbClr val="027A87"/>
            </a:solidFill>
            <a:prstDash val="solid"/>
          </a:ln>
        </p:spPr>
        <p:txBody>
          <a:bodyPr/>
          <a:lstStyle/>
          <a:p>
            <a:pPr defTabSz="1219170">
              <a:defRPr/>
            </a:pPr>
            <a:endParaRPr lang="ru-RU" sz="2400" noProof="1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28" name="Text 27">
            <a:extLst>
              <a:ext uri="{FF2B5EF4-FFF2-40B4-BE49-F238E27FC236}">
                <a16:creationId xmlns:a16="http://schemas.microsoft.com/office/drawing/2014/main" id="{88AA2D0C-D001-111E-B6B6-6CCFD7832E2A}"/>
              </a:ext>
            </a:extLst>
          </p:cNvPr>
          <p:cNvSpPr/>
          <p:nvPr/>
        </p:nvSpPr>
        <p:spPr>
          <a:xfrm>
            <a:off x="786939" y="6324896"/>
            <a:ext cx="11094720" cy="30480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333" b="1" noProof="1">
                <a:solidFill>
                  <a:srgbClr val="FFFFFF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Соберите все рукописные карточки Раунда 2 по окончании сессии — они понадобятся для справки в Сессии 4</a:t>
            </a:r>
            <a:endParaRPr lang="ru-RU" sz="1333" noProof="1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84308259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AE97669-9683-B3E2-9D42-C7DB10B22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ru-RU" noProof="1"/>
          </a:p>
        </p:txBody>
      </p:sp>
    </p:spTree>
    <p:extLst>
      <p:ext uri="{BB962C8B-B14F-4D97-AF65-F5344CB8AC3E}">
        <p14:creationId xmlns:p14="http://schemas.microsoft.com/office/powerpoint/2010/main" val="132240491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033FBD5-8689-B730-08CD-B27D41A560A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03C994DA-B745-BB94-7847-7B3067AFDED6}"/>
              </a:ext>
            </a:extLst>
          </p:cNvPr>
          <p:cNvSpPr/>
          <p:nvPr/>
        </p:nvSpPr>
        <p:spPr>
          <a:xfrm>
            <a:off x="552450" y="219075"/>
            <a:ext cx="1943100" cy="12287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noProof="1"/>
          </a:p>
        </p:txBody>
      </p:sp>
      <p:pic>
        <p:nvPicPr>
          <p:cNvPr id="10" name="Picture 9" descr="A blue flag with yellow stars&#10;&#10;AI-generated content may be incorrect.">
            <a:extLst>
              <a:ext uri="{FF2B5EF4-FFF2-40B4-BE49-F238E27FC236}">
                <a16:creationId xmlns:a16="http://schemas.microsoft.com/office/drawing/2014/main" id="{7CF2AAA1-75CE-0669-CBC0-CF97DD1BEC3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67" r="-524" b="5181"/>
          <a:stretch>
            <a:fillRect/>
          </a:stretch>
        </p:blipFill>
        <p:spPr bwMode="auto">
          <a:xfrm>
            <a:off x="10242394" y="85444"/>
            <a:ext cx="1783073" cy="1715333"/>
          </a:xfrm>
          <a:prstGeom prst="rect">
            <a:avLst/>
          </a:prstGeom>
          <a:noFill/>
        </p:spPr>
      </p:pic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22B3E2A7-AE65-0774-CFDA-F2F8D19BD363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/>
        <p:txBody>
          <a:bodyPr/>
          <a:lstStyle/>
          <a:p>
            <a:endParaRPr lang="ru-RU" noProof="1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11918F79-E3C7-33ED-F19A-253B0852584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ru-RU" noProof="1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29EA764A-1300-D525-714C-88E7A3A7CA9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ru-RU" noProof="1"/>
          </a:p>
        </p:txBody>
      </p:sp>
      <p:pic>
        <p:nvPicPr>
          <p:cNvPr id="12" name="Picture 11" descr="A blue text on a black background&#10;&#10;AI-generated content may be incorrect.">
            <a:extLst>
              <a:ext uri="{FF2B5EF4-FFF2-40B4-BE49-F238E27FC236}">
                <a16:creationId xmlns:a16="http://schemas.microsoft.com/office/drawing/2014/main" id="{EC1F7359-0E55-67EA-566B-B38ED595D10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5293" y="89083"/>
            <a:ext cx="2030830" cy="1224303"/>
          </a:xfrm>
          <a:prstGeom prst="rect">
            <a:avLst/>
          </a:prstGeom>
          <a:noFill/>
        </p:spPr>
      </p:pic>
      <p:pic>
        <p:nvPicPr>
          <p:cNvPr id="15" name="Picture 14" descr="A logo with stars and text&#10;&#10;AI-generated content may be incorrect.">
            <a:extLst>
              <a:ext uri="{FF2B5EF4-FFF2-40B4-BE49-F238E27FC236}">
                <a16:creationId xmlns:a16="http://schemas.microsoft.com/office/drawing/2014/main" id="{361DAE42-6CF6-AA83-BB0B-C7CBE3B1ACC2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81196" y="5210046"/>
            <a:ext cx="2111127" cy="1713490"/>
          </a:xfrm>
          <a:prstGeom prst="rect">
            <a:avLst/>
          </a:prstGeom>
        </p:spPr>
      </p:pic>
      <p:sp>
        <p:nvSpPr>
          <p:cNvPr id="2" name="TextBox 2">
            <a:extLst>
              <a:ext uri="{FF2B5EF4-FFF2-40B4-BE49-F238E27FC236}">
                <a16:creationId xmlns:a16="http://schemas.microsoft.com/office/drawing/2014/main" id="{441D09BA-5176-B945-4298-2C1EF0C88F68}"/>
              </a:ext>
            </a:extLst>
          </p:cNvPr>
          <p:cNvSpPr txBox="1"/>
          <p:nvPr/>
        </p:nvSpPr>
        <p:spPr>
          <a:xfrm>
            <a:off x="176045" y="2020180"/>
            <a:ext cx="7361854" cy="3423566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>
            <a:defPPr>
              <a:defRPr lang="en-GB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ru-RU" sz="3600" b="1" kern="100" noProof="1">
                <a:solidFill>
                  <a:schemeClr val="tx1">
                    <a:lumMod val="65000"/>
                    <a:lumOff val="35000"/>
                  </a:schemeClr>
                </a:solidFill>
                <a:ea typeface="+mn-lt"/>
                <a:cs typeface="+mn-lt"/>
              </a:rPr>
              <a:t>Перерыв на кофе</a:t>
            </a:r>
            <a:endParaRPr lang="ru-RU" sz="3600" b="1" noProof="1">
              <a:solidFill>
                <a:schemeClr val="tx1">
                  <a:lumMod val="65000"/>
                  <a:lumOff val="35000"/>
                </a:schemeClr>
              </a:solidFill>
              <a:cs typeface="Arial"/>
            </a:endParaRPr>
          </a:p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ru-RU" sz="3600" b="1" kern="100" noProof="1">
                <a:solidFill>
                  <a:schemeClr val="tx1">
                    <a:lumMod val="65000"/>
                    <a:lumOff val="35000"/>
                  </a:schemeClr>
                </a:solidFill>
                <a:cs typeface="Arial"/>
              </a:rPr>
              <a:t>15:05 – 15:30 </a:t>
            </a:r>
          </a:p>
          <a:p>
            <a:pPr algn="ctr">
              <a:lnSpc>
                <a:spcPct val="107000"/>
              </a:lnSpc>
              <a:spcAft>
                <a:spcPts val="800"/>
              </a:spcAft>
            </a:pPr>
            <a:endParaRPr lang="ru-RU" sz="3600" b="1" kern="100" noProof="1">
              <a:solidFill>
                <a:schemeClr val="tx1">
                  <a:lumMod val="65000"/>
                  <a:lumOff val="35000"/>
                </a:schemeClr>
              </a:solidFill>
              <a:cs typeface="Arial"/>
            </a:endParaRPr>
          </a:p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ru-RU" sz="3600" b="1" kern="100" noProof="1">
                <a:solidFill>
                  <a:schemeClr val="tx1">
                    <a:lumMod val="65000"/>
                    <a:lumOff val="35000"/>
                  </a:schemeClr>
                </a:solidFill>
                <a:cs typeface="Arial"/>
              </a:rPr>
              <a:t>Coffee break</a:t>
            </a:r>
          </a:p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ru-RU" sz="3600" b="1" kern="100" noProof="1">
                <a:solidFill>
                  <a:schemeClr val="tx1">
                    <a:lumMod val="65000"/>
                    <a:lumOff val="35000"/>
                  </a:schemeClr>
                </a:solidFill>
                <a:cs typeface="Arial"/>
              </a:rPr>
              <a:t>15:05 – 15:30 </a:t>
            </a:r>
            <a:endParaRPr lang="ru-RU" sz="3200" b="1" noProof="1">
              <a:cs typeface="Arial" panose="020B0604020202020204"/>
            </a:endParaRPr>
          </a:p>
        </p:txBody>
      </p:sp>
    </p:spTree>
    <p:extLst>
      <p:ext uri="{BB962C8B-B14F-4D97-AF65-F5344CB8AC3E}">
        <p14:creationId xmlns:p14="http://schemas.microsoft.com/office/powerpoint/2010/main" val="380270193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C6B30C0-72BC-E7E9-57D6-0C8F4161AAE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>
            <a:extLst>
              <a:ext uri="{FF2B5EF4-FFF2-40B4-BE49-F238E27FC236}">
                <a16:creationId xmlns:a16="http://schemas.microsoft.com/office/drawing/2014/main" id="{45DDD93F-1D84-E3F8-781C-9526438A8B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33120" y="2568900"/>
            <a:ext cx="8911019" cy="1080120"/>
          </a:xfrm>
        </p:spPr>
        <p:txBody>
          <a:bodyPr>
            <a:normAutofit fontScale="90000"/>
          </a:bodyPr>
          <a:lstStyle/>
          <a:p>
            <a:r>
              <a:rPr lang="ru-RU" u="sng" noProof="1"/>
              <a:t>Приветственное слово</a:t>
            </a:r>
            <a:br>
              <a:rPr lang="ru-RU" noProof="1"/>
            </a:br>
            <a:br>
              <a:rPr lang="ru-RU" noProof="1"/>
            </a:br>
            <a:r>
              <a:rPr lang="ru-RU" noProof="1"/>
              <a:t>Министерство просвещения Республики Казахстан</a:t>
            </a:r>
            <a:br>
              <a:rPr lang="ru-RU" noProof="1"/>
            </a:br>
            <a:br>
              <a:rPr lang="ru-RU" noProof="1"/>
            </a:br>
            <a:r>
              <a:rPr lang="ru-RU" noProof="1"/>
              <a:t>Отдел технического и профессионального образования г. Алматы </a:t>
            </a:r>
            <a:br>
              <a:rPr lang="ru-RU" noProof="1"/>
            </a:br>
            <a:br>
              <a:rPr lang="ru-RU" noProof="1"/>
            </a:br>
            <a:r>
              <a:rPr lang="ru-RU" noProof="1"/>
              <a:t>Европейский фонд образования, DARYA</a:t>
            </a:r>
            <a:br>
              <a:rPr lang="ru-RU" noProof="1"/>
            </a:br>
            <a:endParaRPr lang="ru-RU" noProof="1"/>
          </a:p>
        </p:txBody>
      </p:sp>
      <p:sp>
        <p:nvSpPr>
          <p:cNvPr id="10" name="Shape 1">
            <a:extLst>
              <a:ext uri="{FF2B5EF4-FFF2-40B4-BE49-F238E27FC236}">
                <a16:creationId xmlns:a16="http://schemas.microsoft.com/office/drawing/2014/main" id="{AE4C0A4C-8D5E-BF5B-C8A3-8984E72145A9}"/>
              </a:ext>
            </a:extLst>
          </p:cNvPr>
          <p:cNvSpPr/>
          <p:nvPr/>
        </p:nvSpPr>
        <p:spPr>
          <a:xfrm>
            <a:off x="698694" y="1332540"/>
            <a:ext cx="131299" cy="3225392"/>
          </a:xfrm>
          <a:prstGeom prst="rect">
            <a:avLst/>
          </a:prstGeom>
          <a:solidFill>
            <a:srgbClr val="FFDC00"/>
          </a:solidFill>
          <a:ln w="12700">
            <a:solidFill>
              <a:srgbClr val="FFDC00"/>
            </a:solidFill>
            <a:prstDash val="solid"/>
          </a:ln>
        </p:spPr>
        <p:txBody>
          <a:bodyPr/>
          <a:lstStyle/>
          <a:p>
            <a:endParaRPr lang="ru-RU" sz="2400" noProof="1"/>
          </a:p>
        </p:txBody>
      </p:sp>
    </p:spTree>
    <p:extLst>
      <p:ext uri="{BB962C8B-B14F-4D97-AF65-F5344CB8AC3E}">
        <p14:creationId xmlns:p14="http://schemas.microsoft.com/office/powerpoint/2010/main" val="55790506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2B51844-0765-B7AF-0B58-16E74D60CA7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0">
            <a:extLst>
              <a:ext uri="{FF2B5EF4-FFF2-40B4-BE49-F238E27FC236}">
                <a16:creationId xmlns:a16="http://schemas.microsoft.com/office/drawing/2014/main" id="{F0936D9F-B872-5E1C-87E2-94396D50EB7E}"/>
              </a:ext>
            </a:extLst>
          </p:cNvPr>
          <p:cNvSpPr/>
          <p:nvPr/>
        </p:nvSpPr>
        <p:spPr>
          <a:xfrm>
            <a:off x="7315200" y="-487680"/>
            <a:ext cx="5120640" cy="548640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algn="r"/>
            <a:r>
              <a:rPr lang="ru-RU" sz="42666" b="1" noProof="1">
                <a:solidFill>
                  <a:srgbClr val="0092BB">
                    <a:alpha val="40000"/>
                  </a:srgbClr>
                </a:solidFill>
                <a:latin typeface="Arial" panose="020B0604020202020204" pitchFamily="34" charset="0"/>
                <a:ea typeface="Trebuchet MS" pitchFamily="34" charset="-122"/>
                <a:cs typeface="Arial" panose="020B0604020202020204" pitchFamily="34" charset="0"/>
              </a:rPr>
              <a:t>04</a:t>
            </a:r>
            <a:endParaRPr lang="ru-RU" sz="42666" noProof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Shape 1">
            <a:extLst>
              <a:ext uri="{FF2B5EF4-FFF2-40B4-BE49-F238E27FC236}">
                <a16:creationId xmlns:a16="http://schemas.microsoft.com/office/drawing/2014/main" id="{9FA64555-AD81-117A-64C0-F548783FED20}"/>
              </a:ext>
            </a:extLst>
          </p:cNvPr>
          <p:cNvSpPr/>
          <p:nvPr/>
        </p:nvSpPr>
        <p:spPr>
          <a:xfrm>
            <a:off x="670560" y="1524000"/>
            <a:ext cx="85344" cy="2743200"/>
          </a:xfrm>
          <a:prstGeom prst="rect">
            <a:avLst/>
          </a:prstGeom>
          <a:solidFill>
            <a:srgbClr val="FFDC00"/>
          </a:solidFill>
          <a:ln w="12700">
            <a:solidFill>
              <a:srgbClr val="FFDC00"/>
            </a:solidFill>
            <a:prstDash val="solid"/>
          </a:ln>
        </p:spPr>
        <p:txBody>
          <a:bodyPr/>
          <a:lstStyle/>
          <a:p>
            <a:endParaRPr lang="ru-RU" sz="2400" noProof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Text 2">
            <a:extLst>
              <a:ext uri="{FF2B5EF4-FFF2-40B4-BE49-F238E27FC236}">
                <a16:creationId xmlns:a16="http://schemas.microsoft.com/office/drawing/2014/main" id="{A0F6ECB4-D0B4-040A-7D7D-8A75687743F9}"/>
              </a:ext>
            </a:extLst>
          </p:cNvPr>
          <p:cNvSpPr/>
          <p:nvPr/>
        </p:nvSpPr>
        <p:spPr>
          <a:xfrm>
            <a:off x="914400" y="1975104"/>
            <a:ext cx="9144000" cy="146304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lvl="0">
              <a:defRPr/>
            </a:pPr>
            <a:r>
              <a:rPr lang="ru-RU" sz="3200" b="1" noProof="1">
                <a:solidFill>
                  <a:srgbClr val="FFFFFF"/>
                </a:solidFill>
                <a:latin typeface="Arial" panose="020B0604020202020204" pitchFamily="34" charset="0"/>
                <a:ea typeface="Georgia" pitchFamily="34" charset="-122"/>
                <a:cs typeface="Arial" panose="020B0604020202020204" pitchFamily="34" charset="0"/>
              </a:rPr>
              <a:t>Кейсы программ профессионального развития педагогов в регионе</a:t>
            </a:r>
          </a:p>
        </p:txBody>
      </p:sp>
      <p:sp>
        <p:nvSpPr>
          <p:cNvPr id="5" name="Shape 3">
            <a:extLst>
              <a:ext uri="{FF2B5EF4-FFF2-40B4-BE49-F238E27FC236}">
                <a16:creationId xmlns:a16="http://schemas.microsoft.com/office/drawing/2014/main" id="{A0AE4FFB-9A82-F8BF-8213-19FCA0D4503D}"/>
              </a:ext>
            </a:extLst>
          </p:cNvPr>
          <p:cNvSpPr/>
          <p:nvPr/>
        </p:nvSpPr>
        <p:spPr>
          <a:xfrm>
            <a:off x="1072896" y="3779520"/>
            <a:ext cx="3413760" cy="512064"/>
          </a:xfrm>
          <a:prstGeom prst="roundRect">
            <a:avLst>
              <a:gd name="adj" fmla="val 14286"/>
            </a:avLst>
          </a:prstGeom>
          <a:solidFill>
            <a:srgbClr val="FFDC00"/>
          </a:solidFill>
          <a:ln w="12700">
            <a:solidFill>
              <a:srgbClr val="FFDC00"/>
            </a:solidFill>
            <a:prstDash val="solid"/>
          </a:ln>
        </p:spPr>
        <p:txBody>
          <a:bodyPr/>
          <a:lstStyle/>
          <a:p>
            <a:endParaRPr lang="ru-RU" sz="2400" noProof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Text 4">
            <a:extLst>
              <a:ext uri="{FF2B5EF4-FFF2-40B4-BE49-F238E27FC236}">
                <a16:creationId xmlns:a16="http://schemas.microsoft.com/office/drawing/2014/main" id="{1AC70F8F-2521-727A-DE7A-D423B09F8F9D}"/>
              </a:ext>
            </a:extLst>
          </p:cNvPr>
          <p:cNvSpPr/>
          <p:nvPr/>
        </p:nvSpPr>
        <p:spPr>
          <a:xfrm>
            <a:off x="1072896" y="3779520"/>
            <a:ext cx="3255264" cy="512064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lvl="0" algn="ctr">
              <a:defRPr/>
            </a:pPr>
            <a:r>
              <a:rPr lang="ru-RU" sz="1867" b="1" noProof="1">
                <a:solidFill>
                  <a:schemeClr val="accent2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15:30 – 17:00  |  90 минут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0A38B757-7D5F-4322-0228-77895C6A1BD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72897" y="1175400"/>
            <a:ext cx="10944225" cy="1080120"/>
          </a:xfrm>
        </p:spPr>
        <p:txBody>
          <a:bodyPr/>
          <a:lstStyle/>
          <a:p>
            <a:r>
              <a:rPr lang="ru-RU" sz="3200" noProof="1">
                <a:solidFill>
                  <a:schemeClr val="accent4"/>
                </a:solidFill>
                <a:latin typeface="Arial" panose="020B0604020202020204" pitchFamily="34" charset="0"/>
                <a:ea typeface="Georgia" pitchFamily="34" charset="-122"/>
              </a:rPr>
              <a:t>Сессия 4</a:t>
            </a:r>
            <a:endParaRPr lang="ru-RU" noProof="1">
              <a:solidFill>
                <a:schemeClr val="accent4"/>
              </a:solidFill>
              <a:latin typeface="Arial" panose="020B0604020202020204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0DDF2EAE-DB4E-0CF9-ACF8-8E03C7151F6D}"/>
              </a:ext>
            </a:extLst>
          </p:cNvPr>
          <p:cNvSpPr txBox="1"/>
          <p:nvPr/>
        </p:nvSpPr>
        <p:spPr>
          <a:xfrm>
            <a:off x="914401" y="4444724"/>
            <a:ext cx="427555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ru-RU" sz="1400" i="1" noProof="1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Shape 7">
            <a:extLst>
              <a:ext uri="{FF2B5EF4-FFF2-40B4-BE49-F238E27FC236}">
                <a16:creationId xmlns:a16="http://schemas.microsoft.com/office/drawing/2014/main" id="{BF449451-A4B3-ED5A-F417-1BA6CF797057}"/>
              </a:ext>
            </a:extLst>
          </p:cNvPr>
          <p:cNvSpPr/>
          <p:nvPr/>
        </p:nvSpPr>
        <p:spPr>
          <a:xfrm>
            <a:off x="670559" y="4754879"/>
            <a:ext cx="2025767" cy="1755412"/>
          </a:xfrm>
          <a:prstGeom prst="rect">
            <a:avLst/>
          </a:prstGeom>
          <a:noFill/>
          <a:ln w="10160">
            <a:solidFill>
              <a:srgbClr val="039AAA"/>
            </a:solidFill>
            <a:prstDash val="solid"/>
          </a:ln>
        </p:spPr>
        <p:txBody>
          <a:bodyPr/>
          <a:lstStyle/>
          <a:p>
            <a:pPr defTabSz="1219170">
              <a:defRPr/>
            </a:pPr>
            <a:endParaRPr lang="ru-RU" sz="16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Text 8">
            <a:extLst>
              <a:ext uri="{FF2B5EF4-FFF2-40B4-BE49-F238E27FC236}">
                <a16:creationId xmlns:a16="http://schemas.microsoft.com/office/drawing/2014/main" id="{8CDF8681-7CD5-DD69-0E1F-C09637828512}"/>
              </a:ext>
            </a:extLst>
          </p:cNvPr>
          <p:cNvSpPr/>
          <p:nvPr/>
        </p:nvSpPr>
        <p:spPr>
          <a:xfrm>
            <a:off x="853440" y="4840224"/>
            <a:ext cx="3550723" cy="569945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600" b="1" kern="0" spc="200" noProof="1">
                <a:solidFill>
                  <a:schemeClr val="accent4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ЧАСТЬ 1</a:t>
            </a:r>
            <a:endParaRPr lang="ru-RU" sz="1600" noProof="1">
              <a:solidFill>
                <a:schemeClr val="accent4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Text 8">
            <a:extLst>
              <a:ext uri="{FF2B5EF4-FFF2-40B4-BE49-F238E27FC236}">
                <a16:creationId xmlns:a16="http://schemas.microsoft.com/office/drawing/2014/main" id="{46743843-31D4-C79C-8E5B-ADFC77A40403}"/>
              </a:ext>
            </a:extLst>
          </p:cNvPr>
          <p:cNvSpPr/>
          <p:nvPr/>
        </p:nvSpPr>
        <p:spPr>
          <a:xfrm>
            <a:off x="860961" y="5388572"/>
            <a:ext cx="2377440" cy="463296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467" b="1" noProof="1">
                <a:solidFill>
                  <a:schemeClr val="bg1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ВВЕДЕНИЕ</a:t>
            </a:r>
            <a:endParaRPr lang="ru-RU" sz="1467" noProof="1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Text 9">
            <a:extLst>
              <a:ext uri="{FF2B5EF4-FFF2-40B4-BE49-F238E27FC236}">
                <a16:creationId xmlns:a16="http://schemas.microsoft.com/office/drawing/2014/main" id="{480E514F-650E-481F-F8B1-64D3B9E4A573}"/>
              </a:ext>
            </a:extLst>
          </p:cNvPr>
          <p:cNvSpPr/>
          <p:nvPr/>
        </p:nvSpPr>
        <p:spPr>
          <a:xfrm>
            <a:off x="860961" y="5876252"/>
            <a:ext cx="2377440" cy="54864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333" noProof="1">
                <a:solidFill>
                  <a:schemeClr val="bg1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15:30 – 15:35</a:t>
            </a:r>
            <a:endParaRPr lang="ru-RU" sz="1333" noProof="1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Shape 7">
            <a:extLst>
              <a:ext uri="{FF2B5EF4-FFF2-40B4-BE49-F238E27FC236}">
                <a16:creationId xmlns:a16="http://schemas.microsoft.com/office/drawing/2014/main" id="{CAB4DDA5-9168-DA0E-4E4B-A92ECA33C9FF}"/>
              </a:ext>
            </a:extLst>
          </p:cNvPr>
          <p:cNvSpPr/>
          <p:nvPr/>
        </p:nvSpPr>
        <p:spPr>
          <a:xfrm>
            <a:off x="2888558" y="4754879"/>
            <a:ext cx="2025767" cy="1755412"/>
          </a:xfrm>
          <a:prstGeom prst="rect">
            <a:avLst/>
          </a:prstGeom>
          <a:noFill/>
          <a:ln w="10160">
            <a:solidFill>
              <a:srgbClr val="039AAA"/>
            </a:solidFill>
            <a:prstDash val="solid"/>
          </a:ln>
        </p:spPr>
        <p:txBody>
          <a:bodyPr/>
          <a:lstStyle/>
          <a:p>
            <a:pPr defTabSz="1219170">
              <a:defRPr/>
            </a:pPr>
            <a:endParaRPr lang="ru-RU" sz="16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7" name="Text 8">
            <a:extLst>
              <a:ext uri="{FF2B5EF4-FFF2-40B4-BE49-F238E27FC236}">
                <a16:creationId xmlns:a16="http://schemas.microsoft.com/office/drawing/2014/main" id="{1D54F7B5-BE9D-797D-02EF-5E2AA2F232C3}"/>
              </a:ext>
            </a:extLst>
          </p:cNvPr>
          <p:cNvSpPr/>
          <p:nvPr/>
        </p:nvSpPr>
        <p:spPr>
          <a:xfrm>
            <a:off x="3101440" y="4866257"/>
            <a:ext cx="3550723" cy="569945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600" b="1" kern="0" spc="200" noProof="1">
                <a:solidFill>
                  <a:schemeClr val="accent4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ЧАСТЬ 2</a:t>
            </a:r>
            <a:endParaRPr lang="ru-RU" sz="1600" noProof="1">
              <a:solidFill>
                <a:schemeClr val="accent4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8" name="Text 11">
            <a:extLst>
              <a:ext uri="{FF2B5EF4-FFF2-40B4-BE49-F238E27FC236}">
                <a16:creationId xmlns:a16="http://schemas.microsoft.com/office/drawing/2014/main" id="{8F987B8C-F3D9-7261-526D-844543875CEC}"/>
              </a:ext>
            </a:extLst>
          </p:cNvPr>
          <p:cNvSpPr/>
          <p:nvPr/>
        </p:nvSpPr>
        <p:spPr>
          <a:xfrm>
            <a:off x="3052175" y="5412956"/>
            <a:ext cx="2377440" cy="463296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467" b="1" noProof="1">
                <a:solidFill>
                  <a:schemeClr val="bg1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3 ПРЕЗЕНТАЦИИ</a:t>
            </a:r>
            <a:endParaRPr lang="ru-RU" sz="1467" noProof="1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9" name="Text 12">
            <a:extLst>
              <a:ext uri="{FF2B5EF4-FFF2-40B4-BE49-F238E27FC236}">
                <a16:creationId xmlns:a16="http://schemas.microsoft.com/office/drawing/2014/main" id="{270911A3-4220-91A8-A571-A0FE422A47DF}"/>
              </a:ext>
            </a:extLst>
          </p:cNvPr>
          <p:cNvSpPr/>
          <p:nvPr/>
        </p:nvSpPr>
        <p:spPr>
          <a:xfrm>
            <a:off x="3101440" y="5876252"/>
            <a:ext cx="2377440" cy="54864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333" noProof="1">
                <a:solidFill>
                  <a:schemeClr val="bg1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15:35 – 16:20</a:t>
            </a:r>
            <a:endParaRPr lang="ru-RU" sz="1333" noProof="1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0" name="Shape 7">
            <a:extLst>
              <a:ext uri="{FF2B5EF4-FFF2-40B4-BE49-F238E27FC236}">
                <a16:creationId xmlns:a16="http://schemas.microsoft.com/office/drawing/2014/main" id="{EE2F84A3-0CD6-7618-6BAD-CC1DB56B4092}"/>
              </a:ext>
            </a:extLst>
          </p:cNvPr>
          <p:cNvSpPr/>
          <p:nvPr/>
        </p:nvSpPr>
        <p:spPr>
          <a:xfrm>
            <a:off x="5127207" y="4754879"/>
            <a:ext cx="2025767" cy="1755412"/>
          </a:xfrm>
          <a:prstGeom prst="rect">
            <a:avLst/>
          </a:prstGeom>
          <a:noFill/>
          <a:ln w="10160">
            <a:solidFill>
              <a:srgbClr val="039AAA"/>
            </a:solidFill>
            <a:prstDash val="solid"/>
          </a:ln>
        </p:spPr>
        <p:txBody>
          <a:bodyPr/>
          <a:lstStyle/>
          <a:p>
            <a:pPr defTabSz="1219170">
              <a:defRPr/>
            </a:pPr>
            <a:endParaRPr lang="ru-RU" sz="16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1" name="Text 8">
            <a:extLst>
              <a:ext uri="{FF2B5EF4-FFF2-40B4-BE49-F238E27FC236}">
                <a16:creationId xmlns:a16="http://schemas.microsoft.com/office/drawing/2014/main" id="{B92F3616-0AE2-984A-AAE0-C3E4A5143034}"/>
              </a:ext>
            </a:extLst>
          </p:cNvPr>
          <p:cNvSpPr/>
          <p:nvPr/>
        </p:nvSpPr>
        <p:spPr>
          <a:xfrm>
            <a:off x="5310088" y="4840224"/>
            <a:ext cx="3550723" cy="569945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600" b="1" kern="0" spc="200" noProof="1">
                <a:solidFill>
                  <a:schemeClr val="accent4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ЧАСТЬ 3</a:t>
            </a:r>
            <a:endParaRPr lang="ru-RU" sz="1600" noProof="1">
              <a:solidFill>
                <a:schemeClr val="accent4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4" name="Shape 7">
            <a:extLst>
              <a:ext uri="{FF2B5EF4-FFF2-40B4-BE49-F238E27FC236}">
                <a16:creationId xmlns:a16="http://schemas.microsoft.com/office/drawing/2014/main" id="{9D3D8723-77F7-721C-4C5A-D0F0DDA40BD4}"/>
              </a:ext>
            </a:extLst>
          </p:cNvPr>
          <p:cNvSpPr/>
          <p:nvPr/>
        </p:nvSpPr>
        <p:spPr>
          <a:xfrm>
            <a:off x="7371983" y="4758430"/>
            <a:ext cx="2025767" cy="1755412"/>
          </a:xfrm>
          <a:prstGeom prst="rect">
            <a:avLst/>
          </a:prstGeom>
          <a:noFill/>
          <a:ln w="10160">
            <a:solidFill>
              <a:srgbClr val="039AAA"/>
            </a:solidFill>
            <a:prstDash val="solid"/>
          </a:ln>
        </p:spPr>
        <p:txBody>
          <a:bodyPr/>
          <a:lstStyle/>
          <a:p>
            <a:pPr defTabSz="1219170">
              <a:defRPr/>
            </a:pPr>
            <a:endParaRPr lang="ru-RU" sz="16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5" name="Text 8">
            <a:extLst>
              <a:ext uri="{FF2B5EF4-FFF2-40B4-BE49-F238E27FC236}">
                <a16:creationId xmlns:a16="http://schemas.microsoft.com/office/drawing/2014/main" id="{20F9717F-57AE-F25B-51FC-2D64D8EBD50B}"/>
              </a:ext>
            </a:extLst>
          </p:cNvPr>
          <p:cNvSpPr/>
          <p:nvPr/>
        </p:nvSpPr>
        <p:spPr>
          <a:xfrm>
            <a:off x="7554864" y="4843774"/>
            <a:ext cx="3550723" cy="569945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600" b="1" kern="0" spc="200" noProof="1">
                <a:solidFill>
                  <a:schemeClr val="accent4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ЧАСТЬ 4</a:t>
            </a:r>
            <a:endParaRPr lang="ru-RU" sz="1600" noProof="1">
              <a:solidFill>
                <a:schemeClr val="accent4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8" name="Text 14">
            <a:extLst>
              <a:ext uri="{FF2B5EF4-FFF2-40B4-BE49-F238E27FC236}">
                <a16:creationId xmlns:a16="http://schemas.microsoft.com/office/drawing/2014/main" id="{17942228-335C-84AA-E71F-D44303576298}"/>
              </a:ext>
            </a:extLst>
          </p:cNvPr>
          <p:cNvSpPr/>
          <p:nvPr/>
        </p:nvSpPr>
        <p:spPr>
          <a:xfrm>
            <a:off x="5310089" y="5410168"/>
            <a:ext cx="1702271" cy="463296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467" b="1" noProof="1">
                <a:solidFill>
                  <a:schemeClr val="bg1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АНАЛИЗ ЗА СТОЛАМИ</a:t>
            </a:r>
            <a:endParaRPr lang="ru-RU" sz="1467" noProof="1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9" name="Text 15">
            <a:extLst>
              <a:ext uri="{FF2B5EF4-FFF2-40B4-BE49-F238E27FC236}">
                <a16:creationId xmlns:a16="http://schemas.microsoft.com/office/drawing/2014/main" id="{90EDF143-2DB3-7630-134C-60B29F01949C}"/>
              </a:ext>
            </a:extLst>
          </p:cNvPr>
          <p:cNvSpPr/>
          <p:nvPr/>
        </p:nvSpPr>
        <p:spPr>
          <a:xfrm>
            <a:off x="5310088" y="5897848"/>
            <a:ext cx="2377440" cy="54864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333" noProof="1">
                <a:solidFill>
                  <a:schemeClr val="bg1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16:20 – 16:43</a:t>
            </a:r>
            <a:endParaRPr lang="ru-RU" sz="1333" noProof="1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0" name="Text 17">
            <a:extLst>
              <a:ext uri="{FF2B5EF4-FFF2-40B4-BE49-F238E27FC236}">
                <a16:creationId xmlns:a16="http://schemas.microsoft.com/office/drawing/2014/main" id="{4A97384E-4F07-001D-2BA0-CFF55CA91D3B}"/>
              </a:ext>
            </a:extLst>
          </p:cNvPr>
          <p:cNvSpPr/>
          <p:nvPr/>
        </p:nvSpPr>
        <p:spPr>
          <a:xfrm>
            <a:off x="7549297" y="5410168"/>
            <a:ext cx="2377440" cy="463296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467" b="1" noProof="1">
                <a:solidFill>
                  <a:schemeClr val="bg1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СИНТЕЗ</a:t>
            </a:r>
            <a:endParaRPr lang="ru-RU" sz="1467" noProof="1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1" name="Text 18">
            <a:extLst>
              <a:ext uri="{FF2B5EF4-FFF2-40B4-BE49-F238E27FC236}">
                <a16:creationId xmlns:a16="http://schemas.microsoft.com/office/drawing/2014/main" id="{C4A9D3B9-1C39-E039-A48C-84233803211A}"/>
              </a:ext>
            </a:extLst>
          </p:cNvPr>
          <p:cNvSpPr/>
          <p:nvPr/>
        </p:nvSpPr>
        <p:spPr>
          <a:xfrm>
            <a:off x="7549297" y="5897848"/>
            <a:ext cx="2377440" cy="54864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333" noProof="1">
                <a:solidFill>
                  <a:schemeClr val="bg1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16:50 – 17:00</a:t>
            </a:r>
            <a:endParaRPr lang="ru-RU" sz="1333" noProof="1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7584433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69E5398-857B-B6DD-B823-3D5C19B7BF1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DB84476-BC29-4407-9D57-B2E562B8968B}" type="slidenum">
              <a:rPr lang="ru-RU" noProof="1" smtClean="0"/>
              <a:pPr/>
              <a:t>51</a:t>
            </a:fld>
            <a:endParaRPr lang="ru-RU" noProof="1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BF94924D-6B55-0351-6F38-E56C39F882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noProof="1"/>
              <a:t>Ожидаемые результаты: 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C8301D7D-39C8-8B1F-60D0-A565E75CF976}"/>
              </a:ext>
            </a:extLst>
          </p:cNvPr>
          <p:cNvSpPr txBox="1"/>
          <p:nvPr/>
        </p:nvSpPr>
        <p:spPr>
          <a:xfrm>
            <a:off x="635317" y="1502564"/>
            <a:ext cx="10073714" cy="86177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ru-RU" sz="2500" b="1" noProof="1">
                <a:solidFill>
                  <a:schemeClr val="bg1"/>
                </a:solidFill>
              </a:rPr>
              <a:t>Осмыслить опыт, полученный из кейсов, и определить, что можно применить в вашем контексте</a:t>
            </a:r>
            <a:endParaRPr lang="ru-RU" sz="2500" noProof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4531636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>
          <a:extLst>
            <a:ext uri="{FF2B5EF4-FFF2-40B4-BE49-F238E27FC236}">
              <a16:creationId xmlns:a16="http://schemas.microsoft.com/office/drawing/2014/main" id="{D341AD43-6BFD-62CB-862A-2932401DFE3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B0546FA7-3F58-2768-D999-87554C9EA4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6277" y="93277"/>
            <a:ext cx="7815651" cy="1080120"/>
          </a:xfrm>
        </p:spPr>
        <p:txBody>
          <a:bodyPr/>
          <a:lstStyle/>
          <a:p>
            <a:r>
              <a:rPr lang="ru-RU" noProof="1">
                <a:latin typeface="Arial" panose="020B0604020202020204" pitchFamily="34" charset="0"/>
              </a:rPr>
              <a:t>СЕССИЯ 4  |  ОБЗОР</a:t>
            </a:r>
          </a:p>
        </p:txBody>
      </p:sp>
      <p:sp>
        <p:nvSpPr>
          <p:cNvPr id="4" name="Text 2">
            <a:extLst>
              <a:ext uri="{FF2B5EF4-FFF2-40B4-BE49-F238E27FC236}">
                <a16:creationId xmlns:a16="http://schemas.microsoft.com/office/drawing/2014/main" id="{F9546A00-3029-3623-44C9-C782E625EC2B}"/>
              </a:ext>
            </a:extLst>
          </p:cNvPr>
          <p:cNvSpPr/>
          <p:nvPr/>
        </p:nvSpPr>
        <p:spPr>
          <a:xfrm>
            <a:off x="696277" y="980809"/>
            <a:ext cx="1950720" cy="42672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600" b="1" kern="0" spc="133" noProof="1">
                <a:solidFill>
                  <a:schemeClr val="bg1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ВРЕМЯ</a:t>
            </a:r>
            <a:endParaRPr lang="ru-RU" sz="1600" noProof="1">
              <a:solidFill>
                <a:schemeClr val="bg1"/>
              </a:solidFill>
              <a:latin typeface="Calibri" panose="020F0502020204030204"/>
            </a:endParaRPr>
          </a:p>
        </p:txBody>
      </p:sp>
      <p:sp>
        <p:nvSpPr>
          <p:cNvPr id="5" name="Text 3">
            <a:extLst>
              <a:ext uri="{FF2B5EF4-FFF2-40B4-BE49-F238E27FC236}">
                <a16:creationId xmlns:a16="http://schemas.microsoft.com/office/drawing/2014/main" id="{EDCB5622-162A-FA45-79F4-9C66B133FA64}"/>
              </a:ext>
            </a:extLst>
          </p:cNvPr>
          <p:cNvSpPr/>
          <p:nvPr/>
        </p:nvSpPr>
        <p:spPr>
          <a:xfrm>
            <a:off x="2890837" y="980809"/>
            <a:ext cx="6949440" cy="42672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600" b="1" kern="0" spc="133" noProof="1">
                <a:solidFill>
                  <a:schemeClr val="bg1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АКТИВНОСТЬ</a:t>
            </a:r>
            <a:endParaRPr lang="ru-RU" sz="1600" noProof="1">
              <a:solidFill>
                <a:schemeClr val="bg1"/>
              </a:solidFill>
              <a:latin typeface="Calibri" panose="020F0502020204030204"/>
            </a:endParaRPr>
          </a:p>
        </p:txBody>
      </p:sp>
      <p:sp>
        <p:nvSpPr>
          <p:cNvPr id="6" name="Text 4">
            <a:extLst>
              <a:ext uri="{FF2B5EF4-FFF2-40B4-BE49-F238E27FC236}">
                <a16:creationId xmlns:a16="http://schemas.microsoft.com/office/drawing/2014/main" id="{EBCE8CE9-2335-207D-97F2-495FE7CA6300}"/>
              </a:ext>
            </a:extLst>
          </p:cNvPr>
          <p:cNvSpPr/>
          <p:nvPr/>
        </p:nvSpPr>
        <p:spPr>
          <a:xfrm>
            <a:off x="9352599" y="1031116"/>
            <a:ext cx="2194560" cy="42672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600" b="1" kern="0" spc="133" noProof="1">
                <a:solidFill>
                  <a:schemeClr val="bg1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ФОРМАТ</a:t>
            </a:r>
            <a:endParaRPr lang="ru-RU" sz="1600" noProof="1">
              <a:solidFill>
                <a:schemeClr val="bg1"/>
              </a:solidFill>
              <a:latin typeface="Calibri" panose="020F0502020204030204"/>
            </a:endParaRPr>
          </a:p>
        </p:txBody>
      </p:sp>
      <p:sp>
        <p:nvSpPr>
          <p:cNvPr id="7" name="Shape 5">
            <a:extLst>
              <a:ext uri="{FF2B5EF4-FFF2-40B4-BE49-F238E27FC236}">
                <a16:creationId xmlns:a16="http://schemas.microsoft.com/office/drawing/2014/main" id="{2C213A26-1CDF-4B18-13A6-C193DDE40EA1}"/>
              </a:ext>
            </a:extLst>
          </p:cNvPr>
          <p:cNvSpPr/>
          <p:nvPr/>
        </p:nvSpPr>
        <p:spPr>
          <a:xfrm>
            <a:off x="635318" y="1468489"/>
            <a:ext cx="10911841" cy="731520"/>
          </a:xfrm>
          <a:prstGeom prst="rect">
            <a:avLst/>
          </a:prstGeom>
          <a:solidFill>
            <a:srgbClr val="FFFFFF"/>
          </a:solidFill>
          <a:ln w="5080">
            <a:solidFill>
              <a:srgbClr val="B2D8DE"/>
            </a:solidFill>
            <a:prstDash val="solid"/>
          </a:ln>
        </p:spPr>
        <p:txBody>
          <a:bodyPr/>
          <a:lstStyle/>
          <a:p>
            <a:pPr defTabSz="1219170">
              <a:defRPr/>
            </a:pPr>
            <a:endParaRPr lang="ru-RU" sz="2400" noProof="1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8" name="Text 6">
            <a:extLst>
              <a:ext uri="{FF2B5EF4-FFF2-40B4-BE49-F238E27FC236}">
                <a16:creationId xmlns:a16="http://schemas.microsoft.com/office/drawing/2014/main" id="{F3F5396F-B67F-186D-EE96-8A8A798BCC6B}"/>
              </a:ext>
            </a:extLst>
          </p:cNvPr>
          <p:cNvSpPr/>
          <p:nvPr/>
        </p:nvSpPr>
        <p:spPr>
          <a:xfrm>
            <a:off x="696277" y="1529449"/>
            <a:ext cx="1950720" cy="633984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600" b="1" noProof="1">
                <a:solidFill>
                  <a:srgbClr val="027A87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15:30 – 15:35</a:t>
            </a:r>
            <a:endParaRPr lang="ru-RU" sz="1600" noProof="1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9" name="Text 7">
            <a:extLst>
              <a:ext uri="{FF2B5EF4-FFF2-40B4-BE49-F238E27FC236}">
                <a16:creationId xmlns:a16="http://schemas.microsoft.com/office/drawing/2014/main" id="{4DD2D66B-20DD-697C-025D-A088BB5B0582}"/>
              </a:ext>
            </a:extLst>
          </p:cNvPr>
          <p:cNvSpPr/>
          <p:nvPr/>
        </p:nvSpPr>
        <p:spPr>
          <a:xfrm>
            <a:off x="2890837" y="1529449"/>
            <a:ext cx="6949440" cy="633984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600" noProof="1">
                <a:solidFill>
                  <a:srgbClr val="16303A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Введение в сессию — представление шаблона наблюдения</a:t>
            </a:r>
            <a:endParaRPr lang="ru-RU" sz="1600" noProof="1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0" name="Text 8">
            <a:extLst>
              <a:ext uri="{FF2B5EF4-FFF2-40B4-BE49-F238E27FC236}">
                <a16:creationId xmlns:a16="http://schemas.microsoft.com/office/drawing/2014/main" id="{BE0E485B-0D7B-B6B2-111C-71CB46877172}"/>
              </a:ext>
            </a:extLst>
          </p:cNvPr>
          <p:cNvSpPr/>
          <p:nvPr/>
        </p:nvSpPr>
        <p:spPr>
          <a:xfrm>
            <a:off x="9352599" y="1529449"/>
            <a:ext cx="2194560" cy="633984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600" noProof="1">
                <a:solidFill>
                  <a:srgbClr val="3D6673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Пленарное заседание</a:t>
            </a:r>
            <a:endParaRPr lang="ru-RU" sz="1600" noProof="1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1" name="Shape 9">
            <a:extLst>
              <a:ext uri="{FF2B5EF4-FFF2-40B4-BE49-F238E27FC236}">
                <a16:creationId xmlns:a16="http://schemas.microsoft.com/office/drawing/2014/main" id="{B00482B8-B526-7405-818C-AB78C49031F9}"/>
              </a:ext>
            </a:extLst>
          </p:cNvPr>
          <p:cNvSpPr/>
          <p:nvPr/>
        </p:nvSpPr>
        <p:spPr>
          <a:xfrm>
            <a:off x="635318" y="2260969"/>
            <a:ext cx="10911841" cy="731520"/>
          </a:xfrm>
          <a:prstGeom prst="rect">
            <a:avLst/>
          </a:prstGeom>
          <a:solidFill>
            <a:srgbClr val="D6F0F3"/>
          </a:solidFill>
          <a:ln w="5080">
            <a:solidFill>
              <a:srgbClr val="B2D8DE"/>
            </a:solidFill>
            <a:prstDash val="solid"/>
          </a:ln>
        </p:spPr>
        <p:txBody>
          <a:bodyPr/>
          <a:lstStyle/>
          <a:p>
            <a:pPr defTabSz="1219170">
              <a:defRPr/>
            </a:pPr>
            <a:endParaRPr lang="ru-RU" sz="2400" noProof="1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2" name="Text 10">
            <a:extLst>
              <a:ext uri="{FF2B5EF4-FFF2-40B4-BE49-F238E27FC236}">
                <a16:creationId xmlns:a16="http://schemas.microsoft.com/office/drawing/2014/main" id="{27163C50-3F3C-AE8E-47B3-798C4C001FEB}"/>
              </a:ext>
            </a:extLst>
          </p:cNvPr>
          <p:cNvSpPr/>
          <p:nvPr/>
        </p:nvSpPr>
        <p:spPr>
          <a:xfrm>
            <a:off x="696277" y="2321929"/>
            <a:ext cx="1950720" cy="633984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600" b="1" noProof="1">
                <a:solidFill>
                  <a:srgbClr val="027A87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15:35 – 16:20</a:t>
            </a:r>
            <a:endParaRPr lang="ru-RU" sz="1600" noProof="1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3" name="Text 11">
            <a:extLst>
              <a:ext uri="{FF2B5EF4-FFF2-40B4-BE49-F238E27FC236}">
                <a16:creationId xmlns:a16="http://schemas.microsoft.com/office/drawing/2014/main" id="{7A048C8A-A464-856B-5EAC-B3D0EEB4B1F6}"/>
              </a:ext>
            </a:extLst>
          </p:cNvPr>
          <p:cNvSpPr/>
          <p:nvPr/>
        </p:nvSpPr>
        <p:spPr>
          <a:xfrm>
            <a:off x="2890838" y="2321929"/>
            <a:ext cx="6431583" cy="633984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600" noProof="1">
                <a:solidFill>
                  <a:srgbClr val="16303A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Три 15-минутные презентации с 3-минутным заполнением шаблона между каждой</a:t>
            </a:r>
            <a:endParaRPr lang="ru-RU" sz="1600" noProof="1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4" name="Text 12">
            <a:extLst>
              <a:ext uri="{FF2B5EF4-FFF2-40B4-BE49-F238E27FC236}">
                <a16:creationId xmlns:a16="http://schemas.microsoft.com/office/drawing/2014/main" id="{5B450B93-8216-8C5C-ABF9-BC8243A73C6E}"/>
              </a:ext>
            </a:extLst>
          </p:cNvPr>
          <p:cNvSpPr/>
          <p:nvPr/>
        </p:nvSpPr>
        <p:spPr>
          <a:xfrm>
            <a:off x="9352599" y="2321929"/>
            <a:ext cx="2194560" cy="633984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600" noProof="1">
                <a:solidFill>
                  <a:srgbClr val="3D6673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Пленарное заседание + индивидуально</a:t>
            </a:r>
            <a:endParaRPr lang="ru-RU" sz="1600" noProof="1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5" name="Shape 13">
            <a:extLst>
              <a:ext uri="{FF2B5EF4-FFF2-40B4-BE49-F238E27FC236}">
                <a16:creationId xmlns:a16="http://schemas.microsoft.com/office/drawing/2014/main" id="{767CC0A2-C49D-EDEF-3FEE-9C86F848DFAD}"/>
              </a:ext>
            </a:extLst>
          </p:cNvPr>
          <p:cNvSpPr/>
          <p:nvPr/>
        </p:nvSpPr>
        <p:spPr>
          <a:xfrm>
            <a:off x="635318" y="3053449"/>
            <a:ext cx="10911841" cy="731520"/>
          </a:xfrm>
          <a:prstGeom prst="rect">
            <a:avLst/>
          </a:prstGeom>
          <a:solidFill>
            <a:srgbClr val="FFFFFF"/>
          </a:solidFill>
          <a:ln w="5080">
            <a:solidFill>
              <a:srgbClr val="B2D8DE"/>
            </a:solidFill>
            <a:prstDash val="solid"/>
          </a:ln>
        </p:spPr>
        <p:txBody>
          <a:bodyPr/>
          <a:lstStyle/>
          <a:p>
            <a:pPr defTabSz="1219170">
              <a:defRPr/>
            </a:pPr>
            <a:endParaRPr lang="ru-RU" sz="2400" noProof="1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6" name="Text 14">
            <a:extLst>
              <a:ext uri="{FF2B5EF4-FFF2-40B4-BE49-F238E27FC236}">
                <a16:creationId xmlns:a16="http://schemas.microsoft.com/office/drawing/2014/main" id="{A271C392-CE0C-C809-6BAA-D3DDE985915E}"/>
              </a:ext>
            </a:extLst>
          </p:cNvPr>
          <p:cNvSpPr/>
          <p:nvPr/>
        </p:nvSpPr>
        <p:spPr>
          <a:xfrm>
            <a:off x="696277" y="3114409"/>
            <a:ext cx="1950720" cy="633984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600" b="1" noProof="1">
                <a:solidFill>
                  <a:srgbClr val="027A87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16:20 – 16:43</a:t>
            </a:r>
            <a:endParaRPr lang="ru-RU" sz="1600" noProof="1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7" name="Text 15">
            <a:extLst>
              <a:ext uri="{FF2B5EF4-FFF2-40B4-BE49-F238E27FC236}">
                <a16:creationId xmlns:a16="http://schemas.microsoft.com/office/drawing/2014/main" id="{785B1E7C-F120-E8F4-A1D6-E5E28A284758}"/>
              </a:ext>
            </a:extLst>
          </p:cNvPr>
          <p:cNvSpPr/>
          <p:nvPr/>
        </p:nvSpPr>
        <p:spPr>
          <a:xfrm>
            <a:off x="2890837" y="3114409"/>
            <a:ext cx="6949440" cy="633984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600" noProof="1">
                <a:solidFill>
                  <a:srgbClr val="16303A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Анализ в смешанных (по странам) группах за столами — три вывода на стикере</a:t>
            </a:r>
            <a:endParaRPr lang="ru-RU" sz="1600" noProof="1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8" name="Text 16">
            <a:extLst>
              <a:ext uri="{FF2B5EF4-FFF2-40B4-BE49-F238E27FC236}">
                <a16:creationId xmlns:a16="http://schemas.microsoft.com/office/drawing/2014/main" id="{9834E2FA-AF6A-8788-FE86-D1E2EF1DEA8E}"/>
              </a:ext>
            </a:extLst>
          </p:cNvPr>
          <p:cNvSpPr/>
          <p:nvPr/>
        </p:nvSpPr>
        <p:spPr>
          <a:xfrm>
            <a:off x="9352599" y="3114409"/>
            <a:ext cx="2194560" cy="633984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600" noProof="1">
                <a:solidFill>
                  <a:srgbClr val="3D6673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Смешанные (по странам) группы за столами</a:t>
            </a:r>
            <a:endParaRPr lang="ru-RU" sz="1600" noProof="1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9" name="Shape 17">
            <a:extLst>
              <a:ext uri="{FF2B5EF4-FFF2-40B4-BE49-F238E27FC236}">
                <a16:creationId xmlns:a16="http://schemas.microsoft.com/office/drawing/2014/main" id="{11ECDCEA-DC01-4EA2-9EC3-1195E7E8E662}"/>
              </a:ext>
            </a:extLst>
          </p:cNvPr>
          <p:cNvSpPr/>
          <p:nvPr/>
        </p:nvSpPr>
        <p:spPr>
          <a:xfrm>
            <a:off x="635318" y="3845929"/>
            <a:ext cx="10911841" cy="731520"/>
          </a:xfrm>
          <a:prstGeom prst="rect">
            <a:avLst/>
          </a:prstGeom>
          <a:solidFill>
            <a:srgbClr val="D6F0F3"/>
          </a:solidFill>
          <a:ln w="5080">
            <a:solidFill>
              <a:srgbClr val="B2D8DE"/>
            </a:solidFill>
            <a:prstDash val="solid"/>
          </a:ln>
        </p:spPr>
        <p:txBody>
          <a:bodyPr/>
          <a:lstStyle/>
          <a:p>
            <a:pPr defTabSz="1219170">
              <a:defRPr/>
            </a:pPr>
            <a:endParaRPr lang="ru-RU" sz="2400" noProof="1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20" name="Text 18">
            <a:extLst>
              <a:ext uri="{FF2B5EF4-FFF2-40B4-BE49-F238E27FC236}">
                <a16:creationId xmlns:a16="http://schemas.microsoft.com/office/drawing/2014/main" id="{45E53DF3-ECED-B3A3-6276-95C3E5B0D1A0}"/>
              </a:ext>
            </a:extLst>
          </p:cNvPr>
          <p:cNvSpPr/>
          <p:nvPr/>
        </p:nvSpPr>
        <p:spPr>
          <a:xfrm>
            <a:off x="696277" y="3906889"/>
            <a:ext cx="1950720" cy="633984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600" b="1" noProof="1">
                <a:solidFill>
                  <a:srgbClr val="027A87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16:43 – 16:50</a:t>
            </a:r>
            <a:endParaRPr lang="ru-RU" sz="1600" noProof="1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21" name="Text 19">
            <a:extLst>
              <a:ext uri="{FF2B5EF4-FFF2-40B4-BE49-F238E27FC236}">
                <a16:creationId xmlns:a16="http://schemas.microsoft.com/office/drawing/2014/main" id="{D543C11E-5F70-0157-8322-91ABB9C5547F}"/>
              </a:ext>
            </a:extLst>
          </p:cNvPr>
          <p:cNvSpPr/>
          <p:nvPr/>
        </p:nvSpPr>
        <p:spPr>
          <a:xfrm>
            <a:off x="2890837" y="3906889"/>
            <a:ext cx="6949440" cy="633984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600" noProof="1">
                <a:solidFill>
                  <a:srgbClr val="16303A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Ответы презентующих — по 2 минуты</a:t>
            </a:r>
            <a:endParaRPr lang="ru-RU" sz="1600" noProof="1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22" name="Text 20">
            <a:extLst>
              <a:ext uri="{FF2B5EF4-FFF2-40B4-BE49-F238E27FC236}">
                <a16:creationId xmlns:a16="http://schemas.microsoft.com/office/drawing/2014/main" id="{60D3B343-33E8-D34D-1506-56DA52665A02}"/>
              </a:ext>
            </a:extLst>
          </p:cNvPr>
          <p:cNvSpPr/>
          <p:nvPr/>
        </p:nvSpPr>
        <p:spPr>
          <a:xfrm>
            <a:off x="9352599" y="3906889"/>
            <a:ext cx="2194560" cy="633984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600" noProof="1">
                <a:solidFill>
                  <a:srgbClr val="3D6673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Пленарное заседание</a:t>
            </a:r>
            <a:endParaRPr lang="ru-RU" sz="1600" noProof="1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23" name="Shape 21">
            <a:extLst>
              <a:ext uri="{FF2B5EF4-FFF2-40B4-BE49-F238E27FC236}">
                <a16:creationId xmlns:a16="http://schemas.microsoft.com/office/drawing/2014/main" id="{99A95CAA-1514-CFF6-99D2-3DA3F9DE541F}"/>
              </a:ext>
            </a:extLst>
          </p:cNvPr>
          <p:cNvSpPr/>
          <p:nvPr/>
        </p:nvSpPr>
        <p:spPr>
          <a:xfrm>
            <a:off x="635318" y="4638409"/>
            <a:ext cx="10911841" cy="731520"/>
          </a:xfrm>
          <a:prstGeom prst="rect">
            <a:avLst/>
          </a:prstGeom>
          <a:solidFill>
            <a:srgbClr val="FFFFFF"/>
          </a:solidFill>
          <a:ln w="5080">
            <a:solidFill>
              <a:srgbClr val="B2D8DE"/>
            </a:solidFill>
            <a:prstDash val="solid"/>
          </a:ln>
        </p:spPr>
        <p:txBody>
          <a:bodyPr/>
          <a:lstStyle/>
          <a:p>
            <a:pPr defTabSz="1219170">
              <a:defRPr/>
            </a:pPr>
            <a:endParaRPr lang="ru-RU" sz="2400" noProof="1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24" name="Text 22">
            <a:extLst>
              <a:ext uri="{FF2B5EF4-FFF2-40B4-BE49-F238E27FC236}">
                <a16:creationId xmlns:a16="http://schemas.microsoft.com/office/drawing/2014/main" id="{B2C27713-224D-ECC1-3901-D78DE2309264}"/>
              </a:ext>
            </a:extLst>
          </p:cNvPr>
          <p:cNvSpPr/>
          <p:nvPr/>
        </p:nvSpPr>
        <p:spPr>
          <a:xfrm>
            <a:off x="696277" y="4699369"/>
            <a:ext cx="1950720" cy="633984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600" b="1" noProof="1">
                <a:solidFill>
                  <a:srgbClr val="027A87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16:50 – 16:58</a:t>
            </a:r>
            <a:endParaRPr lang="ru-RU" sz="1600" noProof="1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25" name="Text 23">
            <a:extLst>
              <a:ext uri="{FF2B5EF4-FFF2-40B4-BE49-F238E27FC236}">
                <a16:creationId xmlns:a16="http://schemas.microsoft.com/office/drawing/2014/main" id="{03938BA0-3455-1A48-D269-D7173A883F4D}"/>
              </a:ext>
            </a:extLst>
          </p:cNvPr>
          <p:cNvSpPr/>
          <p:nvPr/>
        </p:nvSpPr>
        <p:spPr>
          <a:xfrm>
            <a:off x="2890837" y="4699369"/>
            <a:ext cx="6949440" cy="633984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600" noProof="1">
                <a:solidFill>
                  <a:srgbClr val="16303A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Синтез фасилитатора — межкейсовые паттерны без называния стран</a:t>
            </a:r>
            <a:endParaRPr lang="ru-RU" sz="1600" noProof="1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26" name="Text 24">
            <a:extLst>
              <a:ext uri="{FF2B5EF4-FFF2-40B4-BE49-F238E27FC236}">
                <a16:creationId xmlns:a16="http://schemas.microsoft.com/office/drawing/2014/main" id="{525FB6AD-5A45-8C6F-B5F6-B955FE2440B2}"/>
              </a:ext>
            </a:extLst>
          </p:cNvPr>
          <p:cNvSpPr/>
          <p:nvPr/>
        </p:nvSpPr>
        <p:spPr>
          <a:xfrm>
            <a:off x="9352599" y="4699369"/>
            <a:ext cx="2194560" cy="633984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600" noProof="1">
                <a:solidFill>
                  <a:srgbClr val="3D6673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Пленарное заседание</a:t>
            </a:r>
            <a:endParaRPr lang="ru-RU" sz="1600" noProof="1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27" name="Shape 25">
            <a:extLst>
              <a:ext uri="{FF2B5EF4-FFF2-40B4-BE49-F238E27FC236}">
                <a16:creationId xmlns:a16="http://schemas.microsoft.com/office/drawing/2014/main" id="{9B3EBDB7-4391-0E8A-0C0E-3FF8B482A317}"/>
              </a:ext>
            </a:extLst>
          </p:cNvPr>
          <p:cNvSpPr/>
          <p:nvPr/>
        </p:nvSpPr>
        <p:spPr>
          <a:xfrm>
            <a:off x="635318" y="5430889"/>
            <a:ext cx="10911841" cy="731520"/>
          </a:xfrm>
          <a:prstGeom prst="rect">
            <a:avLst/>
          </a:prstGeom>
          <a:solidFill>
            <a:srgbClr val="D6F0F3"/>
          </a:solidFill>
          <a:ln w="5080">
            <a:solidFill>
              <a:srgbClr val="B2D8DE"/>
            </a:solidFill>
            <a:prstDash val="solid"/>
          </a:ln>
        </p:spPr>
        <p:txBody>
          <a:bodyPr/>
          <a:lstStyle/>
          <a:p>
            <a:pPr defTabSz="1219170">
              <a:defRPr/>
            </a:pPr>
            <a:endParaRPr lang="ru-RU" sz="2400" noProof="1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28" name="Text 26">
            <a:extLst>
              <a:ext uri="{FF2B5EF4-FFF2-40B4-BE49-F238E27FC236}">
                <a16:creationId xmlns:a16="http://schemas.microsoft.com/office/drawing/2014/main" id="{431A6F7D-9CFD-C170-A1FC-E502974F4A51}"/>
              </a:ext>
            </a:extLst>
          </p:cNvPr>
          <p:cNvSpPr/>
          <p:nvPr/>
        </p:nvSpPr>
        <p:spPr>
          <a:xfrm>
            <a:off x="696277" y="5491849"/>
            <a:ext cx="1950720" cy="633984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600" b="1" noProof="1">
                <a:solidFill>
                  <a:srgbClr val="027A87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16:58 – 17:00</a:t>
            </a:r>
            <a:endParaRPr lang="ru-RU" sz="1600" noProof="1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29" name="Text 27">
            <a:extLst>
              <a:ext uri="{FF2B5EF4-FFF2-40B4-BE49-F238E27FC236}">
                <a16:creationId xmlns:a16="http://schemas.microsoft.com/office/drawing/2014/main" id="{97B54069-683D-6F36-D624-71E5AAF2F260}"/>
              </a:ext>
            </a:extLst>
          </p:cNvPr>
          <p:cNvSpPr/>
          <p:nvPr/>
        </p:nvSpPr>
        <p:spPr>
          <a:xfrm>
            <a:off x="2890837" y="5491849"/>
            <a:ext cx="6949440" cy="633984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600" noProof="1">
                <a:solidFill>
                  <a:srgbClr val="16303A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Переход к закрытию 1-го дня и рефлексии 3-2-1</a:t>
            </a:r>
            <a:endParaRPr lang="ru-RU" sz="1600" noProof="1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30" name="Text 28">
            <a:extLst>
              <a:ext uri="{FF2B5EF4-FFF2-40B4-BE49-F238E27FC236}">
                <a16:creationId xmlns:a16="http://schemas.microsoft.com/office/drawing/2014/main" id="{308F60AB-0B86-50D3-21D9-E1E9CF874105}"/>
              </a:ext>
            </a:extLst>
          </p:cNvPr>
          <p:cNvSpPr/>
          <p:nvPr/>
        </p:nvSpPr>
        <p:spPr>
          <a:xfrm>
            <a:off x="9352599" y="5491849"/>
            <a:ext cx="2194560" cy="633984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600" noProof="1">
                <a:solidFill>
                  <a:srgbClr val="3D6673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Пленарное заседание</a:t>
            </a:r>
            <a:endParaRPr lang="ru-RU" sz="1600" noProof="1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31" name="Text 29">
            <a:extLst>
              <a:ext uri="{FF2B5EF4-FFF2-40B4-BE49-F238E27FC236}">
                <a16:creationId xmlns:a16="http://schemas.microsoft.com/office/drawing/2014/main" id="{61405885-591D-A130-79EC-373AC4764512}"/>
              </a:ext>
            </a:extLst>
          </p:cNvPr>
          <p:cNvSpPr/>
          <p:nvPr/>
        </p:nvSpPr>
        <p:spPr>
          <a:xfrm>
            <a:off x="696277" y="6369673"/>
            <a:ext cx="11460480" cy="30480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267" i="1" noProof="1">
                <a:solidFill>
                  <a:schemeClr val="bg1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Шаблоны наблюдения (по 3 на участника) заранее размещены на столах до 15:30. Презентующие проинструктированы не менее чем за две недели до мероприятия.</a:t>
            </a:r>
            <a:endParaRPr lang="ru-RU" sz="1267" noProof="1">
              <a:solidFill>
                <a:schemeClr val="bg1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360180876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DEAFABF-9EDD-A57B-29CC-3A2F96B68F6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noProof="1"/>
              <a:t>Шаблон для презентующего</a:t>
            </a:r>
          </a:p>
        </p:txBody>
      </p:sp>
      <p:sp>
        <p:nvSpPr>
          <p:cNvPr id="3" name="Shape 5">
            <a:extLst>
              <a:ext uri="{FF2B5EF4-FFF2-40B4-BE49-F238E27FC236}">
                <a16:creationId xmlns:a16="http://schemas.microsoft.com/office/drawing/2014/main" id="{122680E3-6062-59F5-13D3-B297BD779A18}"/>
              </a:ext>
            </a:extLst>
          </p:cNvPr>
          <p:cNvSpPr/>
          <p:nvPr/>
        </p:nvSpPr>
        <p:spPr>
          <a:xfrm>
            <a:off x="635317" y="1533488"/>
            <a:ext cx="10972800" cy="999744"/>
          </a:xfrm>
          <a:prstGeom prst="rect">
            <a:avLst/>
          </a:prstGeom>
          <a:solidFill>
            <a:srgbClr val="FFFFFF"/>
          </a:solidFill>
          <a:ln w="6350">
            <a:solidFill>
              <a:srgbClr val="B2D8DE"/>
            </a:solidFill>
            <a:prstDash val="solid"/>
          </a:ln>
          <a:effectLst>
            <a:outerShdw blurRad="76200" dist="38100" dir="8100000" algn="bl" rotWithShape="0">
              <a:srgbClr val="000000">
                <a:alpha val="10000"/>
              </a:srgbClr>
            </a:outerShdw>
          </a:effectLst>
        </p:spPr>
        <p:txBody>
          <a:bodyPr/>
          <a:lstStyle/>
          <a:p>
            <a:pPr defTabSz="1219170">
              <a:defRPr/>
            </a:pPr>
            <a:endParaRPr lang="ru-RU" sz="16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Shape 6">
            <a:extLst>
              <a:ext uri="{FF2B5EF4-FFF2-40B4-BE49-F238E27FC236}">
                <a16:creationId xmlns:a16="http://schemas.microsoft.com/office/drawing/2014/main" id="{3A694132-0ABA-24F3-844C-8831E212C318}"/>
              </a:ext>
            </a:extLst>
          </p:cNvPr>
          <p:cNvSpPr/>
          <p:nvPr/>
        </p:nvSpPr>
        <p:spPr>
          <a:xfrm>
            <a:off x="635317" y="1533488"/>
            <a:ext cx="121920" cy="999744"/>
          </a:xfrm>
          <a:prstGeom prst="rect">
            <a:avLst/>
          </a:prstGeom>
          <a:solidFill>
            <a:srgbClr val="027A87"/>
          </a:solidFill>
          <a:ln w="12700">
            <a:solidFill>
              <a:srgbClr val="027A87"/>
            </a:solidFill>
            <a:prstDash val="solid"/>
          </a:ln>
        </p:spPr>
        <p:txBody>
          <a:bodyPr/>
          <a:lstStyle/>
          <a:p>
            <a:pPr defTabSz="1219170">
              <a:defRPr/>
            </a:pPr>
            <a:endParaRPr lang="ru-RU" sz="16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Text 7">
            <a:extLst>
              <a:ext uri="{FF2B5EF4-FFF2-40B4-BE49-F238E27FC236}">
                <a16:creationId xmlns:a16="http://schemas.microsoft.com/office/drawing/2014/main" id="{D813A1A4-5F85-39FB-4EC6-B2833A516ED6}"/>
              </a:ext>
            </a:extLst>
          </p:cNvPr>
          <p:cNvSpPr/>
          <p:nvPr/>
        </p:nvSpPr>
        <p:spPr>
          <a:xfrm>
            <a:off x="940117" y="1502564"/>
            <a:ext cx="10668000" cy="341376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600" b="1" kern="0" spc="67" noProof="1">
                <a:solidFill>
                  <a:srgbClr val="027A87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Вопрос 1:</a:t>
            </a:r>
            <a:endParaRPr lang="ru-RU" sz="16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Text 8">
            <a:extLst>
              <a:ext uri="{FF2B5EF4-FFF2-40B4-BE49-F238E27FC236}">
                <a16:creationId xmlns:a16="http://schemas.microsoft.com/office/drawing/2014/main" id="{C9C4BB4B-EFBB-0D9A-1EE6-06D03F921689}"/>
              </a:ext>
            </a:extLst>
          </p:cNvPr>
          <p:cNvSpPr/>
          <p:nvPr/>
        </p:nvSpPr>
        <p:spPr>
          <a:xfrm>
            <a:off x="940117" y="1888544"/>
            <a:ext cx="5486400" cy="512064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600" b="1" noProof="1">
                <a:solidFill>
                  <a:srgbClr val="16303A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Чего пытается достичь эта программа профессионального развития педагогов — для педагогов и в конечном итоге для обучающихся?</a:t>
            </a:r>
            <a:endParaRPr lang="ru-RU" sz="16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Text 9">
            <a:extLst>
              <a:ext uri="{FF2B5EF4-FFF2-40B4-BE49-F238E27FC236}">
                <a16:creationId xmlns:a16="http://schemas.microsoft.com/office/drawing/2014/main" id="{02C876F1-5605-4528-14C6-DF66A68783F9}"/>
              </a:ext>
            </a:extLst>
          </p:cNvPr>
          <p:cNvSpPr/>
          <p:nvPr/>
        </p:nvSpPr>
        <p:spPr>
          <a:xfrm>
            <a:off x="6487477" y="1655408"/>
            <a:ext cx="5120640" cy="79248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600" i="1" noProof="1">
                <a:solidFill>
                  <a:srgbClr val="3D6673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Уточните, какая группа педагогов является целевой. Избегайте общих заявлений об улучшении качества.</a:t>
            </a:r>
            <a:endParaRPr lang="ru-RU" sz="16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Shape 10">
            <a:extLst>
              <a:ext uri="{FF2B5EF4-FFF2-40B4-BE49-F238E27FC236}">
                <a16:creationId xmlns:a16="http://schemas.microsoft.com/office/drawing/2014/main" id="{7FF31E1A-1E37-5BB1-DFD1-85B0BF7F221F}"/>
              </a:ext>
            </a:extLst>
          </p:cNvPr>
          <p:cNvSpPr/>
          <p:nvPr/>
        </p:nvSpPr>
        <p:spPr>
          <a:xfrm>
            <a:off x="635317" y="2630768"/>
            <a:ext cx="10972800" cy="999744"/>
          </a:xfrm>
          <a:prstGeom prst="rect">
            <a:avLst/>
          </a:prstGeom>
          <a:solidFill>
            <a:srgbClr val="D6F0F3"/>
          </a:solidFill>
          <a:ln w="6350">
            <a:solidFill>
              <a:srgbClr val="B2D8DE"/>
            </a:solidFill>
            <a:prstDash val="solid"/>
          </a:ln>
          <a:effectLst>
            <a:outerShdw blurRad="76200" dist="38100" dir="8100000" algn="bl" rotWithShape="0">
              <a:srgbClr val="000000">
                <a:alpha val="10000"/>
              </a:srgbClr>
            </a:outerShdw>
          </a:effectLst>
        </p:spPr>
        <p:txBody>
          <a:bodyPr/>
          <a:lstStyle/>
          <a:p>
            <a:pPr defTabSz="1219170">
              <a:defRPr/>
            </a:pPr>
            <a:endParaRPr lang="ru-RU" sz="16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Shape 11">
            <a:extLst>
              <a:ext uri="{FF2B5EF4-FFF2-40B4-BE49-F238E27FC236}">
                <a16:creationId xmlns:a16="http://schemas.microsoft.com/office/drawing/2014/main" id="{08CCDA39-FD1A-2AE6-C3B1-D4F39DF3B4BC}"/>
              </a:ext>
            </a:extLst>
          </p:cNvPr>
          <p:cNvSpPr/>
          <p:nvPr/>
        </p:nvSpPr>
        <p:spPr>
          <a:xfrm>
            <a:off x="635317" y="2630768"/>
            <a:ext cx="121920" cy="999744"/>
          </a:xfrm>
          <a:prstGeom prst="rect">
            <a:avLst/>
          </a:prstGeom>
          <a:solidFill>
            <a:srgbClr val="027A87"/>
          </a:solidFill>
          <a:ln w="12700">
            <a:solidFill>
              <a:srgbClr val="027A87"/>
            </a:solidFill>
            <a:prstDash val="solid"/>
          </a:ln>
        </p:spPr>
        <p:txBody>
          <a:bodyPr/>
          <a:lstStyle/>
          <a:p>
            <a:pPr defTabSz="1219170">
              <a:defRPr/>
            </a:pPr>
            <a:endParaRPr lang="ru-RU" sz="16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Text 12">
            <a:extLst>
              <a:ext uri="{FF2B5EF4-FFF2-40B4-BE49-F238E27FC236}">
                <a16:creationId xmlns:a16="http://schemas.microsoft.com/office/drawing/2014/main" id="{35CD5461-6D0D-8BFC-A1E5-BC295511B954}"/>
              </a:ext>
            </a:extLst>
          </p:cNvPr>
          <p:cNvSpPr/>
          <p:nvPr/>
        </p:nvSpPr>
        <p:spPr>
          <a:xfrm>
            <a:off x="940117" y="2644448"/>
            <a:ext cx="10668000" cy="341376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600" b="1" kern="0" spc="67" noProof="1">
                <a:solidFill>
                  <a:srgbClr val="027A87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Вопрос 2:</a:t>
            </a:r>
            <a:endParaRPr lang="ru-RU" sz="16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Text 13">
            <a:extLst>
              <a:ext uri="{FF2B5EF4-FFF2-40B4-BE49-F238E27FC236}">
                <a16:creationId xmlns:a16="http://schemas.microsoft.com/office/drawing/2014/main" id="{797510A8-B4E9-CAE2-D437-62323E2DEE2E}"/>
              </a:ext>
            </a:extLst>
          </p:cNvPr>
          <p:cNvSpPr/>
          <p:nvPr/>
        </p:nvSpPr>
        <p:spPr>
          <a:xfrm>
            <a:off x="940117" y="2985824"/>
            <a:ext cx="5486400" cy="512064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600" b="1" noProof="1">
                <a:solidFill>
                  <a:srgbClr val="16303A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Как она разработана и реализуется — что на самом деле переживает участник?</a:t>
            </a:r>
            <a:endParaRPr lang="ru-RU" sz="16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Text 14">
            <a:extLst>
              <a:ext uri="{FF2B5EF4-FFF2-40B4-BE49-F238E27FC236}">
                <a16:creationId xmlns:a16="http://schemas.microsoft.com/office/drawing/2014/main" id="{69F157D6-A5CF-EA17-7C43-42EE6DB6F5ED}"/>
              </a:ext>
            </a:extLst>
          </p:cNvPr>
          <p:cNvSpPr/>
          <p:nvPr/>
        </p:nvSpPr>
        <p:spPr>
          <a:xfrm>
            <a:off x="6487477" y="2752688"/>
            <a:ext cx="5120640" cy="79248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600" i="1" noProof="1">
                <a:solidFill>
                  <a:srgbClr val="3D6673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Опишите типичную сессию изнутри. Пассивная или активная? Индивидуальная или групповая? Связана с классами или гипотетическая?</a:t>
            </a:r>
            <a:endParaRPr lang="ru-RU" sz="16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Shape 15">
            <a:extLst>
              <a:ext uri="{FF2B5EF4-FFF2-40B4-BE49-F238E27FC236}">
                <a16:creationId xmlns:a16="http://schemas.microsoft.com/office/drawing/2014/main" id="{611D65D4-9127-2971-EC23-C315F738BB17}"/>
              </a:ext>
            </a:extLst>
          </p:cNvPr>
          <p:cNvSpPr/>
          <p:nvPr/>
        </p:nvSpPr>
        <p:spPr>
          <a:xfrm>
            <a:off x="635317" y="3728048"/>
            <a:ext cx="10972800" cy="999744"/>
          </a:xfrm>
          <a:prstGeom prst="rect">
            <a:avLst/>
          </a:prstGeom>
          <a:solidFill>
            <a:srgbClr val="FFFFFF"/>
          </a:solidFill>
          <a:ln w="6350">
            <a:solidFill>
              <a:srgbClr val="B2D8DE"/>
            </a:solidFill>
            <a:prstDash val="solid"/>
          </a:ln>
          <a:effectLst>
            <a:outerShdw blurRad="76200" dist="38100" dir="8100000" algn="bl" rotWithShape="0">
              <a:srgbClr val="000000">
                <a:alpha val="10000"/>
              </a:srgbClr>
            </a:outerShdw>
          </a:effectLst>
        </p:spPr>
        <p:txBody>
          <a:bodyPr/>
          <a:lstStyle/>
          <a:p>
            <a:pPr defTabSz="1219170">
              <a:defRPr/>
            </a:pPr>
            <a:endParaRPr lang="ru-RU" sz="16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Shape 16">
            <a:extLst>
              <a:ext uri="{FF2B5EF4-FFF2-40B4-BE49-F238E27FC236}">
                <a16:creationId xmlns:a16="http://schemas.microsoft.com/office/drawing/2014/main" id="{DEB35D42-2A2F-310D-D923-7CA0C2DFE850}"/>
              </a:ext>
            </a:extLst>
          </p:cNvPr>
          <p:cNvSpPr/>
          <p:nvPr/>
        </p:nvSpPr>
        <p:spPr>
          <a:xfrm>
            <a:off x="635317" y="3728048"/>
            <a:ext cx="121920" cy="999744"/>
          </a:xfrm>
          <a:prstGeom prst="rect">
            <a:avLst/>
          </a:prstGeom>
          <a:solidFill>
            <a:srgbClr val="027A87"/>
          </a:solidFill>
          <a:ln w="12700">
            <a:solidFill>
              <a:srgbClr val="027A87"/>
            </a:solidFill>
            <a:prstDash val="solid"/>
          </a:ln>
        </p:spPr>
        <p:txBody>
          <a:bodyPr/>
          <a:lstStyle/>
          <a:p>
            <a:pPr defTabSz="1219170">
              <a:defRPr/>
            </a:pPr>
            <a:endParaRPr lang="ru-RU" sz="16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Text 17">
            <a:extLst>
              <a:ext uri="{FF2B5EF4-FFF2-40B4-BE49-F238E27FC236}">
                <a16:creationId xmlns:a16="http://schemas.microsoft.com/office/drawing/2014/main" id="{C11D09AA-1A9F-D02B-ACCE-E63D952881F3}"/>
              </a:ext>
            </a:extLst>
          </p:cNvPr>
          <p:cNvSpPr/>
          <p:nvPr/>
        </p:nvSpPr>
        <p:spPr>
          <a:xfrm>
            <a:off x="940117" y="3771464"/>
            <a:ext cx="10668000" cy="341376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600" b="1" kern="0" spc="67" noProof="1">
                <a:solidFill>
                  <a:srgbClr val="027A87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Вопрос 3:</a:t>
            </a:r>
            <a:endParaRPr lang="ru-RU" sz="16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Text 18">
            <a:extLst>
              <a:ext uri="{FF2B5EF4-FFF2-40B4-BE49-F238E27FC236}">
                <a16:creationId xmlns:a16="http://schemas.microsoft.com/office/drawing/2014/main" id="{6E4DF82A-771E-18A5-11CF-A8FA785261D6}"/>
              </a:ext>
            </a:extLst>
          </p:cNvPr>
          <p:cNvSpPr/>
          <p:nvPr/>
        </p:nvSpPr>
        <p:spPr>
          <a:xfrm>
            <a:off x="940117" y="4112840"/>
            <a:ext cx="5486400" cy="512064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600" b="1" noProof="1">
                <a:solidFill>
                  <a:srgbClr val="16303A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Какие данные свидетельствуют о том, что она работает — или ещё не работает?</a:t>
            </a:r>
            <a:endParaRPr lang="ru-RU" sz="16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Text 19">
            <a:extLst>
              <a:ext uri="{FF2B5EF4-FFF2-40B4-BE49-F238E27FC236}">
                <a16:creationId xmlns:a16="http://schemas.microsoft.com/office/drawing/2014/main" id="{EC8A49F5-92C4-093F-386C-CE45A457ADA9}"/>
              </a:ext>
            </a:extLst>
          </p:cNvPr>
          <p:cNvSpPr/>
          <p:nvPr/>
        </p:nvSpPr>
        <p:spPr>
          <a:xfrm>
            <a:off x="6487477" y="3849968"/>
            <a:ext cx="5120640" cy="79248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600" i="1" noProof="1">
                <a:solidFill>
                  <a:srgbClr val="3D6673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Не обязательно формальные исследования. Честное признание слабости оценки полезнее, чем бездоказательные заявления.</a:t>
            </a:r>
            <a:endParaRPr lang="ru-RU" sz="16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Shape 20">
            <a:extLst>
              <a:ext uri="{FF2B5EF4-FFF2-40B4-BE49-F238E27FC236}">
                <a16:creationId xmlns:a16="http://schemas.microsoft.com/office/drawing/2014/main" id="{51D21A38-9F17-3E8E-BE07-884F0EDD062A}"/>
              </a:ext>
            </a:extLst>
          </p:cNvPr>
          <p:cNvSpPr/>
          <p:nvPr/>
        </p:nvSpPr>
        <p:spPr>
          <a:xfrm>
            <a:off x="635317" y="4825328"/>
            <a:ext cx="10972800" cy="999744"/>
          </a:xfrm>
          <a:prstGeom prst="rect">
            <a:avLst/>
          </a:prstGeom>
          <a:solidFill>
            <a:srgbClr val="D6F0F3"/>
          </a:solidFill>
          <a:ln w="6350">
            <a:solidFill>
              <a:srgbClr val="B2D8DE"/>
            </a:solidFill>
            <a:prstDash val="solid"/>
          </a:ln>
          <a:effectLst>
            <a:outerShdw blurRad="76200" dist="38100" dir="8100000" algn="bl" rotWithShape="0">
              <a:srgbClr val="000000">
                <a:alpha val="10000"/>
              </a:srgbClr>
            </a:outerShdw>
          </a:effectLst>
        </p:spPr>
        <p:txBody>
          <a:bodyPr/>
          <a:lstStyle/>
          <a:p>
            <a:pPr defTabSz="1219170">
              <a:defRPr/>
            </a:pPr>
            <a:endParaRPr lang="ru-RU" sz="16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Shape 21">
            <a:extLst>
              <a:ext uri="{FF2B5EF4-FFF2-40B4-BE49-F238E27FC236}">
                <a16:creationId xmlns:a16="http://schemas.microsoft.com/office/drawing/2014/main" id="{2BE4291A-8298-D752-6E37-EB4801134915}"/>
              </a:ext>
            </a:extLst>
          </p:cNvPr>
          <p:cNvSpPr/>
          <p:nvPr/>
        </p:nvSpPr>
        <p:spPr>
          <a:xfrm>
            <a:off x="635317" y="4825328"/>
            <a:ext cx="121920" cy="999744"/>
          </a:xfrm>
          <a:prstGeom prst="rect">
            <a:avLst/>
          </a:prstGeom>
          <a:solidFill>
            <a:srgbClr val="027A87"/>
          </a:solidFill>
          <a:ln w="12700">
            <a:solidFill>
              <a:srgbClr val="027A87"/>
            </a:solidFill>
            <a:prstDash val="solid"/>
          </a:ln>
        </p:spPr>
        <p:txBody>
          <a:bodyPr/>
          <a:lstStyle/>
          <a:p>
            <a:pPr defTabSz="1219170">
              <a:defRPr/>
            </a:pPr>
            <a:endParaRPr lang="ru-RU" sz="16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" name="Text 22">
            <a:extLst>
              <a:ext uri="{FF2B5EF4-FFF2-40B4-BE49-F238E27FC236}">
                <a16:creationId xmlns:a16="http://schemas.microsoft.com/office/drawing/2014/main" id="{7298707A-EDB9-891A-FBAA-722ABA09A61C}"/>
              </a:ext>
            </a:extLst>
          </p:cNvPr>
          <p:cNvSpPr/>
          <p:nvPr/>
        </p:nvSpPr>
        <p:spPr>
          <a:xfrm>
            <a:off x="940117" y="4809272"/>
            <a:ext cx="10668000" cy="341376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600" b="1" kern="0" spc="67" noProof="1">
                <a:solidFill>
                  <a:srgbClr val="027A87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Вопрос 4:</a:t>
            </a:r>
            <a:endParaRPr lang="ru-RU" sz="16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" name="Text 23">
            <a:extLst>
              <a:ext uri="{FF2B5EF4-FFF2-40B4-BE49-F238E27FC236}">
                <a16:creationId xmlns:a16="http://schemas.microsoft.com/office/drawing/2014/main" id="{D905EB9B-F0CF-62A0-3631-BE2AC46A1397}"/>
              </a:ext>
            </a:extLst>
          </p:cNvPr>
          <p:cNvSpPr/>
          <p:nvPr/>
        </p:nvSpPr>
        <p:spPr>
          <a:xfrm>
            <a:off x="940117" y="5180384"/>
            <a:ext cx="5486400" cy="512064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600" b="1" noProof="1">
                <a:solidFill>
                  <a:srgbClr val="16303A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Где вы видите одну конкретную точку входа, где дизайн профессионального развития педагогов мог бы укрепить эту программу?</a:t>
            </a:r>
            <a:endParaRPr lang="ru-RU" sz="16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2" name="Text 24">
            <a:extLst>
              <a:ext uri="{FF2B5EF4-FFF2-40B4-BE49-F238E27FC236}">
                <a16:creationId xmlns:a16="http://schemas.microsoft.com/office/drawing/2014/main" id="{FD84C461-B846-65F6-A000-4914078EB001}"/>
              </a:ext>
            </a:extLst>
          </p:cNvPr>
          <p:cNvSpPr/>
          <p:nvPr/>
        </p:nvSpPr>
        <p:spPr>
          <a:xfrm>
            <a:off x="6487477" y="4947248"/>
            <a:ext cx="5120640" cy="79248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600" i="1" noProof="1">
                <a:solidFill>
                  <a:srgbClr val="3D6673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Позиционируйте себя как критического друга, а не защитника. Наиболее полезные презентации называют пробел и говорят что-то реальное о причинах его существования.</a:t>
            </a:r>
            <a:endParaRPr lang="ru-RU" sz="16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7804143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hape 0"/>
          <p:cNvSpPr/>
          <p:nvPr/>
        </p:nvSpPr>
        <p:spPr>
          <a:xfrm>
            <a:off x="0" y="0"/>
            <a:ext cx="12192000" cy="1036320"/>
          </a:xfrm>
          <a:prstGeom prst="rect">
            <a:avLst/>
          </a:prstGeom>
          <a:solidFill>
            <a:srgbClr val="16303A"/>
          </a:solidFill>
          <a:ln w="12700">
            <a:solidFill>
              <a:srgbClr val="16303A"/>
            </a:solidFill>
            <a:prstDash val="solid"/>
          </a:ln>
        </p:spPr>
        <p:txBody>
          <a:bodyPr/>
          <a:lstStyle/>
          <a:p>
            <a:pPr defTabSz="1219170">
              <a:defRPr/>
            </a:pPr>
            <a:endParaRPr lang="ru-RU" sz="2400" noProof="1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3" name="Text 1"/>
          <p:cNvSpPr/>
          <p:nvPr/>
        </p:nvSpPr>
        <p:spPr>
          <a:xfrm>
            <a:off x="609600" y="0"/>
            <a:ext cx="10972800" cy="103632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867" b="1" kern="0" spc="267" noProof="1">
                <a:solidFill>
                  <a:srgbClr val="E8940A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СПРАВКА ДЛЯ ФАСИЛИТАТОРА  |  Принципы отбора кейсов и деликатного обращения</a:t>
            </a:r>
            <a:endParaRPr lang="ru-RU" sz="1867" noProof="1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4" name="Shape 2"/>
          <p:cNvSpPr/>
          <p:nvPr/>
        </p:nvSpPr>
        <p:spPr>
          <a:xfrm>
            <a:off x="487680" y="1158240"/>
            <a:ext cx="11216640" cy="877824"/>
          </a:xfrm>
          <a:prstGeom prst="rect">
            <a:avLst/>
          </a:prstGeom>
          <a:solidFill>
            <a:srgbClr val="FFF3E0"/>
          </a:solidFill>
          <a:ln w="19050">
            <a:solidFill>
              <a:srgbClr val="B85C00"/>
            </a:solidFill>
            <a:prstDash val="solid"/>
          </a:ln>
        </p:spPr>
        <p:txBody>
          <a:bodyPr/>
          <a:lstStyle/>
          <a:p>
            <a:pPr defTabSz="1219170">
              <a:defRPr/>
            </a:pPr>
            <a:endParaRPr lang="ru-RU" sz="2400" noProof="1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5" name="Shape 3"/>
          <p:cNvSpPr/>
          <p:nvPr/>
        </p:nvSpPr>
        <p:spPr>
          <a:xfrm>
            <a:off x="487680" y="1158240"/>
            <a:ext cx="146304" cy="877824"/>
          </a:xfrm>
          <a:prstGeom prst="rect">
            <a:avLst/>
          </a:prstGeom>
          <a:solidFill>
            <a:srgbClr val="B85C00"/>
          </a:solidFill>
          <a:ln w="12700">
            <a:solidFill>
              <a:srgbClr val="B85C00"/>
            </a:solidFill>
            <a:prstDash val="solid"/>
          </a:ln>
        </p:spPr>
        <p:txBody>
          <a:bodyPr/>
          <a:lstStyle/>
          <a:p>
            <a:pPr defTabSz="1219170">
              <a:defRPr/>
            </a:pPr>
            <a:endParaRPr lang="ru-RU" sz="2400" noProof="1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6" name="Text 4"/>
          <p:cNvSpPr/>
          <p:nvPr/>
        </p:nvSpPr>
        <p:spPr>
          <a:xfrm>
            <a:off x="853440" y="1158240"/>
            <a:ext cx="10668000" cy="877824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400" noProof="1">
                <a:solidFill>
                  <a:srgbClr val="16303A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Баланс кейсов: Казахстан является страной-организатором и будет иметь наибольшую делегацию. Ни одна страна не должна представлять более одной из трёх презентаций. Подтвердите трёх презентующих и их кейсы не менее чем за три недели до мероприятия.</a:t>
            </a:r>
            <a:endParaRPr lang="ru-RU" sz="1400" noProof="1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7" name="Text 5"/>
          <p:cNvSpPr/>
          <p:nvPr/>
        </p:nvSpPr>
        <p:spPr>
          <a:xfrm>
            <a:off x="609600" y="2194560"/>
            <a:ext cx="10972800" cy="390144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733" b="1" noProof="1">
                <a:solidFill>
                  <a:srgbClr val="16303A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Отбирайте кейсы с разнообразием по трём параметрам:</a:t>
            </a:r>
            <a:endParaRPr lang="ru-RU" sz="1733" noProof="1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8" name="Shape 6"/>
          <p:cNvSpPr/>
          <p:nvPr/>
        </p:nvSpPr>
        <p:spPr>
          <a:xfrm>
            <a:off x="487680" y="2682240"/>
            <a:ext cx="11216640" cy="694944"/>
          </a:xfrm>
          <a:prstGeom prst="rect">
            <a:avLst/>
          </a:prstGeom>
          <a:solidFill>
            <a:srgbClr val="FFFFFF"/>
          </a:solidFill>
          <a:ln w="6350">
            <a:solidFill>
              <a:srgbClr val="B2D8DE"/>
            </a:solidFill>
            <a:prstDash val="solid"/>
          </a:ln>
        </p:spPr>
        <p:txBody>
          <a:bodyPr/>
          <a:lstStyle/>
          <a:p>
            <a:pPr defTabSz="1219170">
              <a:defRPr/>
            </a:pPr>
            <a:endParaRPr lang="ru-RU" sz="2400" noProof="1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9" name="Shape 7"/>
          <p:cNvSpPr/>
          <p:nvPr/>
        </p:nvSpPr>
        <p:spPr>
          <a:xfrm>
            <a:off x="633984" y="2828544"/>
            <a:ext cx="426720" cy="426720"/>
          </a:xfrm>
          <a:prstGeom prst="ellipse">
            <a:avLst/>
          </a:prstGeom>
          <a:solidFill>
            <a:srgbClr val="027A87"/>
          </a:solidFill>
          <a:ln w="12700">
            <a:solidFill>
              <a:srgbClr val="027A87"/>
            </a:solidFill>
            <a:prstDash val="solid"/>
          </a:ln>
        </p:spPr>
        <p:txBody>
          <a:bodyPr/>
          <a:lstStyle/>
          <a:p>
            <a:pPr defTabSz="1219170">
              <a:defRPr/>
            </a:pPr>
            <a:endParaRPr lang="ru-RU" sz="2400" noProof="1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0" name="Text 8"/>
          <p:cNvSpPr/>
          <p:nvPr/>
        </p:nvSpPr>
        <p:spPr>
          <a:xfrm>
            <a:off x="633984" y="2828544"/>
            <a:ext cx="426720" cy="42672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algn="ctr" defTabSz="1219170">
              <a:defRPr/>
            </a:pPr>
            <a:r>
              <a:rPr lang="ru-RU" sz="1600" b="1" noProof="1">
                <a:solidFill>
                  <a:srgbClr val="FFFFFF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1</a:t>
            </a:r>
            <a:endParaRPr lang="ru-RU" sz="1600" noProof="1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1" name="Text 9"/>
          <p:cNvSpPr/>
          <p:nvPr/>
        </p:nvSpPr>
        <p:spPr>
          <a:xfrm>
            <a:off x="1280160" y="2755392"/>
            <a:ext cx="2682240" cy="54864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600" b="1" noProof="1">
                <a:solidFill>
                  <a:srgbClr val="027A87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Национальный контекст:</a:t>
            </a:r>
            <a:endParaRPr lang="ru-RU" sz="1600" noProof="1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2" name="Text 10"/>
          <p:cNvSpPr/>
          <p:nvPr/>
        </p:nvSpPr>
        <p:spPr>
          <a:xfrm>
            <a:off x="4023360" y="2755392"/>
            <a:ext cx="7437120" cy="54864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533" noProof="1">
                <a:solidFill>
                  <a:srgbClr val="16303A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В идеале три разные страны, представленные в трёх кейсах.</a:t>
            </a:r>
            <a:endParaRPr lang="ru-RU" sz="1533" noProof="1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3" name="Shape 11"/>
          <p:cNvSpPr/>
          <p:nvPr/>
        </p:nvSpPr>
        <p:spPr>
          <a:xfrm>
            <a:off x="487680" y="3474720"/>
            <a:ext cx="11216640" cy="694944"/>
          </a:xfrm>
          <a:prstGeom prst="rect">
            <a:avLst/>
          </a:prstGeom>
          <a:solidFill>
            <a:srgbClr val="D6F0F3"/>
          </a:solidFill>
          <a:ln w="6350">
            <a:solidFill>
              <a:srgbClr val="B2D8DE"/>
            </a:solidFill>
            <a:prstDash val="solid"/>
          </a:ln>
        </p:spPr>
        <p:txBody>
          <a:bodyPr/>
          <a:lstStyle/>
          <a:p>
            <a:pPr defTabSz="1219170">
              <a:defRPr/>
            </a:pPr>
            <a:endParaRPr lang="ru-RU" sz="2400" noProof="1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4" name="Shape 12"/>
          <p:cNvSpPr/>
          <p:nvPr/>
        </p:nvSpPr>
        <p:spPr>
          <a:xfrm>
            <a:off x="633984" y="3621024"/>
            <a:ext cx="426720" cy="426720"/>
          </a:xfrm>
          <a:prstGeom prst="ellipse">
            <a:avLst/>
          </a:prstGeom>
          <a:solidFill>
            <a:srgbClr val="027A87"/>
          </a:solidFill>
          <a:ln w="12700">
            <a:solidFill>
              <a:srgbClr val="027A87"/>
            </a:solidFill>
            <a:prstDash val="solid"/>
          </a:ln>
        </p:spPr>
        <p:txBody>
          <a:bodyPr/>
          <a:lstStyle/>
          <a:p>
            <a:pPr defTabSz="1219170">
              <a:defRPr/>
            </a:pPr>
            <a:endParaRPr lang="ru-RU" sz="2400" noProof="1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5" name="Text 13"/>
          <p:cNvSpPr/>
          <p:nvPr/>
        </p:nvSpPr>
        <p:spPr>
          <a:xfrm>
            <a:off x="633984" y="3621024"/>
            <a:ext cx="426720" cy="42672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algn="ctr" defTabSz="1219170">
              <a:defRPr/>
            </a:pPr>
            <a:r>
              <a:rPr lang="ru-RU" sz="1600" b="1" noProof="1">
                <a:solidFill>
                  <a:srgbClr val="FFFFFF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2</a:t>
            </a:r>
            <a:endParaRPr lang="ru-RU" sz="1600" noProof="1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6" name="Text 14"/>
          <p:cNvSpPr/>
          <p:nvPr/>
        </p:nvSpPr>
        <p:spPr>
          <a:xfrm>
            <a:off x="1280160" y="3547872"/>
            <a:ext cx="2682240" cy="54864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600" b="1" noProof="1">
                <a:solidFill>
                  <a:srgbClr val="027A87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Группа педагогов:</a:t>
            </a:r>
            <a:endParaRPr lang="ru-RU" sz="1600" noProof="1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7" name="Text 15"/>
          <p:cNvSpPr/>
          <p:nvPr/>
        </p:nvSpPr>
        <p:spPr>
          <a:xfrm>
            <a:off x="4023360" y="3547872"/>
            <a:ext cx="7437120" cy="54864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533" noProof="1">
                <a:solidFill>
                  <a:srgbClr val="16303A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Не менее одного кейса из контекста ПОО и не менее одного из общего образования или межсекторной программы.</a:t>
            </a:r>
            <a:endParaRPr lang="ru-RU" sz="1533" noProof="1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8" name="Shape 16"/>
          <p:cNvSpPr/>
          <p:nvPr/>
        </p:nvSpPr>
        <p:spPr>
          <a:xfrm>
            <a:off x="487680" y="4267200"/>
            <a:ext cx="11216640" cy="694944"/>
          </a:xfrm>
          <a:prstGeom prst="rect">
            <a:avLst/>
          </a:prstGeom>
          <a:solidFill>
            <a:srgbClr val="FFFFFF"/>
          </a:solidFill>
          <a:ln w="6350">
            <a:solidFill>
              <a:srgbClr val="B2D8DE"/>
            </a:solidFill>
            <a:prstDash val="solid"/>
          </a:ln>
        </p:spPr>
        <p:txBody>
          <a:bodyPr/>
          <a:lstStyle/>
          <a:p>
            <a:pPr defTabSz="1219170">
              <a:defRPr/>
            </a:pPr>
            <a:endParaRPr lang="ru-RU" sz="2400" noProof="1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9" name="Shape 17"/>
          <p:cNvSpPr/>
          <p:nvPr/>
        </p:nvSpPr>
        <p:spPr>
          <a:xfrm>
            <a:off x="633984" y="4413504"/>
            <a:ext cx="426720" cy="426720"/>
          </a:xfrm>
          <a:prstGeom prst="ellipse">
            <a:avLst/>
          </a:prstGeom>
          <a:solidFill>
            <a:srgbClr val="027A87"/>
          </a:solidFill>
          <a:ln w="12700">
            <a:solidFill>
              <a:srgbClr val="027A87"/>
            </a:solidFill>
            <a:prstDash val="solid"/>
          </a:ln>
        </p:spPr>
        <p:txBody>
          <a:bodyPr/>
          <a:lstStyle/>
          <a:p>
            <a:pPr defTabSz="1219170">
              <a:defRPr/>
            </a:pPr>
            <a:endParaRPr lang="ru-RU" sz="2400" noProof="1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20" name="Text 18"/>
          <p:cNvSpPr/>
          <p:nvPr/>
        </p:nvSpPr>
        <p:spPr>
          <a:xfrm>
            <a:off x="633984" y="4413504"/>
            <a:ext cx="426720" cy="42672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algn="ctr" defTabSz="1219170">
              <a:defRPr/>
            </a:pPr>
            <a:r>
              <a:rPr lang="ru-RU" sz="1600" b="1" noProof="1">
                <a:solidFill>
                  <a:srgbClr val="FFFFFF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3</a:t>
            </a:r>
            <a:endParaRPr lang="ru-RU" sz="1600" noProof="1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21" name="Text 19"/>
          <p:cNvSpPr/>
          <p:nvPr/>
        </p:nvSpPr>
        <p:spPr>
          <a:xfrm>
            <a:off x="1280160" y="4340352"/>
            <a:ext cx="2682240" cy="54864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600" b="1" noProof="1">
                <a:solidFill>
                  <a:srgbClr val="027A87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Зрелость программы:</a:t>
            </a:r>
            <a:endParaRPr lang="ru-RU" sz="1600" noProof="1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22" name="Text 20"/>
          <p:cNvSpPr/>
          <p:nvPr/>
        </p:nvSpPr>
        <p:spPr>
          <a:xfrm>
            <a:off x="4023360" y="4340352"/>
            <a:ext cx="7437120" cy="54864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533" noProof="1">
                <a:solidFill>
                  <a:srgbClr val="16303A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Сочетание устоявшихся программ и более новых инициатив — три истории успеха аналитически менее полезны.</a:t>
            </a:r>
            <a:endParaRPr lang="ru-RU" sz="1533" noProof="1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23" name="Text 21"/>
          <p:cNvSpPr/>
          <p:nvPr/>
        </p:nvSpPr>
        <p:spPr>
          <a:xfrm>
            <a:off x="609600" y="5145024"/>
            <a:ext cx="10972800" cy="36576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733" b="1" noProof="1">
                <a:solidFill>
                  <a:srgbClr val="16303A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Принципы деликатного дизайна:</a:t>
            </a:r>
            <a:endParaRPr lang="ru-RU" sz="1733" noProof="1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24" name="Text 22"/>
          <p:cNvSpPr/>
          <p:nvPr/>
        </p:nvSpPr>
        <p:spPr>
          <a:xfrm>
            <a:off x="609600" y="5608320"/>
            <a:ext cx="11094720" cy="329184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400" noProof="1">
                <a:solidFill>
                  <a:srgbClr val="3D6673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—  Шаблон наблюдения спрашивает, что ПРИСУТСТВУЕТ, а не что отсутствует — выявление пробелов происходит за столом, а не на пленарном заседании, направленном против презентующего.</a:t>
            </a:r>
            <a:endParaRPr lang="ru-RU" sz="1400" noProof="1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25" name="Text 23"/>
          <p:cNvSpPr/>
          <p:nvPr/>
        </p:nvSpPr>
        <p:spPr>
          <a:xfrm>
            <a:off x="609600" y="5974080"/>
            <a:ext cx="11094720" cy="329184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400" noProof="1">
                <a:solidFill>
                  <a:srgbClr val="3D6673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—  Ни одна страна не называется при межкейсовых сравнениях во время синтеза — паттерны выводятся по всей аудитории, а не приписываются конкретным странам или презентующим.</a:t>
            </a:r>
            <a:endParaRPr lang="ru-RU" sz="1400" noProof="1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26" name="Text 24"/>
          <p:cNvSpPr/>
          <p:nvPr/>
        </p:nvSpPr>
        <p:spPr>
          <a:xfrm>
            <a:off x="609600" y="6339840"/>
            <a:ext cx="11094720" cy="329184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400" noProof="1">
                <a:solidFill>
                  <a:srgbClr val="3D6673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—  Слоты для ответов презентующих следуют после обсуждения за столами — презентующие отвечают из позиции знания, а не защиты.</a:t>
            </a:r>
            <a:endParaRPr lang="ru-RU" sz="1400" noProof="1">
              <a:solidFill>
                <a:prstClr val="black"/>
              </a:solidFill>
              <a:latin typeface="Calibri" panose="020F0502020204030204"/>
            </a:endParaRPr>
          </a:p>
        </p:txBody>
      </p:sp>
    </p:spTree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526164E-34A8-2558-1525-4E682E6A05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0377" y="0"/>
            <a:ext cx="11719716" cy="1080120"/>
          </a:xfrm>
        </p:spPr>
        <p:txBody>
          <a:bodyPr>
            <a:normAutofit fontScale="90000"/>
          </a:bodyPr>
          <a:lstStyle/>
          <a:p>
            <a:r>
              <a:rPr lang="ru-RU" noProof="1"/>
              <a:t>Шаблон наблюдения за кейсом профессионального развития педагогов  |  Заполняется во время каждой презентации</a:t>
            </a:r>
          </a:p>
        </p:txBody>
      </p:sp>
      <p:sp>
        <p:nvSpPr>
          <p:cNvPr id="3" name="Shape 2">
            <a:extLst>
              <a:ext uri="{FF2B5EF4-FFF2-40B4-BE49-F238E27FC236}">
                <a16:creationId xmlns:a16="http://schemas.microsoft.com/office/drawing/2014/main" id="{86A4D0A2-D9BC-DD8D-DF66-EA5AAA4C63F6}"/>
              </a:ext>
            </a:extLst>
          </p:cNvPr>
          <p:cNvSpPr/>
          <p:nvPr/>
        </p:nvSpPr>
        <p:spPr>
          <a:xfrm>
            <a:off x="720377" y="1080120"/>
            <a:ext cx="11216640" cy="451104"/>
          </a:xfrm>
          <a:prstGeom prst="rect">
            <a:avLst/>
          </a:prstGeom>
          <a:solidFill>
            <a:srgbClr val="D6F0F3"/>
          </a:solidFill>
          <a:ln w="6350">
            <a:solidFill>
              <a:srgbClr val="039AAA"/>
            </a:solidFill>
            <a:prstDash val="solid"/>
          </a:ln>
        </p:spPr>
        <p:txBody>
          <a:bodyPr/>
          <a:lstStyle/>
          <a:p>
            <a:pPr defTabSz="1219170">
              <a:defRPr/>
            </a:pPr>
            <a:endParaRPr lang="ru-RU" sz="24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Text 3">
            <a:extLst>
              <a:ext uri="{FF2B5EF4-FFF2-40B4-BE49-F238E27FC236}">
                <a16:creationId xmlns:a16="http://schemas.microsoft.com/office/drawing/2014/main" id="{7A4E7E64-157B-C64E-A8FA-2BD17118E03E}"/>
              </a:ext>
            </a:extLst>
          </p:cNvPr>
          <p:cNvSpPr/>
          <p:nvPr/>
        </p:nvSpPr>
        <p:spPr>
          <a:xfrm>
            <a:off x="903257" y="1080120"/>
            <a:ext cx="7071360" cy="451104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333" b="1" noProof="1">
                <a:solidFill>
                  <a:srgbClr val="16303A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Описываемая программа профессионального развития педагогов (два предложения, ваши собственные слова)</a:t>
            </a:r>
            <a:endParaRPr lang="ru-RU" sz="1333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Text 4">
            <a:extLst>
              <a:ext uri="{FF2B5EF4-FFF2-40B4-BE49-F238E27FC236}">
                <a16:creationId xmlns:a16="http://schemas.microsoft.com/office/drawing/2014/main" id="{1EFEA367-2EEE-8167-274E-ABBD44D62F95}"/>
              </a:ext>
            </a:extLst>
          </p:cNvPr>
          <p:cNvSpPr/>
          <p:nvPr/>
        </p:nvSpPr>
        <p:spPr>
          <a:xfrm>
            <a:off x="8035577" y="1080120"/>
            <a:ext cx="3779520" cy="451104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endParaRPr lang="ru-RU" sz="1333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Shape 5">
            <a:extLst>
              <a:ext uri="{FF2B5EF4-FFF2-40B4-BE49-F238E27FC236}">
                <a16:creationId xmlns:a16="http://schemas.microsoft.com/office/drawing/2014/main" id="{E6C46DD3-95DA-0945-ABB4-146D4B689BF1}"/>
              </a:ext>
            </a:extLst>
          </p:cNvPr>
          <p:cNvSpPr/>
          <p:nvPr/>
        </p:nvSpPr>
        <p:spPr>
          <a:xfrm>
            <a:off x="720377" y="1592184"/>
            <a:ext cx="11216640" cy="451104"/>
          </a:xfrm>
          <a:prstGeom prst="rect">
            <a:avLst/>
          </a:prstGeom>
          <a:solidFill>
            <a:srgbClr val="D6F0F3"/>
          </a:solidFill>
          <a:ln w="6350">
            <a:solidFill>
              <a:srgbClr val="039AAA"/>
            </a:solidFill>
            <a:prstDash val="solid"/>
          </a:ln>
        </p:spPr>
        <p:txBody>
          <a:bodyPr/>
          <a:lstStyle/>
          <a:p>
            <a:pPr defTabSz="1219170">
              <a:defRPr/>
            </a:pPr>
            <a:endParaRPr lang="ru-RU" sz="24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Text 6">
            <a:extLst>
              <a:ext uri="{FF2B5EF4-FFF2-40B4-BE49-F238E27FC236}">
                <a16:creationId xmlns:a16="http://schemas.microsoft.com/office/drawing/2014/main" id="{59B527FA-EC22-1C7A-981E-1DD7BE77283A}"/>
              </a:ext>
            </a:extLst>
          </p:cNvPr>
          <p:cNvSpPr/>
          <p:nvPr/>
        </p:nvSpPr>
        <p:spPr>
          <a:xfrm>
            <a:off x="903257" y="1592184"/>
            <a:ext cx="7071360" cy="451104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333" b="1" noProof="1">
                <a:solidFill>
                  <a:srgbClr val="16303A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Целевая группа педагогов</a:t>
            </a:r>
            <a:endParaRPr lang="ru-RU" sz="1333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Text 7">
            <a:extLst>
              <a:ext uri="{FF2B5EF4-FFF2-40B4-BE49-F238E27FC236}">
                <a16:creationId xmlns:a16="http://schemas.microsoft.com/office/drawing/2014/main" id="{4E903F77-212A-956E-FC21-05FCA383AD39}"/>
              </a:ext>
            </a:extLst>
          </p:cNvPr>
          <p:cNvSpPr/>
          <p:nvPr/>
        </p:nvSpPr>
        <p:spPr>
          <a:xfrm>
            <a:off x="8035577" y="1592184"/>
            <a:ext cx="3779520" cy="451104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333" i="1" noProof="1">
                <a:solidFill>
                  <a:srgbClr val="3D6673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Общее образование  /  ПОО  /  Другое</a:t>
            </a:r>
            <a:endParaRPr lang="ru-RU" sz="1333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Shape 8">
            <a:extLst>
              <a:ext uri="{FF2B5EF4-FFF2-40B4-BE49-F238E27FC236}">
                <a16:creationId xmlns:a16="http://schemas.microsoft.com/office/drawing/2014/main" id="{3D8CF2A3-16B3-1468-55C3-AA915CEA718C}"/>
              </a:ext>
            </a:extLst>
          </p:cNvPr>
          <p:cNvSpPr/>
          <p:nvPr/>
        </p:nvSpPr>
        <p:spPr>
          <a:xfrm>
            <a:off x="720377" y="2177400"/>
            <a:ext cx="11216640" cy="426720"/>
          </a:xfrm>
          <a:prstGeom prst="rect">
            <a:avLst/>
          </a:prstGeom>
          <a:solidFill>
            <a:srgbClr val="16303A"/>
          </a:solidFill>
          <a:ln w="12700">
            <a:solidFill>
              <a:srgbClr val="16303A"/>
            </a:solidFill>
            <a:prstDash val="solid"/>
          </a:ln>
        </p:spPr>
        <p:txBody>
          <a:bodyPr/>
          <a:lstStyle/>
          <a:p>
            <a:pPr defTabSz="1219170">
              <a:defRPr/>
            </a:pPr>
            <a:endParaRPr lang="ru-RU" sz="24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Text 9">
            <a:extLst>
              <a:ext uri="{FF2B5EF4-FFF2-40B4-BE49-F238E27FC236}">
                <a16:creationId xmlns:a16="http://schemas.microsoft.com/office/drawing/2014/main" id="{289AFFA0-B10A-15BF-D6B1-28D33E80D87D}"/>
              </a:ext>
            </a:extLst>
          </p:cNvPr>
          <p:cNvSpPr/>
          <p:nvPr/>
        </p:nvSpPr>
        <p:spPr>
          <a:xfrm>
            <a:off x="903257" y="2177400"/>
            <a:ext cx="7315200" cy="42672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467" b="1" noProof="1">
                <a:solidFill>
                  <a:srgbClr val="FFFFFF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Индикаторы качества — что вы наблюдаете в этом кейсе?</a:t>
            </a:r>
            <a:endParaRPr lang="ru-RU" sz="1467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Shape 11">
            <a:extLst>
              <a:ext uri="{FF2B5EF4-FFF2-40B4-BE49-F238E27FC236}">
                <a16:creationId xmlns:a16="http://schemas.microsoft.com/office/drawing/2014/main" id="{A3CDAEC7-B04F-A648-CDBF-D2F0CF1BBD67}"/>
              </a:ext>
            </a:extLst>
          </p:cNvPr>
          <p:cNvSpPr/>
          <p:nvPr/>
        </p:nvSpPr>
        <p:spPr>
          <a:xfrm>
            <a:off x="7304057" y="2604120"/>
            <a:ext cx="1341120" cy="365760"/>
          </a:xfrm>
          <a:prstGeom prst="rect">
            <a:avLst/>
          </a:prstGeom>
          <a:solidFill>
            <a:srgbClr val="2D8A3E"/>
          </a:solidFill>
          <a:ln w="12700">
            <a:solidFill>
              <a:srgbClr val="2D8A3E"/>
            </a:solidFill>
            <a:prstDash val="solid"/>
          </a:ln>
        </p:spPr>
        <p:txBody>
          <a:bodyPr/>
          <a:lstStyle/>
          <a:p>
            <a:pPr defTabSz="1219170">
              <a:defRPr/>
            </a:pPr>
            <a:endParaRPr lang="ru-RU" sz="24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Text 12">
            <a:extLst>
              <a:ext uri="{FF2B5EF4-FFF2-40B4-BE49-F238E27FC236}">
                <a16:creationId xmlns:a16="http://schemas.microsoft.com/office/drawing/2014/main" id="{5C3B47DF-BA0B-196A-5435-0C4D36B77E68}"/>
              </a:ext>
            </a:extLst>
          </p:cNvPr>
          <p:cNvSpPr/>
          <p:nvPr/>
        </p:nvSpPr>
        <p:spPr>
          <a:xfrm>
            <a:off x="7304057" y="2604120"/>
            <a:ext cx="1341120" cy="36576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algn="ctr" defTabSz="1219170">
              <a:defRPr/>
            </a:pPr>
            <a:r>
              <a:rPr lang="ru-RU" sz="1200" b="1" noProof="1">
                <a:solidFill>
                  <a:srgbClr val="FFFFFF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✓  Присутствует</a:t>
            </a:r>
            <a:endParaRPr lang="ru-RU" sz="12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Shape 13">
            <a:extLst>
              <a:ext uri="{FF2B5EF4-FFF2-40B4-BE49-F238E27FC236}">
                <a16:creationId xmlns:a16="http://schemas.microsoft.com/office/drawing/2014/main" id="{42E403D0-6916-D8E4-8E11-E58108C23DE9}"/>
              </a:ext>
            </a:extLst>
          </p:cNvPr>
          <p:cNvSpPr/>
          <p:nvPr/>
        </p:nvSpPr>
        <p:spPr>
          <a:xfrm>
            <a:off x="8767097" y="2604120"/>
            <a:ext cx="1341120" cy="365760"/>
          </a:xfrm>
          <a:prstGeom prst="rect">
            <a:avLst/>
          </a:prstGeom>
          <a:solidFill>
            <a:srgbClr val="8A6D00"/>
          </a:solidFill>
          <a:ln w="12700">
            <a:solidFill>
              <a:srgbClr val="8A6D00"/>
            </a:solidFill>
            <a:prstDash val="solid"/>
          </a:ln>
        </p:spPr>
        <p:txBody>
          <a:bodyPr/>
          <a:lstStyle/>
          <a:p>
            <a:pPr defTabSz="1219170">
              <a:defRPr/>
            </a:pPr>
            <a:endParaRPr lang="ru-RU" sz="24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Text 14">
            <a:extLst>
              <a:ext uri="{FF2B5EF4-FFF2-40B4-BE49-F238E27FC236}">
                <a16:creationId xmlns:a16="http://schemas.microsoft.com/office/drawing/2014/main" id="{E492CFC4-FBB3-FF51-7167-8E20ADD2B911}"/>
              </a:ext>
            </a:extLst>
          </p:cNvPr>
          <p:cNvSpPr/>
          <p:nvPr/>
        </p:nvSpPr>
        <p:spPr>
          <a:xfrm>
            <a:off x="8767097" y="2604120"/>
            <a:ext cx="1341120" cy="36576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algn="ctr" defTabSz="1219170">
              <a:defRPr/>
            </a:pPr>
            <a:r>
              <a:rPr lang="ru-RU" sz="1200" b="1" noProof="1">
                <a:solidFill>
                  <a:srgbClr val="FFFFFF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~  Частично</a:t>
            </a:r>
            <a:endParaRPr lang="ru-RU" sz="12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Shape 15">
            <a:extLst>
              <a:ext uri="{FF2B5EF4-FFF2-40B4-BE49-F238E27FC236}">
                <a16:creationId xmlns:a16="http://schemas.microsoft.com/office/drawing/2014/main" id="{74DD56BE-5352-9D37-03F9-7D1FC69B423E}"/>
              </a:ext>
            </a:extLst>
          </p:cNvPr>
          <p:cNvSpPr/>
          <p:nvPr/>
        </p:nvSpPr>
        <p:spPr>
          <a:xfrm>
            <a:off x="10230137" y="2604120"/>
            <a:ext cx="1341120" cy="365760"/>
          </a:xfrm>
          <a:prstGeom prst="rect">
            <a:avLst/>
          </a:prstGeom>
          <a:solidFill>
            <a:srgbClr val="B03030"/>
          </a:solidFill>
          <a:ln w="12700">
            <a:solidFill>
              <a:srgbClr val="B03030"/>
            </a:solidFill>
            <a:prstDash val="solid"/>
          </a:ln>
        </p:spPr>
        <p:txBody>
          <a:bodyPr/>
          <a:lstStyle/>
          <a:p>
            <a:pPr defTabSz="1219170">
              <a:defRPr/>
            </a:pPr>
            <a:endParaRPr lang="ru-RU" sz="24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Text 16">
            <a:extLst>
              <a:ext uri="{FF2B5EF4-FFF2-40B4-BE49-F238E27FC236}">
                <a16:creationId xmlns:a16="http://schemas.microsoft.com/office/drawing/2014/main" id="{8629D111-ECA8-2E1C-257D-C68753136262}"/>
              </a:ext>
            </a:extLst>
          </p:cNvPr>
          <p:cNvSpPr/>
          <p:nvPr/>
        </p:nvSpPr>
        <p:spPr>
          <a:xfrm>
            <a:off x="10230137" y="2604120"/>
            <a:ext cx="1341120" cy="36576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algn="ctr" defTabSz="1219170">
              <a:defRPr/>
            </a:pPr>
            <a:r>
              <a:rPr lang="ru-RU" sz="1200" b="1" noProof="1">
                <a:solidFill>
                  <a:srgbClr val="FFFFFF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—  Отсутствует</a:t>
            </a:r>
            <a:endParaRPr lang="ru-RU" sz="12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Shape 17">
            <a:extLst>
              <a:ext uri="{FF2B5EF4-FFF2-40B4-BE49-F238E27FC236}">
                <a16:creationId xmlns:a16="http://schemas.microsoft.com/office/drawing/2014/main" id="{D0C55677-E431-B264-0D61-504B594DF00D}"/>
              </a:ext>
            </a:extLst>
          </p:cNvPr>
          <p:cNvSpPr/>
          <p:nvPr/>
        </p:nvSpPr>
        <p:spPr>
          <a:xfrm>
            <a:off x="720377" y="2969880"/>
            <a:ext cx="11216640" cy="341376"/>
          </a:xfrm>
          <a:prstGeom prst="rect">
            <a:avLst/>
          </a:prstGeom>
          <a:solidFill>
            <a:srgbClr val="FFFFFF"/>
          </a:solidFill>
          <a:ln w="5080">
            <a:solidFill>
              <a:srgbClr val="B2D8DE"/>
            </a:solidFill>
            <a:prstDash val="solid"/>
          </a:ln>
        </p:spPr>
        <p:txBody>
          <a:bodyPr/>
          <a:lstStyle/>
          <a:p>
            <a:pPr defTabSz="1219170">
              <a:defRPr/>
            </a:pPr>
            <a:endParaRPr lang="ru-RU" sz="24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Text 18">
            <a:extLst>
              <a:ext uri="{FF2B5EF4-FFF2-40B4-BE49-F238E27FC236}">
                <a16:creationId xmlns:a16="http://schemas.microsoft.com/office/drawing/2014/main" id="{D1987AE4-FFFB-AE76-E12C-A071383217BE}"/>
              </a:ext>
            </a:extLst>
          </p:cNvPr>
          <p:cNvSpPr/>
          <p:nvPr/>
        </p:nvSpPr>
        <p:spPr>
          <a:xfrm>
            <a:off x="903257" y="2969880"/>
            <a:ext cx="6217920" cy="341376"/>
          </a:xfrm>
          <a:prstGeom prst="rect">
            <a:avLst/>
          </a:prstGeom>
          <a:noFill/>
          <a:ln/>
        </p:spPr>
        <p:txBody>
          <a:bodyPr wrap="square" lIns="121920" tIns="60960" rIns="121920" bIns="60960" rtlCol="0" anchor="ctr"/>
          <a:lstStyle/>
          <a:p>
            <a:pPr>
              <a:defRPr/>
            </a:pPr>
            <a:r>
              <a:rPr lang="ru-RU" sz="1333" noProof="1">
                <a:solidFill>
                  <a:srgbClr val="16303A"/>
                </a:solidFill>
                <a:latin typeface="Arial" panose="020B0604020202020204" pitchFamily="34" charset="0"/>
                <a:ea typeface="Calibri"/>
                <a:cs typeface="Arial" panose="020B0604020202020204" pitchFamily="34" charset="0"/>
              </a:rPr>
              <a:t>ИК 1  —  Связь с вашей реальной работой</a:t>
            </a:r>
          </a:p>
        </p:txBody>
      </p:sp>
      <p:sp>
        <p:nvSpPr>
          <p:cNvPr id="20" name="Shape 19">
            <a:extLst>
              <a:ext uri="{FF2B5EF4-FFF2-40B4-BE49-F238E27FC236}">
                <a16:creationId xmlns:a16="http://schemas.microsoft.com/office/drawing/2014/main" id="{0FB74C79-DC03-84DA-7E1C-FC44977702C2}"/>
              </a:ext>
            </a:extLst>
          </p:cNvPr>
          <p:cNvSpPr/>
          <p:nvPr/>
        </p:nvSpPr>
        <p:spPr>
          <a:xfrm>
            <a:off x="7304057" y="2969880"/>
            <a:ext cx="1341120" cy="341376"/>
          </a:xfrm>
          <a:prstGeom prst="rect">
            <a:avLst/>
          </a:prstGeom>
          <a:solidFill>
            <a:srgbClr val="FFFFFF"/>
          </a:solidFill>
          <a:ln w="5080">
            <a:solidFill>
              <a:srgbClr val="B2D8DE"/>
            </a:solidFill>
            <a:prstDash val="solid"/>
          </a:ln>
        </p:spPr>
        <p:txBody>
          <a:bodyPr/>
          <a:lstStyle/>
          <a:p>
            <a:pPr defTabSz="1219170">
              <a:defRPr/>
            </a:pPr>
            <a:endParaRPr lang="ru-RU" sz="24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" name="Shape 20">
            <a:extLst>
              <a:ext uri="{FF2B5EF4-FFF2-40B4-BE49-F238E27FC236}">
                <a16:creationId xmlns:a16="http://schemas.microsoft.com/office/drawing/2014/main" id="{95D3CAB6-CCAC-1E62-D1C3-0573DBE0A838}"/>
              </a:ext>
            </a:extLst>
          </p:cNvPr>
          <p:cNvSpPr/>
          <p:nvPr/>
        </p:nvSpPr>
        <p:spPr>
          <a:xfrm>
            <a:off x="8767097" y="2969880"/>
            <a:ext cx="1341120" cy="341376"/>
          </a:xfrm>
          <a:prstGeom prst="rect">
            <a:avLst/>
          </a:prstGeom>
          <a:solidFill>
            <a:srgbClr val="FFFFFF"/>
          </a:solidFill>
          <a:ln w="5080">
            <a:solidFill>
              <a:srgbClr val="B2D8DE"/>
            </a:solidFill>
            <a:prstDash val="solid"/>
          </a:ln>
        </p:spPr>
        <p:txBody>
          <a:bodyPr/>
          <a:lstStyle/>
          <a:p>
            <a:pPr defTabSz="1219170">
              <a:defRPr/>
            </a:pPr>
            <a:endParaRPr lang="ru-RU" sz="24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2" name="Shape 21">
            <a:extLst>
              <a:ext uri="{FF2B5EF4-FFF2-40B4-BE49-F238E27FC236}">
                <a16:creationId xmlns:a16="http://schemas.microsoft.com/office/drawing/2014/main" id="{978B529E-207D-74F4-C741-C79542AF9142}"/>
              </a:ext>
            </a:extLst>
          </p:cNvPr>
          <p:cNvSpPr/>
          <p:nvPr/>
        </p:nvSpPr>
        <p:spPr>
          <a:xfrm>
            <a:off x="10230137" y="2969880"/>
            <a:ext cx="1341120" cy="341376"/>
          </a:xfrm>
          <a:prstGeom prst="rect">
            <a:avLst/>
          </a:prstGeom>
          <a:solidFill>
            <a:srgbClr val="FFFFFF"/>
          </a:solidFill>
          <a:ln w="5080">
            <a:solidFill>
              <a:srgbClr val="B2D8DE"/>
            </a:solidFill>
            <a:prstDash val="solid"/>
          </a:ln>
        </p:spPr>
        <p:txBody>
          <a:bodyPr/>
          <a:lstStyle/>
          <a:p>
            <a:pPr defTabSz="1219170">
              <a:defRPr/>
            </a:pPr>
            <a:endParaRPr lang="ru-RU" sz="24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3" name="Shape 22">
            <a:extLst>
              <a:ext uri="{FF2B5EF4-FFF2-40B4-BE49-F238E27FC236}">
                <a16:creationId xmlns:a16="http://schemas.microsoft.com/office/drawing/2014/main" id="{3A8C0DEB-9FD8-177D-5745-A435423461E8}"/>
              </a:ext>
            </a:extLst>
          </p:cNvPr>
          <p:cNvSpPr/>
          <p:nvPr/>
        </p:nvSpPr>
        <p:spPr>
          <a:xfrm>
            <a:off x="720377" y="3329544"/>
            <a:ext cx="11216640" cy="341376"/>
          </a:xfrm>
          <a:prstGeom prst="rect">
            <a:avLst/>
          </a:prstGeom>
          <a:solidFill>
            <a:srgbClr val="D6F0F3"/>
          </a:solidFill>
          <a:ln w="5080">
            <a:solidFill>
              <a:srgbClr val="B2D8DE"/>
            </a:solidFill>
            <a:prstDash val="solid"/>
          </a:ln>
        </p:spPr>
        <p:txBody>
          <a:bodyPr/>
          <a:lstStyle/>
          <a:p>
            <a:pPr defTabSz="1219170">
              <a:defRPr/>
            </a:pPr>
            <a:endParaRPr lang="ru-RU" sz="24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4" name="Text 23">
            <a:extLst>
              <a:ext uri="{FF2B5EF4-FFF2-40B4-BE49-F238E27FC236}">
                <a16:creationId xmlns:a16="http://schemas.microsoft.com/office/drawing/2014/main" id="{01448B7E-9CC0-1602-E354-208D5BD6528F}"/>
              </a:ext>
            </a:extLst>
          </p:cNvPr>
          <p:cNvSpPr/>
          <p:nvPr/>
        </p:nvSpPr>
        <p:spPr>
          <a:xfrm>
            <a:off x="903257" y="3329544"/>
            <a:ext cx="6217920" cy="341376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333" b="1" noProof="1">
                <a:solidFill>
                  <a:srgbClr val="16303A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ИК 2  —  Вам необходимо время</a:t>
            </a:r>
            <a:endParaRPr lang="ru-RU" sz="1333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5" name="Shape 24">
            <a:extLst>
              <a:ext uri="{FF2B5EF4-FFF2-40B4-BE49-F238E27FC236}">
                <a16:creationId xmlns:a16="http://schemas.microsoft.com/office/drawing/2014/main" id="{50FE5639-5136-4C0E-73F7-E71E12EB3AA7}"/>
              </a:ext>
            </a:extLst>
          </p:cNvPr>
          <p:cNvSpPr/>
          <p:nvPr/>
        </p:nvSpPr>
        <p:spPr>
          <a:xfrm>
            <a:off x="7304057" y="3329544"/>
            <a:ext cx="1341120" cy="341376"/>
          </a:xfrm>
          <a:prstGeom prst="rect">
            <a:avLst/>
          </a:prstGeom>
          <a:solidFill>
            <a:srgbClr val="D6F0F3"/>
          </a:solidFill>
          <a:ln w="5080">
            <a:solidFill>
              <a:srgbClr val="B2D8DE"/>
            </a:solidFill>
            <a:prstDash val="solid"/>
          </a:ln>
        </p:spPr>
        <p:txBody>
          <a:bodyPr/>
          <a:lstStyle/>
          <a:p>
            <a:pPr defTabSz="1219170">
              <a:defRPr/>
            </a:pPr>
            <a:endParaRPr lang="ru-RU" sz="24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6" name="Shape 25">
            <a:extLst>
              <a:ext uri="{FF2B5EF4-FFF2-40B4-BE49-F238E27FC236}">
                <a16:creationId xmlns:a16="http://schemas.microsoft.com/office/drawing/2014/main" id="{E91B4A78-38BA-77D1-1EAC-00F790ECD7D8}"/>
              </a:ext>
            </a:extLst>
          </p:cNvPr>
          <p:cNvSpPr/>
          <p:nvPr/>
        </p:nvSpPr>
        <p:spPr>
          <a:xfrm>
            <a:off x="8767097" y="3329544"/>
            <a:ext cx="1341120" cy="341376"/>
          </a:xfrm>
          <a:prstGeom prst="rect">
            <a:avLst/>
          </a:prstGeom>
          <a:solidFill>
            <a:srgbClr val="D6F0F3"/>
          </a:solidFill>
          <a:ln w="5080">
            <a:solidFill>
              <a:srgbClr val="B2D8DE"/>
            </a:solidFill>
            <a:prstDash val="solid"/>
          </a:ln>
        </p:spPr>
        <p:txBody>
          <a:bodyPr/>
          <a:lstStyle/>
          <a:p>
            <a:pPr defTabSz="1219170">
              <a:defRPr/>
            </a:pPr>
            <a:endParaRPr lang="ru-RU" sz="24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7" name="Shape 26">
            <a:extLst>
              <a:ext uri="{FF2B5EF4-FFF2-40B4-BE49-F238E27FC236}">
                <a16:creationId xmlns:a16="http://schemas.microsoft.com/office/drawing/2014/main" id="{D83B2629-3AAA-CC26-C28C-DA99CAEBED7F}"/>
              </a:ext>
            </a:extLst>
          </p:cNvPr>
          <p:cNvSpPr/>
          <p:nvPr/>
        </p:nvSpPr>
        <p:spPr>
          <a:xfrm>
            <a:off x="10230137" y="3329544"/>
            <a:ext cx="1341120" cy="341376"/>
          </a:xfrm>
          <a:prstGeom prst="rect">
            <a:avLst/>
          </a:prstGeom>
          <a:solidFill>
            <a:srgbClr val="D6F0F3"/>
          </a:solidFill>
          <a:ln w="5080">
            <a:solidFill>
              <a:srgbClr val="B2D8DE"/>
            </a:solidFill>
            <a:prstDash val="solid"/>
          </a:ln>
        </p:spPr>
        <p:txBody>
          <a:bodyPr/>
          <a:lstStyle/>
          <a:p>
            <a:pPr defTabSz="1219170">
              <a:defRPr/>
            </a:pPr>
            <a:endParaRPr lang="ru-RU" sz="24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8" name="Shape 27">
            <a:extLst>
              <a:ext uri="{FF2B5EF4-FFF2-40B4-BE49-F238E27FC236}">
                <a16:creationId xmlns:a16="http://schemas.microsoft.com/office/drawing/2014/main" id="{3AE4AFE8-65DB-ED5F-262C-A92AB28151DE}"/>
              </a:ext>
            </a:extLst>
          </p:cNvPr>
          <p:cNvSpPr/>
          <p:nvPr/>
        </p:nvSpPr>
        <p:spPr>
          <a:xfrm>
            <a:off x="720377" y="3689208"/>
            <a:ext cx="11216640" cy="341376"/>
          </a:xfrm>
          <a:prstGeom prst="rect">
            <a:avLst/>
          </a:prstGeom>
          <a:solidFill>
            <a:srgbClr val="FFFFFF"/>
          </a:solidFill>
          <a:ln w="5080">
            <a:solidFill>
              <a:srgbClr val="B2D8DE"/>
            </a:solidFill>
            <a:prstDash val="solid"/>
          </a:ln>
        </p:spPr>
        <p:txBody>
          <a:bodyPr/>
          <a:lstStyle/>
          <a:p>
            <a:pPr defTabSz="1219170">
              <a:defRPr/>
            </a:pPr>
            <a:endParaRPr lang="ru-RU" sz="24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9" name="Text 28">
            <a:extLst>
              <a:ext uri="{FF2B5EF4-FFF2-40B4-BE49-F238E27FC236}">
                <a16:creationId xmlns:a16="http://schemas.microsoft.com/office/drawing/2014/main" id="{F996B726-74A9-2740-A859-0E615962061E}"/>
              </a:ext>
            </a:extLst>
          </p:cNvPr>
          <p:cNvSpPr/>
          <p:nvPr/>
        </p:nvSpPr>
        <p:spPr>
          <a:xfrm>
            <a:off x="903257" y="3689208"/>
            <a:ext cx="6217920" cy="341376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333" noProof="1">
                <a:solidFill>
                  <a:srgbClr val="16303A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ИК 3  —  Вы получаете возможность попробовать</a:t>
            </a:r>
            <a:endParaRPr lang="ru-RU" sz="1333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0" name="Shape 29">
            <a:extLst>
              <a:ext uri="{FF2B5EF4-FFF2-40B4-BE49-F238E27FC236}">
                <a16:creationId xmlns:a16="http://schemas.microsoft.com/office/drawing/2014/main" id="{4E0A19E5-9772-00ED-18BE-D9E2DE93D16F}"/>
              </a:ext>
            </a:extLst>
          </p:cNvPr>
          <p:cNvSpPr/>
          <p:nvPr/>
        </p:nvSpPr>
        <p:spPr>
          <a:xfrm>
            <a:off x="7304057" y="3689208"/>
            <a:ext cx="1341120" cy="341376"/>
          </a:xfrm>
          <a:prstGeom prst="rect">
            <a:avLst/>
          </a:prstGeom>
          <a:solidFill>
            <a:srgbClr val="FFFFFF"/>
          </a:solidFill>
          <a:ln w="5080">
            <a:solidFill>
              <a:srgbClr val="B2D8DE"/>
            </a:solidFill>
            <a:prstDash val="solid"/>
          </a:ln>
        </p:spPr>
        <p:txBody>
          <a:bodyPr/>
          <a:lstStyle/>
          <a:p>
            <a:pPr defTabSz="1219170">
              <a:defRPr/>
            </a:pPr>
            <a:endParaRPr lang="ru-RU" sz="24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1" name="Shape 30">
            <a:extLst>
              <a:ext uri="{FF2B5EF4-FFF2-40B4-BE49-F238E27FC236}">
                <a16:creationId xmlns:a16="http://schemas.microsoft.com/office/drawing/2014/main" id="{A2372081-D1FA-A07B-0594-FB1ECA942EA2}"/>
              </a:ext>
            </a:extLst>
          </p:cNvPr>
          <p:cNvSpPr/>
          <p:nvPr/>
        </p:nvSpPr>
        <p:spPr>
          <a:xfrm>
            <a:off x="8767097" y="3689208"/>
            <a:ext cx="1341120" cy="341376"/>
          </a:xfrm>
          <a:prstGeom prst="rect">
            <a:avLst/>
          </a:prstGeom>
          <a:solidFill>
            <a:srgbClr val="FFFFFF"/>
          </a:solidFill>
          <a:ln w="5080">
            <a:solidFill>
              <a:srgbClr val="B2D8DE"/>
            </a:solidFill>
            <a:prstDash val="solid"/>
          </a:ln>
        </p:spPr>
        <p:txBody>
          <a:bodyPr/>
          <a:lstStyle/>
          <a:p>
            <a:pPr defTabSz="1219170">
              <a:defRPr/>
            </a:pPr>
            <a:endParaRPr lang="ru-RU" sz="24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2" name="Shape 31">
            <a:extLst>
              <a:ext uri="{FF2B5EF4-FFF2-40B4-BE49-F238E27FC236}">
                <a16:creationId xmlns:a16="http://schemas.microsoft.com/office/drawing/2014/main" id="{63B71F09-2E67-50FA-13F8-E44A0936B6B8}"/>
              </a:ext>
            </a:extLst>
          </p:cNvPr>
          <p:cNvSpPr/>
          <p:nvPr/>
        </p:nvSpPr>
        <p:spPr>
          <a:xfrm>
            <a:off x="10230137" y="3689208"/>
            <a:ext cx="1341120" cy="341376"/>
          </a:xfrm>
          <a:prstGeom prst="rect">
            <a:avLst/>
          </a:prstGeom>
          <a:solidFill>
            <a:srgbClr val="FFFFFF"/>
          </a:solidFill>
          <a:ln w="5080">
            <a:solidFill>
              <a:srgbClr val="B2D8DE"/>
            </a:solidFill>
            <a:prstDash val="solid"/>
          </a:ln>
        </p:spPr>
        <p:txBody>
          <a:bodyPr/>
          <a:lstStyle/>
          <a:p>
            <a:pPr defTabSz="1219170">
              <a:defRPr/>
            </a:pPr>
            <a:endParaRPr lang="ru-RU" sz="24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3" name="Shape 32">
            <a:extLst>
              <a:ext uri="{FF2B5EF4-FFF2-40B4-BE49-F238E27FC236}">
                <a16:creationId xmlns:a16="http://schemas.microsoft.com/office/drawing/2014/main" id="{B27EF099-691C-69CA-392F-A9F5B8246686}"/>
              </a:ext>
            </a:extLst>
          </p:cNvPr>
          <p:cNvSpPr/>
          <p:nvPr/>
        </p:nvSpPr>
        <p:spPr>
          <a:xfrm>
            <a:off x="720377" y="4048872"/>
            <a:ext cx="11216640" cy="341376"/>
          </a:xfrm>
          <a:prstGeom prst="rect">
            <a:avLst/>
          </a:prstGeom>
          <a:solidFill>
            <a:srgbClr val="D6F0F3"/>
          </a:solidFill>
          <a:ln w="5080">
            <a:solidFill>
              <a:srgbClr val="B2D8DE"/>
            </a:solidFill>
            <a:prstDash val="solid"/>
          </a:ln>
        </p:spPr>
        <p:txBody>
          <a:bodyPr/>
          <a:lstStyle/>
          <a:p>
            <a:pPr defTabSz="1219170">
              <a:defRPr/>
            </a:pPr>
            <a:endParaRPr lang="ru-RU" sz="24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4" name="Text 33">
            <a:extLst>
              <a:ext uri="{FF2B5EF4-FFF2-40B4-BE49-F238E27FC236}">
                <a16:creationId xmlns:a16="http://schemas.microsoft.com/office/drawing/2014/main" id="{D895A4FD-DA19-6DA3-9E04-E66D42CD1D13}"/>
              </a:ext>
            </a:extLst>
          </p:cNvPr>
          <p:cNvSpPr/>
          <p:nvPr/>
        </p:nvSpPr>
        <p:spPr>
          <a:xfrm>
            <a:off x="903257" y="4048872"/>
            <a:ext cx="6217920" cy="341376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333" noProof="1">
                <a:solidFill>
                  <a:srgbClr val="16303A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ИК 4  —  Вы действуете, а не просто слушаете</a:t>
            </a:r>
            <a:endParaRPr lang="ru-RU" sz="1333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5" name="Shape 34">
            <a:extLst>
              <a:ext uri="{FF2B5EF4-FFF2-40B4-BE49-F238E27FC236}">
                <a16:creationId xmlns:a16="http://schemas.microsoft.com/office/drawing/2014/main" id="{F80DA8F7-E673-9526-633D-ED127CB68479}"/>
              </a:ext>
            </a:extLst>
          </p:cNvPr>
          <p:cNvSpPr/>
          <p:nvPr/>
        </p:nvSpPr>
        <p:spPr>
          <a:xfrm>
            <a:off x="7304057" y="4048872"/>
            <a:ext cx="1341120" cy="341376"/>
          </a:xfrm>
          <a:prstGeom prst="rect">
            <a:avLst/>
          </a:prstGeom>
          <a:solidFill>
            <a:srgbClr val="D6F0F3"/>
          </a:solidFill>
          <a:ln w="5080">
            <a:solidFill>
              <a:srgbClr val="B2D8DE"/>
            </a:solidFill>
            <a:prstDash val="solid"/>
          </a:ln>
        </p:spPr>
        <p:txBody>
          <a:bodyPr/>
          <a:lstStyle/>
          <a:p>
            <a:pPr defTabSz="1219170">
              <a:defRPr/>
            </a:pPr>
            <a:endParaRPr lang="ru-RU" sz="24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6" name="Shape 35">
            <a:extLst>
              <a:ext uri="{FF2B5EF4-FFF2-40B4-BE49-F238E27FC236}">
                <a16:creationId xmlns:a16="http://schemas.microsoft.com/office/drawing/2014/main" id="{9E8A5B52-2500-9AE7-D550-A8D744D3FBC9}"/>
              </a:ext>
            </a:extLst>
          </p:cNvPr>
          <p:cNvSpPr/>
          <p:nvPr/>
        </p:nvSpPr>
        <p:spPr>
          <a:xfrm>
            <a:off x="8767097" y="4048872"/>
            <a:ext cx="1341120" cy="341376"/>
          </a:xfrm>
          <a:prstGeom prst="rect">
            <a:avLst/>
          </a:prstGeom>
          <a:solidFill>
            <a:srgbClr val="D6F0F3"/>
          </a:solidFill>
          <a:ln w="5080">
            <a:solidFill>
              <a:srgbClr val="B2D8DE"/>
            </a:solidFill>
            <a:prstDash val="solid"/>
          </a:ln>
        </p:spPr>
        <p:txBody>
          <a:bodyPr/>
          <a:lstStyle/>
          <a:p>
            <a:pPr defTabSz="1219170">
              <a:defRPr/>
            </a:pPr>
            <a:endParaRPr lang="ru-RU" sz="24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7" name="Shape 36">
            <a:extLst>
              <a:ext uri="{FF2B5EF4-FFF2-40B4-BE49-F238E27FC236}">
                <a16:creationId xmlns:a16="http://schemas.microsoft.com/office/drawing/2014/main" id="{248EF42A-BCFB-EA06-F378-30D15083D81F}"/>
              </a:ext>
            </a:extLst>
          </p:cNvPr>
          <p:cNvSpPr/>
          <p:nvPr/>
        </p:nvSpPr>
        <p:spPr>
          <a:xfrm>
            <a:off x="10230137" y="4048872"/>
            <a:ext cx="1341120" cy="341376"/>
          </a:xfrm>
          <a:prstGeom prst="rect">
            <a:avLst/>
          </a:prstGeom>
          <a:solidFill>
            <a:srgbClr val="D6F0F3"/>
          </a:solidFill>
          <a:ln w="5080">
            <a:solidFill>
              <a:srgbClr val="B2D8DE"/>
            </a:solidFill>
            <a:prstDash val="solid"/>
          </a:ln>
        </p:spPr>
        <p:txBody>
          <a:bodyPr/>
          <a:lstStyle/>
          <a:p>
            <a:pPr defTabSz="1219170">
              <a:defRPr/>
            </a:pPr>
            <a:endParaRPr lang="ru-RU" sz="24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8" name="Shape 37">
            <a:extLst>
              <a:ext uri="{FF2B5EF4-FFF2-40B4-BE49-F238E27FC236}">
                <a16:creationId xmlns:a16="http://schemas.microsoft.com/office/drawing/2014/main" id="{7790F8F6-1518-D6D8-EA99-4310FC7AEFCA}"/>
              </a:ext>
            </a:extLst>
          </p:cNvPr>
          <p:cNvSpPr/>
          <p:nvPr/>
        </p:nvSpPr>
        <p:spPr>
          <a:xfrm>
            <a:off x="720377" y="4408536"/>
            <a:ext cx="11216640" cy="341376"/>
          </a:xfrm>
          <a:prstGeom prst="rect">
            <a:avLst/>
          </a:prstGeom>
          <a:solidFill>
            <a:srgbClr val="FFFFFF"/>
          </a:solidFill>
          <a:ln w="5080">
            <a:solidFill>
              <a:srgbClr val="B2D8DE"/>
            </a:solidFill>
            <a:prstDash val="solid"/>
          </a:ln>
        </p:spPr>
        <p:txBody>
          <a:bodyPr/>
          <a:lstStyle/>
          <a:p>
            <a:pPr defTabSz="1219170">
              <a:defRPr/>
            </a:pPr>
            <a:endParaRPr lang="ru-RU" sz="24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9" name="Text 38">
            <a:extLst>
              <a:ext uri="{FF2B5EF4-FFF2-40B4-BE49-F238E27FC236}">
                <a16:creationId xmlns:a16="http://schemas.microsoft.com/office/drawing/2014/main" id="{B9AF37A8-6727-DEEC-BB81-DB448B1DC762}"/>
              </a:ext>
            </a:extLst>
          </p:cNvPr>
          <p:cNvSpPr/>
          <p:nvPr/>
        </p:nvSpPr>
        <p:spPr>
          <a:xfrm>
            <a:off x="903257" y="4408536"/>
            <a:ext cx="6217920" cy="341376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333" noProof="1">
                <a:solidFill>
                  <a:srgbClr val="16303A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ИК 5  —  Вы учитесь вместе с коллегами</a:t>
            </a:r>
            <a:endParaRPr lang="ru-RU" sz="1333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0" name="Shape 39">
            <a:extLst>
              <a:ext uri="{FF2B5EF4-FFF2-40B4-BE49-F238E27FC236}">
                <a16:creationId xmlns:a16="http://schemas.microsoft.com/office/drawing/2014/main" id="{4CBF68CC-97EE-CFD0-A6D5-DA9B9DFBD8F0}"/>
              </a:ext>
            </a:extLst>
          </p:cNvPr>
          <p:cNvSpPr/>
          <p:nvPr/>
        </p:nvSpPr>
        <p:spPr>
          <a:xfrm>
            <a:off x="7304057" y="4408536"/>
            <a:ext cx="1341120" cy="341376"/>
          </a:xfrm>
          <a:prstGeom prst="rect">
            <a:avLst/>
          </a:prstGeom>
          <a:solidFill>
            <a:srgbClr val="FFFFFF"/>
          </a:solidFill>
          <a:ln w="5080">
            <a:solidFill>
              <a:srgbClr val="B2D8DE"/>
            </a:solidFill>
            <a:prstDash val="solid"/>
          </a:ln>
        </p:spPr>
        <p:txBody>
          <a:bodyPr/>
          <a:lstStyle/>
          <a:p>
            <a:pPr defTabSz="1219170">
              <a:defRPr/>
            </a:pPr>
            <a:endParaRPr lang="ru-RU" sz="24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1" name="Shape 40">
            <a:extLst>
              <a:ext uri="{FF2B5EF4-FFF2-40B4-BE49-F238E27FC236}">
                <a16:creationId xmlns:a16="http://schemas.microsoft.com/office/drawing/2014/main" id="{6D211E04-0020-F788-2E5F-270CE156638D}"/>
              </a:ext>
            </a:extLst>
          </p:cNvPr>
          <p:cNvSpPr/>
          <p:nvPr/>
        </p:nvSpPr>
        <p:spPr>
          <a:xfrm>
            <a:off x="8767097" y="4408536"/>
            <a:ext cx="1341120" cy="341376"/>
          </a:xfrm>
          <a:prstGeom prst="rect">
            <a:avLst/>
          </a:prstGeom>
          <a:solidFill>
            <a:srgbClr val="FFFFFF"/>
          </a:solidFill>
          <a:ln w="5080">
            <a:solidFill>
              <a:srgbClr val="B2D8DE"/>
            </a:solidFill>
            <a:prstDash val="solid"/>
          </a:ln>
        </p:spPr>
        <p:txBody>
          <a:bodyPr/>
          <a:lstStyle/>
          <a:p>
            <a:pPr defTabSz="1219170">
              <a:defRPr/>
            </a:pPr>
            <a:endParaRPr lang="ru-RU" sz="24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2" name="Shape 41">
            <a:extLst>
              <a:ext uri="{FF2B5EF4-FFF2-40B4-BE49-F238E27FC236}">
                <a16:creationId xmlns:a16="http://schemas.microsoft.com/office/drawing/2014/main" id="{3BEE84F7-E2DE-F548-9A20-9F0D46B7A84C}"/>
              </a:ext>
            </a:extLst>
          </p:cNvPr>
          <p:cNvSpPr/>
          <p:nvPr/>
        </p:nvSpPr>
        <p:spPr>
          <a:xfrm>
            <a:off x="10230137" y="4408536"/>
            <a:ext cx="1341120" cy="341376"/>
          </a:xfrm>
          <a:prstGeom prst="rect">
            <a:avLst/>
          </a:prstGeom>
          <a:solidFill>
            <a:srgbClr val="FFFFFF"/>
          </a:solidFill>
          <a:ln w="5080">
            <a:solidFill>
              <a:srgbClr val="B2D8DE"/>
            </a:solidFill>
            <a:prstDash val="solid"/>
          </a:ln>
        </p:spPr>
        <p:txBody>
          <a:bodyPr/>
          <a:lstStyle/>
          <a:p>
            <a:pPr defTabSz="1219170">
              <a:defRPr/>
            </a:pPr>
            <a:endParaRPr lang="ru-RU" sz="24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3" name="Shape 42">
            <a:extLst>
              <a:ext uri="{FF2B5EF4-FFF2-40B4-BE49-F238E27FC236}">
                <a16:creationId xmlns:a16="http://schemas.microsoft.com/office/drawing/2014/main" id="{5C4EB053-1F00-BE0A-1EE3-502571532D70}"/>
              </a:ext>
            </a:extLst>
          </p:cNvPr>
          <p:cNvSpPr/>
          <p:nvPr/>
        </p:nvSpPr>
        <p:spPr>
          <a:xfrm>
            <a:off x="720377" y="4768200"/>
            <a:ext cx="11216640" cy="341376"/>
          </a:xfrm>
          <a:prstGeom prst="rect">
            <a:avLst/>
          </a:prstGeom>
          <a:solidFill>
            <a:srgbClr val="D6F0F3"/>
          </a:solidFill>
          <a:ln w="5080">
            <a:solidFill>
              <a:srgbClr val="B2D8DE"/>
            </a:solidFill>
            <a:prstDash val="solid"/>
          </a:ln>
        </p:spPr>
        <p:txBody>
          <a:bodyPr/>
          <a:lstStyle/>
          <a:p>
            <a:pPr defTabSz="1219170">
              <a:defRPr/>
            </a:pPr>
            <a:endParaRPr lang="ru-RU" sz="24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4" name="Text 43">
            <a:extLst>
              <a:ext uri="{FF2B5EF4-FFF2-40B4-BE49-F238E27FC236}">
                <a16:creationId xmlns:a16="http://schemas.microsoft.com/office/drawing/2014/main" id="{08B94C61-A15D-D127-41B2-DBB1FA87483B}"/>
              </a:ext>
            </a:extLst>
          </p:cNvPr>
          <p:cNvSpPr/>
          <p:nvPr/>
        </p:nvSpPr>
        <p:spPr>
          <a:xfrm>
            <a:off x="903257" y="4768200"/>
            <a:ext cx="6217920" cy="341376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333" noProof="1">
                <a:solidFill>
                  <a:srgbClr val="16303A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ИК 6  —  Это касается ваших студентов</a:t>
            </a:r>
            <a:endParaRPr lang="ru-RU" sz="1333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5" name="Shape 44">
            <a:extLst>
              <a:ext uri="{FF2B5EF4-FFF2-40B4-BE49-F238E27FC236}">
                <a16:creationId xmlns:a16="http://schemas.microsoft.com/office/drawing/2014/main" id="{1919F8D4-6379-061A-BBD1-07C48B22F6CA}"/>
              </a:ext>
            </a:extLst>
          </p:cNvPr>
          <p:cNvSpPr/>
          <p:nvPr/>
        </p:nvSpPr>
        <p:spPr>
          <a:xfrm>
            <a:off x="7304057" y="4768200"/>
            <a:ext cx="1341120" cy="341376"/>
          </a:xfrm>
          <a:prstGeom prst="rect">
            <a:avLst/>
          </a:prstGeom>
          <a:solidFill>
            <a:srgbClr val="D6F0F3"/>
          </a:solidFill>
          <a:ln w="5080">
            <a:solidFill>
              <a:srgbClr val="B2D8DE"/>
            </a:solidFill>
            <a:prstDash val="solid"/>
          </a:ln>
        </p:spPr>
        <p:txBody>
          <a:bodyPr/>
          <a:lstStyle/>
          <a:p>
            <a:pPr defTabSz="1219170">
              <a:defRPr/>
            </a:pPr>
            <a:endParaRPr lang="ru-RU" sz="24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6" name="Shape 45">
            <a:extLst>
              <a:ext uri="{FF2B5EF4-FFF2-40B4-BE49-F238E27FC236}">
                <a16:creationId xmlns:a16="http://schemas.microsoft.com/office/drawing/2014/main" id="{EDDF8B59-A989-4EAF-3285-BC096ACB52E3}"/>
              </a:ext>
            </a:extLst>
          </p:cNvPr>
          <p:cNvSpPr/>
          <p:nvPr/>
        </p:nvSpPr>
        <p:spPr>
          <a:xfrm>
            <a:off x="8767097" y="4768200"/>
            <a:ext cx="1341120" cy="341376"/>
          </a:xfrm>
          <a:prstGeom prst="rect">
            <a:avLst/>
          </a:prstGeom>
          <a:solidFill>
            <a:srgbClr val="D6F0F3"/>
          </a:solidFill>
          <a:ln w="5080">
            <a:solidFill>
              <a:srgbClr val="B2D8DE"/>
            </a:solidFill>
            <a:prstDash val="solid"/>
          </a:ln>
        </p:spPr>
        <p:txBody>
          <a:bodyPr/>
          <a:lstStyle/>
          <a:p>
            <a:pPr defTabSz="1219170">
              <a:defRPr/>
            </a:pPr>
            <a:endParaRPr lang="ru-RU" sz="24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7" name="Shape 46">
            <a:extLst>
              <a:ext uri="{FF2B5EF4-FFF2-40B4-BE49-F238E27FC236}">
                <a16:creationId xmlns:a16="http://schemas.microsoft.com/office/drawing/2014/main" id="{F366A5CF-FFBE-A048-E4F9-E28437C3252C}"/>
              </a:ext>
            </a:extLst>
          </p:cNvPr>
          <p:cNvSpPr/>
          <p:nvPr/>
        </p:nvSpPr>
        <p:spPr>
          <a:xfrm>
            <a:off x="10230137" y="4768200"/>
            <a:ext cx="1341120" cy="341376"/>
          </a:xfrm>
          <a:prstGeom prst="rect">
            <a:avLst/>
          </a:prstGeom>
          <a:solidFill>
            <a:srgbClr val="D6F0F3"/>
          </a:solidFill>
          <a:ln w="5080">
            <a:solidFill>
              <a:srgbClr val="B2D8DE"/>
            </a:solidFill>
            <a:prstDash val="solid"/>
          </a:ln>
        </p:spPr>
        <p:txBody>
          <a:bodyPr/>
          <a:lstStyle/>
          <a:p>
            <a:pPr defTabSz="1219170">
              <a:defRPr/>
            </a:pPr>
            <a:endParaRPr lang="ru-RU" sz="24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8" name="Shape 47">
            <a:extLst>
              <a:ext uri="{FF2B5EF4-FFF2-40B4-BE49-F238E27FC236}">
                <a16:creationId xmlns:a16="http://schemas.microsoft.com/office/drawing/2014/main" id="{7F5A0A95-E104-0214-A7BF-41139F2BA776}"/>
              </a:ext>
            </a:extLst>
          </p:cNvPr>
          <p:cNvSpPr/>
          <p:nvPr/>
        </p:nvSpPr>
        <p:spPr>
          <a:xfrm>
            <a:off x="720377" y="5127864"/>
            <a:ext cx="11216640" cy="341376"/>
          </a:xfrm>
          <a:prstGeom prst="rect">
            <a:avLst/>
          </a:prstGeom>
          <a:solidFill>
            <a:srgbClr val="FFFFFF"/>
          </a:solidFill>
          <a:ln w="5080">
            <a:solidFill>
              <a:srgbClr val="B2D8DE"/>
            </a:solidFill>
            <a:prstDash val="solid"/>
          </a:ln>
        </p:spPr>
        <p:txBody>
          <a:bodyPr/>
          <a:lstStyle/>
          <a:p>
            <a:pPr defTabSz="1219170">
              <a:defRPr/>
            </a:pPr>
            <a:endParaRPr lang="ru-RU" sz="24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9" name="Text 48">
            <a:extLst>
              <a:ext uri="{FF2B5EF4-FFF2-40B4-BE49-F238E27FC236}">
                <a16:creationId xmlns:a16="http://schemas.microsoft.com/office/drawing/2014/main" id="{2385C14F-2453-D00E-81E1-26B2C18477CD}"/>
              </a:ext>
            </a:extLst>
          </p:cNvPr>
          <p:cNvSpPr/>
          <p:nvPr/>
        </p:nvSpPr>
        <p:spPr>
          <a:xfrm>
            <a:off x="903257" y="5127864"/>
            <a:ext cx="6217920" cy="341376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333" b="1" noProof="1">
                <a:solidFill>
                  <a:srgbClr val="16303A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ИК 7  —  Ваше руководство поддерживает это</a:t>
            </a:r>
            <a:endParaRPr lang="ru-RU" sz="1333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0" name="Shape 49">
            <a:extLst>
              <a:ext uri="{FF2B5EF4-FFF2-40B4-BE49-F238E27FC236}">
                <a16:creationId xmlns:a16="http://schemas.microsoft.com/office/drawing/2014/main" id="{8B0DADCD-C770-54A1-534A-45DE76282A51}"/>
              </a:ext>
            </a:extLst>
          </p:cNvPr>
          <p:cNvSpPr/>
          <p:nvPr/>
        </p:nvSpPr>
        <p:spPr>
          <a:xfrm>
            <a:off x="7304057" y="5127864"/>
            <a:ext cx="1341120" cy="341376"/>
          </a:xfrm>
          <a:prstGeom prst="rect">
            <a:avLst/>
          </a:prstGeom>
          <a:solidFill>
            <a:srgbClr val="FFFFFF"/>
          </a:solidFill>
          <a:ln w="5080">
            <a:solidFill>
              <a:srgbClr val="B2D8DE"/>
            </a:solidFill>
            <a:prstDash val="solid"/>
          </a:ln>
        </p:spPr>
        <p:txBody>
          <a:bodyPr/>
          <a:lstStyle/>
          <a:p>
            <a:pPr defTabSz="1219170">
              <a:defRPr/>
            </a:pPr>
            <a:endParaRPr lang="ru-RU" sz="24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1" name="Shape 50">
            <a:extLst>
              <a:ext uri="{FF2B5EF4-FFF2-40B4-BE49-F238E27FC236}">
                <a16:creationId xmlns:a16="http://schemas.microsoft.com/office/drawing/2014/main" id="{2E266D81-90C9-77D2-8E4D-D1688C7B5C10}"/>
              </a:ext>
            </a:extLst>
          </p:cNvPr>
          <p:cNvSpPr/>
          <p:nvPr/>
        </p:nvSpPr>
        <p:spPr>
          <a:xfrm>
            <a:off x="8767097" y="5127864"/>
            <a:ext cx="1341120" cy="341376"/>
          </a:xfrm>
          <a:prstGeom prst="rect">
            <a:avLst/>
          </a:prstGeom>
          <a:solidFill>
            <a:srgbClr val="FFFFFF"/>
          </a:solidFill>
          <a:ln w="5080">
            <a:solidFill>
              <a:srgbClr val="B2D8DE"/>
            </a:solidFill>
            <a:prstDash val="solid"/>
          </a:ln>
        </p:spPr>
        <p:txBody>
          <a:bodyPr/>
          <a:lstStyle/>
          <a:p>
            <a:pPr defTabSz="1219170">
              <a:defRPr/>
            </a:pPr>
            <a:endParaRPr lang="ru-RU" sz="24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2" name="Shape 51">
            <a:extLst>
              <a:ext uri="{FF2B5EF4-FFF2-40B4-BE49-F238E27FC236}">
                <a16:creationId xmlns:a16="http://schemas.microsoft.com/office/drawing/2014/main" id="{163280C2-6BFA-870D-9E67-688059102027}"/>
              </a:ext>
            </a:extLst>
          </p:cNvPr>
          <p:cNvSpPr/>
          <p:nvPr/>
        </p:nvSpPr>
        <p:spPr>
          <a:xfrm>
            <a:off x="10230137" y="5127864"/>
            <a:ext cx="1341120" cy="341376"/>
          </a:xfrm>
          <a:prstGeom prst="rect">
            <a:avLst/>
          </a:prstGeom>
          <a:solidFill>
            <a:srgbClr val="FFFFFF"/>
          </a:solidFill>
          <a:ln w="5080">
            <a:solidFill>
              <a:srgbClr val="B2D8DE"/>
            </a:solidFill>
            <a:prstDash val="solid"/>
          </a:ln>
        </p:spPr>
        <p:txBody>
          <a:bodyPr/>
          <a:lstStyle/>
          <a:p>
            <a:pPr defTabSz="1219170">
              <a:defRPr/>
            </a:pPr>
            <a:endParaRPr lang="ru-RU" sz="24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3" name="Shape 52">
            <a:extLst>
              <a:ext uri="{FF2B5EF4-FFF2-40B4-BE49-F238E27FC236}">
                <a16:creationId xmlns:a16="http://schemas.microsoft.com/office/drawing/2014/main" id="{ACAA359D-62EC-F20E-59A1-9FA76FA3AA86}"/>
              </a:ext>
            </a:extLst>
          </p:cNvPr>
          <p:cNvSpPr/>
          <p:nvPr/>
        </p:nvSpPr>
        <p:spPr>
          <a:xfrm>
            <a:off x="720377" y="5487528"/>
            <a:ext cx="11216640" cy="341376"/>
          </a:xfrm>
          <a:prstGeom prst="rect">
            <a:avLst/>
          </a:prstGeom>
          <a:solidFill>
            <a:srgbClr val="D6F0F3"/>
          </a:solidFill>
          <a:ln w="5080">
            <a:solidFill>
              <a:srgbClr val="B2D8DE"/>
            </a:solidFill>
            <a:prstDash val="solid"/>
          </a:ln>
        </p:spPr>
        <p:txBody>
          <a:bodyPr/>
          <a:lstStyle/>
          <a:p>
            <a:pPr defTabSz="1219170">
              <a:defRPr/>
            </a:pPr>
            <a:endParaRPr lang="ru-RU" sz="24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4" name="Text 53">
            <a:extLst>
              <a:ext uri="{FF2B5EF4-FFF2-40B4-BE49-F238E27FC236}">
                <a16:creationId xmlns:a16="http://schemas.microsoft.com/office/drawing/2014/main" id="{F80A8A37-3D57-376B-195B-881981889B23}"/>
              </a:ext>
            </a:extLst>
          </p:cNvPr>
          <p:cNvSpPr/>
          <p:nvPr/>
        </p:nvSpPr>
        <p:spPr>
          <a:xfrm>
            <a:off x="903257" y="5487528"/>
            <a:ext cx="6217920" cy="341376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333" noProof="1">
                <a:solidFill>
                  <a:srgbClr val="16303A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ИК 8  —  Основано на том, что работает</a:t>
            </a:r>
            <a:endParaRPr lang="ru-RU" sz="1333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5" name="Shape 54">
            <a:extLst>
              <a:ext uri="{FF2B5EF4-FFF2-40B4-BE49-F238E27FC236}">
                <a16:creationId xmlns:a16="http://schemas.microsoft.com/office/drawing/2014/main" id="{BEA70DDD-0D83-F03A-3DB9-74B15D268DD1}"/>
              </a:ext>
            </a:extLst>
          </p:cNvPr>
          <p:cNvSpPr/>
          <p:nvPr/>
        </p:nvSpPr>
        <p:spPr>
          <a:xfrm>
            <a:off x="7304057" y="5487528"/>
            <a:ext cx="1341120" cy="341376"/>
          </a:xfrm>
          <a:prstGeom prst="rect">
            <a:avLst/>
          </a:prstGeom>
          <a:solidFill>
            <a:srgbClr val="D6F0F3"/>
          </a:solidFill>
          <a:ln w="5080">
            <a:solidFill>
              <a:srgbClr val="B2D8DE"/>
            </a:solidFill>
            <a:prstDash val="solid"/>
          </a:ln>
        </p:spPr>
        <p:txBody>
          <a:bodyPr/>
          <a:lstStyle/>
          <a:p>
            <a:pPr defTabSz="1219170">
              <a:defRPr/>
            </a:pPr>
            <a:endParaRPr lang="ru-RU" sz="24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6" name="Shape 55">
            <a:extLst>
              <a:ext uri="{FF2B5EF4-FFF2-40B4-BE49-F238E27FC236}">
                <a16:creationId xmlns:a16="http://schemas.microsoft.com/office/drawing/2014/main" id="{81BB4C01-6E1A-B94A-A6FD-C889F10B4537}"/>
              </a:ext>
            </a:extLst>
          </p:cNvPr>
          <p:cNvSpPr/>
          <p:nvPr/>
        </p:nvSpPr>
        <p:spPr>
          <a:xfrm>
            <a:off x="8767097" y="5487528"/>
            <a:ext cx="1341120" cy="341376"/>
          </a:xfrm>
          <a:prstGeom prst="rect">
            <a:avLst/>
          </a:prstGeom>
          <a:solidFill>
            <a:srgbClr val="D6F0F3"/>
          </a:solidFill>
          <a:ln w="5080">
            <a:solidFill>
              <a:srgbClr val="B2D8DE"/>
            </a:solidFill>
            <a:prstDash val="solid"/>
          </a:ln>
        </p:spPr>
        <p:txBody>
          <a:bodyPr/>
          <a:lstStyle/>
          <a:p>
            <a:pPr defTabSz="1219170">
              <a:defRPr/>
            </a:pPr>
            <a:endParaRPr lang="ru-RU" sz="24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7" name="Shape 56">
            <a:extLst>
              <a:ext uri="{FF2B5EF4-FFF2-40B4-BE49-F238E27FC236}">
                <a16:creationId xmlns:a16="http://schemas.microsoft.com/office/drawing/2014/main" id="{0C565CF2-3016-219E-A97A-E75C8EFE70B8}"/>
              </a:ext>
            </a:extLst>
          </p:cNvPr>
          <p:cNvSpPr/>
          <p:nvPr/>
        </p:nvSpPr>
        <p:spPr>
          <a:xfrm>
            <a:off x="10230137" y="5487528"/>
            <a:ext cx="1341120" cy="341376"/>
          </a:xfrm>
          <a:prstGeom prst="rect">
            <a:avLst/>
          </a:prstGeom>
          <a:solidFill>
            <a:srgbClr val="D6F0F3"/>
          </a:solidFill>
          <a:ln w="5080">
            <a:solidFill>
              <a:srgbClr val="B2D8DE"/>
            </a:solidFill>
            <a:prstDash val="solid"/>
          </a:ln>
        </p:spPr>
        <p:txBody>
          <a:bodyPr/>
          <a:lstStyle/>
          <a:p>
            <a:pPr defTabSz="1219170">
              <a:defRPr/>
            </a:pPr>
            <a:endParaRPr lang="ru-RU" sz="24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8" name="Shape 57">
            <a:extLst>
              <a:ext uri="{FF2B5EF4-FFF2-40B4-BE49-F238E27FC236}">
                <a16:creationId xmlns:a16="http://schemas.microsoft.com/office/drawing/2014/main" id="{3FE9C4AD-2E4F-251F-57E1-83E562ED521D}"/>
              </a:ext>
            </a:extLst>
          </p:cNvPr>
          <p:cNvSpPr/>
          <p:nvPr/>
        </p:nvSpPr>
        <p:spPr>
          <a:xfrm>
            <a:off x="720377" y="5908152"/>
            <a:ext cx="11216640" cy="268224"/>
          </a:xfrm>
          <a:prstGeom prst="rect">
            <a:avLst/>
          </a:prstGeom>
          <a:solidFill>
            <a:srgbClr val="16303A"/>
          </a:solidFill>
          <a:ln w="12700">
            <a:solidFill>
              <a:srgbClr val="16303A"/>
            </a:solidFill>
            <a:prstDash val="solid"/>
          </a:ln>
        </p:spPr>
        <p:txBody>
          <a:bodyPr/>
          <a:lstStyle/>
          <a:p>
            <a:pPr defTabSz="1219170">
              <a:defRPr/>
            </a:pPr>
            <a:endParaRPr lang="ru-RU" sz="24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9" name="Text 58">
            <a:extLst>
              <a:ext uri="{FF2B5EF4-FFF2-40B4-BE49-F238E27FC236}">
                <a16:creationId xmlns:a16="http://schemas.microsoft.com/office/drawing/2014/main" id="{FB57D7E1-09E6-722B-0123-4E521C95CD92}"/>
              </a:ext>
            </a:extLst>
          </p:cNvPr>
          <p:cNvSpPr/>
          <p:nvPr/>
        </p:nvSpPr>
        <p:spPr>
          <a:xfrm>
            <a:off x="903257" y="5908152"/>
            <a:ext cx="10972800" cy="268224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333" b="1" noProof="1">
                <a:solidFill>
                  <a:srgbClr val="E8940A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После презентации</a:t>
            </a:r>
            <a:endParaRPr lang="ru-RU" sz="1333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0" name="Shape 59">
            <a:extLst>
              <a:ext uri="{FF2B5EF4-FFF2-40B4-BE49-F238E27FC236}">
                <a16:creationId xmlns:a16="http://schemas.microsoft.com/office/drawing/2014/main" id="{896A914E-B582-3EEF-5EDA-273524A47CC9}"/>
              </a:ext>
            </a:extLst>
          </p:cNvPr>
          <p:cNvSpPr/>
          <p:nvPr/>
        </p:nvSpPr>
        <p:spPr>
          <a:xfrm>
            <a:off x="720377" y="6176376"/>
            <a:ext cx="11216640" cy="243840"/>
          </a:xfrm>
          <a:prstGeom prst="rect">
            <a:avLst/>
          </a:prstGeom>
          <a:solidFill>
            <a:srgbClr val="FDF3DC"/>
          </a:solidFill>
          <a:ln w="5080">
            <a:solidFill>
              <a:srgbClr val="E8940A"/>
            </a:solidFill>
            <a:prstDash val="solid"/>
          </a:ln>
        </p:spPr>
        <p:txBody>
          <a:bodyPr/>
          <a:lstStyle/>
          <a:p>
            <a:pPr defTabSz="1219170">
              <a:defRPr/>
            </a:pPr>
            <a:endParaRPr lang="ru-RU" sz="24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1" name="Text 60">
            <a:extLst>
              <a:ext uri="{FF2B5EF4-FFF2-40B4-BE49-F238E27FC236}">
                <a16:creationId xmlns:a16="http://schemas.microsoft.com/office/drawing/2014/main" id="{CDD2561C-ED4E-59B7-E314-5E32FFF3D112}"/>
              </a:ext>
            </a:extLst>
          </p:cNvPr>
          <p:cNvSpPr/>
          <p:nvPr/>
        </p:nvSpPr>
        <p:spPr>
          <a:xfrm>
            <a:off x="903257" y="6176376"/>
            <a:ext cx="10972800" cy="24384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267" noProof="1">
                <a:solidFill>
                  <a:srgbClr val="16303A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Одно, что в этом кейсе сделано особенно хорошо</a:t>
            </a:r>
            <a:endParaRPr lang="ru-RU" sz="1267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2" name="Shape 61">
            <a:extLst>
              <a:ext uri="{FF2B5EF4-FFF2-40B4-BE49-F238E27FC236}">
                <a16:creationId xmlns:a16="http://schemas.microsoft.com/office/drawing/2014/main" id="{406C5134-0A59-AC37-1D4F-C8EF4437AA71}"/>
              </a:ext>
            </a:extLst>
          </p:cNvPr>
          <p:cNvSpPr/>
          <p:nvPr/>
        </p:nvSpPr>
        <p:spPr>
          <a:xfrm>
            <a:off x="720377" y="6444600"/>
            <a:ext cx="11216640" cy="243840"/>
          </a:xfrm>
          <a:prstGeom prst="rect">
            <a:avLst/>
          </a:prstGeom>
          <a:solidFill>
            <a:srgbClr val="FFFFFF"/>
          </a:solidFill>
          <a:ln w="5080">
            <a:solidFill>
              <a:srgbClr val="E8940A"/>
            </a:solidFill>
            <a:prstDash val="solid"/>
          </a:ln>
        </p:spPr>
        <p:txBody>
          <a:bodyPr/>
          <a:lstStyle/>
          <a:p>
            <a:pPr defTabSz="1219170">
              <a:defRPr/>
            </a:pPr>
            <a:endParaRPr lang="ru-RU" sz="24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3" name="Text 62">
            <a:extLst>
              <a:ext uri="{FF2B5EF4-FFF2-40B4-BE49-F238E27FC236}">
                <a16:creationId xmlns:a16="http://schemas.microsoft.com/office/drawing/2014/main" id="{F60D9166-A7B4-C8F8-E830-6E3E83788EF6}"/>
              </a:ext>
            </a:extLst>
          </p:cNvPr>
          <p:cNvSpPr/>
          <p:nvPr/>
        </p:nvSpPr>
        <p:spPr>
          <a:xfrm>
            <a:off x="903257" y="6444600"/>
            <a:ext cx="10972800" cy="24384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267" noProof="1">
                <a:solidFill>
                  <a:srgbClr val="16303A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Один вопрос, который этот кейс поднимает применительно к вашему контексту</a:t>
            </a:r>
            <a:endParaRPr lang="ru-RU" sz="1267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2589996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hape 2">
            <a:extLst>
              <a:ext uri="{FF2B5EF4-FFF2-40B4-BE49-F238E27FC236}">
                <a16:creationId xmlns:a16="http://schemas.microsoft.com/office/drawing/2014/main" id="{676AA900-87BC-09D9-A0D4-7D60036408CC}"/>
              </a:ext>
            </a:extLst>
          </p:cNvPr>
          <p:cNvSpPr/>
          <p:nvPr/>
        </p:nvSpPr>
        <p:spPr>
          <a:xfrm>
            <a:off x="487680" y="1235584"/>
            <a:ext cx="11216640" cy="1889760"/>
          </a:xfrm>
          <a:prstGeom prst="rect">
            <a:avLst/>
          </a:prstGeom>
          <a:solidFill>
            <a:schemeClr val="bg1"/>
          </a:solidFill>
          <a:ln w="12700">
            <a:solidFill>
              <a:srgbClr val="16303A"/>
            </a:solidFill>
            <a:prstDash val="solid"/>
          </a:ln>
        </p:spPr>
        <p:txBody>
          <a:bodyPr/>
          <a:lstStyle/>
          <a:p>
            <a:pPr defTabSz="1219170">
              <a:defRPr/>
            </a:pPr>
            <a:endParaRPr lang="ru-RU" sz="24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Text 3">
            <a:extLst>
              <a:ext uri="{FF2B5EF4-FFF2-40B4-BE49-F238E27FC236}">
                <a16:creationId xmlns:a16="http://schemas.microsoft.com/office/drawing/2014/main" id="{43271B3F-8B99-57A5-9AB3-9357D4BB910A}"/>
              </a:ext>
            </a:extLst>
          </p:cNvPr>
          <p:cNvSpPr/>
          <p:nvPr/>
        </p:nvSpPr>
        <p:spPr>
          <a:xfrm>
            <a:off x="731520" y="1235584"/>
            <a:ext cx="10850880" cy="188976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2000" i="1" noProof="1">
                <a:latin typeface="Arial" panose="020B0604020202020204" pitchFamily="34" charset="0"/>
                <a:ea typeface="Georgia" pitchFamily="34" charset="-122"/>
                <a:cs typeface="Arial" panose="020B0604020202020204" pitchFamily="34" charset="0"/>
              </a:rPr>
              <a:t>Этим утром вы сопоставили своё профессиональное развитие с индикаторами качества. Сегодня во второй половине дня вы будете использовать те же индикаторы для рассмотрения трёх реальных программ из региона — представленных коллегами, имеющими непосредственный опыт их разработки и реализации. индикаторы — это ваш инструмент, а не вердикт. Ваша задача — замечать, а не судить.</a:t>
            </a:r>
            <a:endParaRPr lang="ru-RU" sz="2000" noProof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Shape 4">
            <a:extLst>
              <a:ext uri="{FF2B5EF4-FFF2-40B4-BE49-F238E27FC236}">
                <a16:creationId xmlns:a16="http://schemas.microsoft.com/office/drawing/2014/main" id="{2FF93A87-5AD7-846B-EFF3-27D4F01D9CE8}"/>
              </a:ext>
            </a:extLst>
          </p:cNvPr>
          <p:cNvSpPr/>
          <p:nvPr/>
        </p:nvSpPr>
        <p:spPr>
          <a:xfrm>
            <a:off x="487680" y="3271648"/>
            <a:ext cx="11216640" cy="877824"/>
          </a:xfrm>
          <a:prstGeom prst="rect">
            <a:avLst/>
          </a:prstGeom>
          <a:solidFill>
            <a:srgbClr val="FFFFFF"/>
          </a:solidFill>
          <a:ln w="6350">
            <a:solidFill>
              <a:srgbClr val="B2D8DE"/>
            </a:solidFill>
            <a:prstDash val="solid"/>
          </a:ln>
          <a:effectLst>
            <a:outerShdw blurRad="76200" dist="38100" dir="8100000" algn="bl" rotWithShape="0">
              <a:srgbClr val="000000">
                <a:alpha val="10000"/>
              </a:srgbClr>
            </a:outerShdw>
          </a:effectLst>
        </p:spPr>
        <p:txBody>
          <a:bodyPr/>
          <a:lstStyle/>
          <a:p>
            <a:pPr defTabSz="1219170">
              <a:defRPr/>
            </a:pPr>
            <a:endParaRPr lang="ru-RU" sz="24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Shape 5">
            <a:extLst>
              <a:ext uri="{FF2B5EF4-FFF2-40B4-BE49-F238E27FC236}">
                <a16:creationId xmlns:a16="http://schemas.microsoft.com/office/drawing/2014/main" id="{484BB8F4-EE61-75E1-0DE6-BB73F48146C4}"/>
              </a:ext>
            </a:extLst>
          </p:cNvPr>
          <p:cNvSpPr/>
          <p:nvPr/>
        </p:nvSpPr>
        <p:spPr>
          <a:xfrm>
            <a:off x="633984" y="3478912"/>
            <a:ext cx="463296" cy="463296"/>
          </a:xfrm>
          <a:prstGeom prst="ellipse">
            <a:avLst/>
          </a:prstGeom>
          <a:solidFill>
            <a:srgbClr val="027A87"/>
          </a:solidFill>
          <a:ln w="12700">
            <a:solidFill>
              <a:srgbClr val="027A87"/>
            </a:solidFill>
            <a:prstDash val="solid"/>
          </a:ln>
        </p:spPr>
        <p:txBody>
          <a:bodyPr/>
          <a:lstStyle/>
          <a:p>
            <a:pPr defTabSz="1219170">
              <a:defRPr/>
            </a:pPr>
            <a:endParaRPr lang="ru-RU" sz="24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Text 6">
            <a:extLst>
              <a:ext uri="{FF2B5EF4-FFF2-40B4-BE49-F238E27FC236}">
                <a16:creationId xmlns:a16="http://schemas.microsoft.com/office/drawing/2014/main" id="{A7038061-20EE-A983-52E5-CDF3070DEBF0}"/>
              </a:ext>
            </a:extLst>
          </p:cNvPr>
          <p:cNvSpPr/>
          <p:nvPr/>
        </p:nvSpPr>
        <p:spPr>
          <a:xfrm>
            <a:off x="633984" y="3478912"/>
            <a:ext cx="463296" cy="463296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algn="ctr" defTabSz="1219170">
              <a:defRPr/>
            </a:pPr>
            <a:r>
              <a:rPr lang="ru-RU" sz="1867" b="1" noProof="1">
                <a:solidFill>
                  <a:srgbClr val="FFFFFF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1</a:t>
            </a:r>
            <a:endParaRPr lang="ru-RU" sz="1867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Text 7">
            <a:extLst>
              <a:ext uri="{FF2B5EF4-FFF2-40B4-BE49-F238E27FC236}">
                <a16:creationId xmlns:a16="http://schemas.microsoft.com/office/drawing/2014/main" id="{1B551918-19BB-7BF2-599A-E5FACBF0F604}"/>
              </a:ext>
            </a:extLst>
          </p:cNvPr>
          <p:cNvSpPr/>
          <p:nvPr/>
        </p:nvSpPr>
        <p:spPr>
          <a:xfrm>
            <a:off x="1316736" y="3393568"/>
            <a:ext cx="10180320" cy="67056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600" noProof="1">
                <a:solidFill>
                  <a:srgbClr val="16303A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Всё, что вы наблюдаете, заносится в ваш шаблон и остаётся за вашим столом. Паттерны, которые мы из этого выводим, размещаются на стене без имён.</a:t>
            </a:r>
            <a:endParaRPr lang="ru-RU" sz="16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Shape 8">
            <a:extLst>
              <a:ext uri="{FF2B5EF4-FFF2-40B4-BE49-F238E27FC236}">
                <a16:creationId xmlns:a16="http://schemas.microsoft.com/office/drawing/2014/main" id="{F6444ADB-59DF-F83E-8143-4B2F4E0ACA14}"/>
              </a:ext>
            </a:extLst>
          </p:cNvPr>
          <p:cNvSpPr/>
          <p:nvPr/>
        </p:nvSpPr>
        <p:spPr>
          <a:xfrm>
            <a:off x="487680" y="4271392"/>
            <a:ext cx="11216640" cy="877824"/>
          </a:xfrm>
          <a:prstGeom prst="rect">
            <a:avLst/>
          </a:prstGeom>
          <a:solidFill>
            <a:srgbClr val="D6F0F3"/>
          </a:solidFill>
          <a:ln w="6350">
            <a:solidFill>
              <a:srgbClr val="B2D8DE"/>
            </a:solidFill>
            <a:prstDash val="solid"/>
          </a:ln>
          <a:effectLst>
            <a:outerShdw blurRad="76200" dist="38100" dir="8100000" algn="bl" rotWithShape="0">
              <a:srgbClr val="000000">
                <a:alpha val="10000"/>
              </a:srgbClr>
            </a:outerShdw>
          </a:effectLst>
        </p:spPr>
        <p:txBody>
          <a:bodyPr/>
          <a:lstStyle/>
          <a:p>
            <a:pPr defTabSz="1219170">
              <a:defRPr/>
            </a:pPr>
            <a:endParaRPr lang="ru-RU" sz="24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Shape 9">
            <a:extLst>
              <a:ext uri="{FF2B5EF4-FFF2-40B4-BE49-F238E27FC236}">
                <a16:creationId xmlns:a16="http://schemas.microsoft.com/office/drawing/2014/main" id="{AB65B229-A9A8-D970-C6EF-E5A4C96F772F}"/>
              </a:ext>
            </a:extLst>
          </p:cNvPr>
          <p:cNvSpPr/>
          <p:nvPr/>
        </p:nvSpPr>
        <p:spPr>
          <a:xfrm>
            <a:off x="633984" y="4478656"/>
            <a:ext cx="463296" cy="463296"/>
          </a:xfrm>
          <a:prstGeom prst="ellipse">
            <a:avLst/>
          </a:prstGeom>
          <a:solidFill>
            <a:srgbClr val="027A87"/>
          </a:solidFill>
          <a:ln w="12700">
            <a:solidFill>
              <a:srgbClr val="027A87"/>
            </a:solidFill>
            <a:prstDash val="solid"/>
          </a:ln>
        </p:spPr>
        <p:txBody>
          <a:bodyPr/>
          <a:lstStyle/>
          <a:p>
            <a:pPr defTabSz="1219170">
              <a:defRPr/>
            </a:pPr>
            <a:endParaRPr lang="ru-RU" sz="24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Text 10">
            <a:extLst>
              <a:ext uri="{FF2B5EF4-FFF2-40B4-BE49-F238E27FC236}">
                <a16:creationId xmlns:a16="http://schemas.microsoft.com/office/drawing/2014/main" id="{4E992985-39E8-C9BB-F5F1-2C09DA17092E}"/>
              </a:ext>
            </a:extLst>
          </p:cNvPr>
          <p:cNvSpPr/>
          <p:nvPr/>
        </p:nvSpPr>
        <p:spPr>
          <a:xfrm>
            <a:off x="633984" y="4478656"/>
            <a:ext cx="463296" cy="463296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algn="ctr" defTabSz="1219170">
              <a:defRPr/>
            </a:pPr>
            <a:r>
              <a:rPr lang="ru-RU" sz="1867" b="1" noProof="1">
                <a:solidFill>
                  <a:srgbClr val="FFFFFF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2</a:t>
            </a:r>
            <a:endParaRPr lang="ru-RU" sz="1867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Text 11">
            <a:extLst>
              <a:ext uri="{FF2B5EF4-FFF2-40B4-BE49-F238E27FC236}">
                <a16:creationId xmlns:a16="http://schemas.microsoft.com/office/drawing/2014/main" id="{352BB38A-A2A8-F316-E720-5E5A34A8BE94}"/>
              </a:ext>
            </a:extLst>
          </p:cNvPr>
          <p:cNvSpPr/>
          <p:nvPr/>
        </p:nvSpPr>
        <p:spPr>
          <a:xfrm>
            <a:off x="1316736" y="4393312"/>
            <a:ext cx="10180320" cy="67056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600" noProof="1">
                <a:solidFill>
                  <a:srgbClr val="16303A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Наши презентующие заранее ознакомились с этими индикаторами и шаблоном. Они знают, на что вы будете обращать внимание. Мы все работаем с одной рамкой.</a:t>
            </a:r>
            <a:endParaRPr lang="ru-RU" sz="16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Shape 12">
            <a:extLst>
              <a:ext uri="{FF2B5EF4-FFF2-40B4-BE49-F238E27FC236}">
                <a16:creationId xmlns:a16="http://schemas.microsoft.com/office/drawing/2014/main" id="{44AB2C87-8B55-A4A9-26C0-3F7434626E47}"/>
              </a:ext>
            </a:extLst>
          </p:cNvPr>
          <p:cNvSpPr/>
          <p:nvPr/>
        </p:nvSpPr>
        <p:spPr>
          <a:xfrm>
            <a:off x="487680" y="5271136"/>
            <a:ext cx="11216640" cy="877824"/>
          </a:xfrm>
          <a:prstGeom prst="rect">
            <a:avLst/>
          </a:prstGeom>
          <a:solidFill>
            <a:srgbClr val="FFFFFF"/>
          </a:solidFill>
          <a:ln w="6350">
            <a:solidFill>
              <a:srgbClr val="B2D8DE"/>
            </a:solidFill>
            <a:prstDash val="solid"/>
          </a:ln>
          <a:effectLst>
            <a:outerShdw blurRad="76200" dist="38100" dir="8100000" algn="bl" rotWithShape="0">
              <a:srgbClr val="000000">
                <a:alpha val="10000"/>
              </a:srgbClr>
            </a:outerShdw>
          </a:effectLst>
        </p:spPr>
        <p:txBody>
          <a:bodyPr/>
          <a:lstStyle/>
          <a:p>
            <a:pPr defTabSz="1219170">
              <a:defRPr/>
            </a:pPr>
            <a:endParaRPr lang="ru-RU" sz="24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Shape 13">
            <a:extLst>
              <a:ext uri="{FF2B5EF4-FFF2-40B4-BE49-F238E27FC236}">
                <a16:creationId xmlns:a16="http://schemas.microsoft.com/office/drawing/2014/main" id="{1C4D822A-D0E3-DE5D-2CBC-1B1DF5AD8E9C}"/>
              </a:ext>
            </a:extLst>
          </p:cNvPr>
          <p:cNvSpPr/>
          <p:nvPr/>
        </p:nvSpPr>
        <p:spPr>
          <a:xfrm>
            <a:off x="633984" y="5478400"/>
            <a:ext cx="463296" cy="463296"/>
          </a:xfrm>
          <a:prstGeom prst="ellipse">
            <a:avLst/>
          </a:prstGeom>
          <a:solidFill>
            <a:srgbClr val="027A87"/>
          </a:solidFill>
          <a:ln w="12700">
            <a:solidFill>
              <a:srgbClr val="027A87"/>
            </a:solidFill>
            <a:prstDash val="solid"/>
          </a:ln>
        </p:spPr>
        <p:txBody>
          <a:bodyPr/>
          <a:lstStyle/>
          <a:p>
            <a:pPr defTabSz="1219170">
              <a:defRPr/>
            </a:pPr>
            <a:endParaRPr lang="ru-RU" sz="24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Text 14">
            <a:extLst>
              <a:ext uri="{FF2B5EF4-FFF2-40B4-BE49-F238E27FC236}">
                <a16:creationId xmlns:a16="http://schemas.microsoft.com/office/drawing/2014/main" id="{2477FA35-2595-5BB9-B6FF-83A7A2C270BC}"/>
              </a:ext>
            </a:extLst>
          </p:cNvPr>
          <p:cNvSpPr/>
          <p:nvPr/>
        </p:nvSpPr>
        <p:spPr>
          <a:xfrm>
            <a:off x="633984" y="5478400"/>
            <a:ext cx="463296" cy="463296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algn="ctr" defTabSz="1219170">
              <a:defRPr/>
            </a:pPr>
            <a:r>
              <a:rPr lang="ru-RU" sz="1867" b="1" noProof="1">
                <a:solidFill>
                  <a:srgbClr val="FFFFFF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3</a:t>
            </a:r>
            <a:endParaRPr lang="ru-RU" sz="1867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Text 15">
            <a:extLst>
              <a:ext uri="{FF2B5EF4-FFF2-40B4-BE49-F238E27FC236}">
                <a16:creationId xmlns:a16="http://schemas.microsoft.com/office/drawing/2014/main" id="{B66CCD2F-17FD-2561-2EA7-49314F8A8D0A}"/>
              </a:ext>
            </a:extLst>
          </p:cNvPr>
          <p:cNvSpPr/>
          <p:nvPr/>
        </p:nvSpPr>
        <p:spPr>
          <a:xfrm>
            <a:off x="1316736" y="5393056"/>
            <a:ext cx="10180320" cy="67056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600" noProof="1">
                <a:solidFill>
                  <a:srgbClr val="16303A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Шаблон просит вас отметить, на какую группу педагогов нацелена каждая программа — общее образование, ПОО или смешанная. Это часть того, что вы анализируете, а не случайная деталь.</a:t>
            </a:r>
            <a:endParaRPr lang="ru-RU" sz="16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Shape 16">
            <a:extLst>
              <a:ext uri="{FF2B5EF4-FFF2-40B4-BE49-F238E27FC236}">
                <a16:creationId xmlns:a16="http://schemas.microsoft.com/office/drawing/2014/main" id="{E68E32B4-9164-9B19-6187-75E98CAF2834}"/>
              </a:ext>
            </a:extLst>
          </p:cNvPr>
          <p:cNvSpPr/>
          <p:nvPr/>
        </p:nvSpPr>
        <p:spPr>
          <a:xfrm>
            <a:off x="487680" y="6317537"/>
            <a:ext cx="11216640" cy="414528"/>
          </a:xfrm>
          <a:prstGeom prst="rect">
            <a:avLst/>
          </a:prstGeom>
          <a:solidFill>
            <a:srgbClr val="E8940A"/>
          </a:solidFill>
          <a:ln w="12700">
            <a:solidFill>
              <a:srgbClr val="E8940A"/>
            </a:solidFill>
            <a:prstDash val="solid"/>
          </a:ln>
        </p:spPr>
        <p:txBody>
          <a:bodyPr/>
          <a:lstStyle/>
          <a:p>
            <a:pPr defTabSz="1219170">
              <a:defRPr/>
            </a:pPr>
            <a:endParaRPr lang="ru-RU" sz="24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Text 17">
            <a:extLst>
              <a:ext uri="{FF2B5EF4-FFF2-40B4-BE49-F238E27FC236}">
                <a16:creationId xmlns:a16="http://schemas.microsoft.com/office/drawing/2014/main" id="{634E3982-0100-633D-EF34-0E5351B0CC74}"/>
              </a:ext>
            </a:extLst>
          </p:cNvPr>
          <p:cNvSpPr/>
          <p:nvPr/>
        </p:nvSpPr>
        <p:spPr>
          <a:xfrm>
            <a:off x="487680" y="6317537"/>
            <a:ext cx="11216640" cy="414528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algn="ctr" defTabSz="1219170">
              <a:defRPr/>
            </a:pPr>
            <a:r>
              <a:rPr lang="ru-RU" sz="1200" b="1" noProof="1">
                <a:solidFill>
                  <a:srgbClr val="FFFFFF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SCAFFOLD: Принцип 3.2 — использование рефлексии для понимания того, как вы учитесь. Шаблон структурирует наблюдение в режиме реального времени по рамке, сформированной на протяжении всего дня.</a:t>
            </a:r>
            <a:endParaRPr lang="ru-RU" sz="12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C144B923-6BA5-E688-1C3B-A126CE58DB9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7038" y="254324"/>
            <a:ext cx="11719716" cy="1080120"/>
          </a:xfrm>
        </p:spPr>
        <p:txBody>
          <a:bodyPr>
            <a:normAutofit/>
          </a:bodyPr>
          <a:lstStyle/>
          <a:p>
            <a:r>
              <a:rPr lang="ru-RU" noProof="1"/>
              <a:t>Введение в сессию</a:t>
            </a:r>
          </a:p>
        </p:txBody>
      </p:sp>
    </p:spTree>
    <p:extLst>
      <p:ext uri="{BB962C8B-B14F-4D97-AF65-F5344CB8AC3E}">
        <p14:creationId xmlns:p14="http://schemas.microsoft.com/office/powerpoint/2010/main" val="327783929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hape 2">
            <a:extLst>
              <a:ext uri="{FF2B5EF4-FFF2-40B4-BE49-F238E27FC236}">
                <a16:creationId xmlns:a16="http://schemas.microsoft.com/office/drawing/2014/main" id="{07138945-36B0-1B08-FF99-D8D3B5787305}"/>
              </a:ext>
            </a:extLst>
          </p:cNvPr>
          <p:cNvSpPr/>
          <p:nvPr/>
        </p:nvSpPr>
        <p:spPr>
          <a:xfrm>
            <a:off x="621792" y="1545626"/>
            <a:ext cx="1645920" cy="1341120"/>
          </a:xfrm>
          <a:prstGeom prst="rect">
            <a:avLst/>
          </a:prstGeom>
          <a:solidFill>
            <a:srgbClr val="027A87"/>
          </a:solidFill>
          <a:ln w="12700">
            <a:solidFill>
              <a:srgbClr val="027A87"/>
            </a:solidFill>
            <a:prstDash val="solid"/>
          </a:ln>
        </p:spPr>
        <p:txBody>
          <a:bodyPr/>
          <a:lstStyle/>
          <a:p>
            <a:pPr defTabSz="1219170">
              <a:defRPr/>
            </a:pPr>
            <a:endParaRPr lang="ru-RU" sz="16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Text 3">
            <a:extLst>
              <a:ext uri="{FF2B5EF4-FFF2-40B4-BE49-F238E27FC236}">
                <a16:creationId xmlns:a16="http://schemas.microsoft.com/office/drawing/2014/main" id="{D6B7533A-B1E2-9404-DF05-92B9378CEF2C}"/>
              </a:ext>
            </a:extLst>
          </p:cNvPr>
          <p:cNvSpPr/>
          <p:nvPr/>
        </p:nvSpPr>
        <p:spPr>
          <a:xfrm>
            <a:off x="621792" y="1545626"/>
            <a:ext cx="1645920" cy="134112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algn="ctr" defTabSz="1219170">
              <a:defRPr/>
            </a:pPr>
            <a:r>
              <a:rPr lang="ru-RU" sz="1600" b="1" noProof="1">
                <a:solidFill>
                  <a:srgbClr val="FFFFFF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Презентация 1</a:t>
            </a:r>
            <a:endParaRPr lang="ru-RU" sz="16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Shape 4">
            <a:extLst>
              <a:ext uri="{FF2B5EF4-FFF2-40B4-BE49-F238E27FC236}">
                <a16:creationId xmlns:a16="http://schemas.microsoft.com/office/drawing/2014/main" id="{56BC4616-B832-A083-26A6-E4465BCDF884}"/>
              </a:ext>
            </a:extLst>
          </p:cNvPr>
          <p:cNvSpPr/>
          <p:nvPr/>
        </p:nvSpPr>
        <p:spPr>
          <a:xfrm>
            <a:off x="2535936" y="1545626"/>
            <a:ext cx="1645920" cy="670560"/>
          </a:xfrm>
          <a:prstGeom prst="rect">
            <a:avLst/>
          </a:prstGeom>
          <a:solidFill>
            <a:srgbClr val="5C7A84"/>
          </a:solidFill>
          <a:ln w="12700">
            <a:solidFill>
              <a:srgbClr val="5C7A84"/>
            </a:solidFill>
            <a:prstDash val="solid"/>
          </a:ln>
        </p:spPr>
        <p:txBody>
          <a:bodyPr/>
          <a:lstStyle/>
          <a:p>
            <a:pPr defTabSz="1219170">
              <a:defRPr/>
            </a:pPr>
            <a:endParaRPr lang="ru-RU" sz="16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Text 5">
            <a:extLst>
              <a:ext uri="{FF2B5EF4-FFF2-40B4-BE49-F238E27FC236}">
                <a16:creationId xmlns:a16="http://schemas.microsoft.com/office/drawing/2014/main" id="{06B88610-1C72-703A-889B-847054DD5D54}"/>
              </a:ext>
            </a:extLst>
          </p:cNvPr>
          <p:cNvSpPr/>
          <p:nvPr/>
        </p:nvSpPr>
        <p:spPr>
          <a:xfrm>
            <a:off x="2535936" y="1545626"/>
            <a:ext cx="1645920" cy="67056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algn="ctr" defTabSz="1219170">
              <a:defRPr/>
            </a:pPr>
            <a:r>
              <a:rPr lang="ru-RU" sz="1600" noProof="1">
                <a:solidFill>
                  <a:srgbClr val="FFFFFF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Заполняем шаблон (молча)</a:t>
            </a:r>
            <a:endParaRPr lang="ru-RU" sz="16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Shape 6">
            <a:extLst>
              <a:ext uri="{FF2B5EF4-FFF2-40B4-BE49-F238E27FC236}">
                <a16:creationId xmlns:a16="http://schemas.microsoft.com/office/drawing/2014/main" id="{64324093-A547-6DE8-7135-5D51B2EFA115}"/>
              </a:ext>
            </a:extLst>
          </p:cNvPr>
          <p:cNvSpPr/>
          <p:nvPr/>
        </p:nvSpPr>
        <p:spPr>
          <a:xfrm>
            <a:off x="4450080" y="1545626"/>
            <a:ext cx="1645920" cy="1341120"/>
          </a:xfrm>
          <a:prstGeom prst="rect">
            <a:avLst/>
          </a:prstGeom>
          <a:solidFill>
            <a:srgbClr val="027A87"/>
          </a:solidFill>
          <a:ln w="12700">
            <a:solidFill>
              <a:srgbClr val="027A87"/>
            </a:solidFill>
            <a:prstDash val="solid"/>
          </a:ln>
        </p:spPr>
        <p:txBody>
          <a:bodyPr/>
          <a:lstStyle/>
          <a:p>
            <a:pPr defTabSz="1219170">
              <a:defRPr/>
            </a:pPr>
            <a:endParaRPr lang="ru-RU" sz="16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Text 7">
            <a:extLst>
              <a:ext uri="{FF2B5EF4-FFF2-40B4-BE49-F238E27FC236}">
                <a16:creationId xmlns:a16="http://schemas.microsoft.com/office/drawing/2014/main" id="{2462EA66-E35B-DCF9-DAC0-4C0E59F6A5AC}"/>
              </a:ext>
            </a:extLst>
          </p:cNvPr>
          <p:cNvSpPr/>
          <p:nvPr/>
        </p:nvSpPr>
        <p:spPr>
          <a:xfrm>
            <a:off x="4450080" y="1545626"/>
            <a:ext cx="1645920" cy="134112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algn="ctr" defTabSz="1219170">
              <a:defRPr/>
            </a:pPr>
            <a:r>
              <a:rPr lang="ru-RU" sz="1600" b="1" noProof="1">
                <a:solidFill>
                  <a:srgbClr val="FFFFFF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Презентация 2</a:t>
            </a:r>
            <a:endParaRPr lang="ru-RU" sz="16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Shape 8">
            <a:extLst>
              <a:ext uri="{FF2B5EF4-FFF2-40B4-BE49-F238E27FC236}">
                <a16:creationId xmlns:a16="http://schemas.microsoft.com/office/drawing/2014/main" id="{02790E98-847D-2DE9-0F0F-04A72530476F}"/>
              </a:ext>
            </a:extLst>
          </p:cNvPr>
          <p:cNvSpPr/>
          <p:nvPr/>
        </p:nvSpPr>
        <p:spPr>
          <a:xfrm>
            <a:off x="6364224" y="1545626"/>
            <a:ext cx="1645920" cy="670560"/>
          </a:xfrm>
          <a:prstGeom prst="rect">
            <a:avLst/>
          </a:prstGeom>
          <a:solidFill>
            <a:srgbClr val="5C7A84"/>
          </a:solidFill>
          <a:ln w="12700">
            <a:solidFill>
              <a:srgbClr val="5C7A84"/>
            </a:solidFill>
            <a:prstDash val="solid"/>
          </a:ln>
        </p:spPr>
        <p:txBody>
          <a:bodyPr/>
          <a:lstStyle/>
          <a:p>
            <a:pPr defTabSz="1219170">
              <a:defRPr/>
            </a:pPr>
            <a:endParaRPr lang="ru-RU" sz="16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Text 9">
            <a:extLst>
              <a:ext uri="{FF2B5EF4-FFF2-40B4-BE49-F238E27FC236}">
                <a16:creationId xmlns:a16="http://schemas.microsoft.com/office/drawing/2014/main" id="{AA385B0D-2105-39FE-BEDB-F3CFA411FB79}"/>
              </a:ext>
            </a:extLst>
          </p:cNvPr>
          <p:cNvSpPr/>
          <p:nvPr/>
        </p:nvSpPr>
        <p:spPr>
          <a:xfrm>
            <a:off x="6364224" y="1545626"/>
            <a:ext cx="1645920" cy="67056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lvl="0" algn="ctr">
              <a:defRPr/>
            </a:pPr>
            <a:r>
              <a:rPr lang="ru-RU" sz="1600" noProof="1">
                <a:solidFill>
                  <a:srgbClr val="FFFFFF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Заполняем шаблон (молча)</a:t>
            </a:r>
            <a:endParaRPr lang="ru-RU" sz="16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Shape 10">
            <a:extLst>
              <a:ext uri="{FF2B5EF4-FFF2-40B4-BE49-F238E27FC236}">
                <a16:creationId xmlns:a16="http://schemas.microsoft.com/office/drawing/2014/main" id="{08D453C7-4093-FC78-4C77-70AA91CCE47A}"/>
              </a:ext>
            </a:extLst>
          </p:cNvPr>
          <p:cNvSpPr/>
          <p:nvPr/>
        </p:nvSpPr>
        <p:spPr>
          <a:xfrm>
            <a:off x="8278368" y="1545626"/>
            <a:ext cx="1645920" cy="1341120"/>
          </a:xfrm>
          <a:prstGeom prst="rect">
            <a:avLst/>
          </a:prstGeom>
          <a:solidFill>
            <a:srgbClr val="027A87"/>
          </a:solidFill>
          <a:ln w="12700">
            <a:solidFill>
              <a:srgbClr val="027A87"/>
            </a:solidFill>
            <a:prstDash val="solid"/>
          </a:ln>
        </p:spPr>
        <p:txBody>
          <a:bodyPr/>
          <a:lstStyle/>
          <a:p>
            <a:pPr defTabSz="1219170">
              <a:defRPr/>
            </a:pPr>
            <a:endParaRPr lang="ru-RU" sz="16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Text 11">
            <a:extLst>
              <a:ext uri="{FF2B5EF4-FFF2-40B4-BE49-F238E27FC236}">
                <a16:creationId xmlns:a16="http://schemas.microsoft.com/office/drawing/2014/main" id="{21707604-E925-565C-D40E-378858013F11}"/>
              </a:ext>
            </a:extLst>
          </p:cNvPr>
          <p:cNvSpPr/>
          <p:nvPr/>
        </p:nvSpPr>
        <p:spPr>
          <a:xfrm>
            <a:off x="8278368" y="1545626"/>
            <a:ext cx="1645920" cy="134112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algn="ctr" defTabSz="1219170">
              <a:defRPr/>
            </a:pPr>
            <a:r>
              <a:rPr lang="ru-RU" sz="1600" b="1" noProof="1">
                <a:solidFill>
                  <a:srgbClr val="FFFFFF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Презентация 3</a:t>
            </a:r>
            <a:endParaRPr lang="ru-RU" sz="16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Shape 12">
            <a:extLst>
              <a:ext uri="{FF2B5EF4-FFF2-40B4-BE49-F238E27FC236}">
                <a16:creationId xmlns:a16="http://schemas.microsoft.com/office/drawing/2014/main" id="{D2629DCD-76E1-8DEC-DA83-E43D7154D594}"/>
              </a:ext>
            </a:extLst>
          </p:cNvPr>
          <p:cNvSpPr/>
          <p:nvPr/>
        </p:nvSpPr>
        <p:spPr>
          <a:xfrm>
            <a:off x="10192512" y="1545626"/>
            <a:ext cx="1645920" cy="670560"/>
          </a:xfrm>
          <a:prstGeom prst="rect">
            <a:avLst/>
          </a:prstGeom>
          <a:solidFill>
            <a:srgbClr val="5C7A84"/>
          </a:solidFill>
          <a:ln w="12700">
            <a:solidFill>
              <a:srgbClr val="5C7A84"/>
            </a:solidFill>
            <a:prstDash val="solid"/>
          </a:ln>
        </p:spPr>
        <p:txBody>
          <a:bodyPr/>
          <a:lstStyle/>
          <a:p>
            <a:pPr defTabSz="1219170">
              <a:defRPr/>
            </a:pPr>
            <a:endParaRPr lang="ru-RU" sz="16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Text 13">
            <a:extLst>
              <a:ext uri="{FF2B5EF4-FFF2-40B4-BE49-F238E27FC236}">
                <a16:creationId xmlns:a16="http://schemas.microsoft.com/office/drawing/2014/main" id="{742412BD-66B0-32F6-6A33-327D072B5C26}"/>
              </a:ext>
            </a:extLst>
          </p:cNvPr>
          <p:cNvSpPr/>
          <p:nvPr/>
        </p:nvSpPr>
        <p:spPr>
          <a:xfrm>
            <a:off x="10192512" y="1545626"/>
            <a:ext cx="1645920" cy="67056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lvl="0" algn="ctr">
              <a:defRPr/>
            </a:pPr>
            <a:r>
              <a:rPr lang="ru-RU" sz="1600" noProof="1">
                <a:solidFill>
                  <a:srgbClr val="FFFFFF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Заполняем шаблон (молча)</a:t>
            </a:r>
            <a:endParaRPr lang="ru-RU" sz="16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Text 14">
            <a:extLst>
              <a:ext uri="{FF2B5EF4-FFF2-40B4-BE49-F238E27FC236}">
                <a16:creationId xmlns:a16="http://schemas.microsoft.com/office/drawing/2014/main" id="{F68178FB-CF16-0D8B-EC85-32A3761D9847}"/>
              </a:ext>
            </a:extLst>
          </p:cNvPr>
          <p:cNvSpPr/>
          <p:nvPr/>
        </p:nvSpPr>
        <p:spPr>
          <a:xfrm>
            <a:off x="597408" y="3069626"/>
            <a:ext cx="11094720" cy="42672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733" b="1" noProof="1">
                <a:solidFill>
                  <a:schemeClr val="bg1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Каждый презентующий отвечает на четыре вопроса ровно за 15 минут:</a:t>
            </a:r>
            <a:endParaRPr lang="ru-RU" sz="1733" noProof="1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Shape 15">
            <a:extLst>
              <a:ext uri="{FF2B5EF4-FFF2-40B4-BE49-F238E27FC236}">
                <a16:creationId xmlns:a16="http://schemas.microsoft.com/office/drawing/2014/main" id="{30D3F258-E0AB-3183-6A3E-6827A43C537A}"/>
              </a:ext>
            </a:extLst>
          </p:cNvPr>
          <p:cNvSpPr/>
          <p:nvPr/>
        </p:nvSpPr>
        <p:spPr>
          <a:xfrm>
            <a:off x="597408" y="3618266"/>
            <a:ext cx="11216640" cy="585216"/>
          </a:xfrm>
          <a:prstGeom prst="rect">
            <a:avLst/>
          </a:prstGeom>
          <a:solidFill>
            <a:srgbClr val="FFFFFF"/>
          </a:solidFill>
          <a:ln w="5080">
            <a:solidFill>
              <a:srgbClr val="B2D8DE"/>
            </a:solidFill>
            <a:prstDash val="solid"/>
          </a:ln>
        </p:spPr>
        <p:txBody>
          <a:bodyPr/>
          <a:lstStyle/>
          <a:p>
            <a:pPr defTabSz="1219170">
              <a:defRPr/>
            </a:pPr>
            <a:endParaRPr lang="ru-RU" sz="24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Shape 16">
            <a:extLst>
              <a:ext uri="{FF2B5EF4-FFF2-40B4-BE49-F238E27FC236}">
                <a16:creationId xmlns:a16="http://schemas.microsoft.com/office/drawing/2014/main" id="{F8E83CBF-0704-8961-7B4F-3A6B8B2282AE}"/>
              </a:ext>
            </a:extLst>
          </p:cNvPr>
          <p:cNvSpPr/>
          <p:nvPr/>
        </p:nvSpPr>
        <p:spPr>
          <a:xfrm>
            <a:off x="743712" y="3703610"/>
            <a:ext cx="402336" cy="402336"/>
          </a:xfrm>
          <a:prstGeom prst="ellipse">
            <a:avLst/>
          </a:prstGeom>
          <a:solidFill>
            <a:srgbClr val="027A87"/>
          </a:solidFill>
          <a:ln w="12700">
            <a:solidFill>
              <a:srgbClr val="027A87"/>
            </a:solidFill>
            <a:prstDash val="solid"/>
          </a:ln>
        </p:spPr>
        <p:txBody>
          <a:bodyPr/>
          <a:lstStyle/>
          <a:p>
            <a:pPr defTabSz="1219170">
              <a:defRPr/>
            </a:pPr>
            <a:endParaRPr lang="ru-RU" sz="24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Text 17">
            <a:extLst>
              <a:ext uri="{FF2B5EF4-FFF2-40B4-BE49-F238E27FC236}">
                <a16:creationId xmlns:a16="http://schemas.microsoft.com/office/drawing/2014/main" id="{E1502CFB-23DC-AD61-6D4E-FC1BB29B1BF6}"/>
              </a:ext>
            </a:extLst>
          </p:cNvPr>
          <p:cNvSpPr/>
          <p:nvPr/>
        </p:nvSpPr>
        <p:spPr>
          <a:xfrm>
            <a:off x="743712" y="3703610"/>
            <a:ext cx="402336" cy="402336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algn="ctr" defTabSz="1219170">
              <a:defRPr/>
            </a:pPr>
            <a:r>
              <a:rPr lang="ru-RU" sz="1600" b="1" noProof="1">
                <a:solidFill>
                  <a:srgbClr val="FFFFFF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1</a:t>
            </a:r>
            <a:endParaRPr lang="ru-RU" sz="16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" name="Text 18">
            <a:extLst>
              <a:ext uri="{FF2B5EF4-FFF2-40B4-BE49-F238E27FC236}">
                <a16:creationId xmlns:a16="http://schemas.microsoft.com/office/drawing/2014/main" id="{0FE33567-8703-B41E-8329-E4CFAC38E6AF}"/>
              </a:ext>
            </a:extLst>
          </p:cNvPr>
          <p:cNvSpPr/>
          <p:nvPr/>
        </p:nvSpPr>
        <p:spPr>
          <a:xfrm>
            <a:off x="1328928" y="3691418"/>
            <a:ext cx="10180320" cy="463296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867" noProof="1">
                <a:solidFill>
                  <a:srgbClr val="16303A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Чего пытается достичь эта программа профессионального развития педагогов — для педагогов и в конечном итоге для обучающихся?</a:t>
            </a:r>
            <a:endParaRPr lang="ru-RU" sz="1867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" name="Shape 19">
            <a:extLst>
              <a:ext uri="{FF2B5EF4-FFF2-40B4-BE49-F238E27FC236}">
                <a16:creationId xmlns:a16="http://schemas.microsoft.com/office/drawing/2014/main" id="{D97BC134-8F82-6BC2-77F8-47430C766197}"/>
              </a:ext>
            </a:extLst>
          </p:cNvPr>
          <p:cNvSpPr/>
          <p:nvPr/>
        </p:nvSpPr>
        <p:spPr>
          <a:xfrm>
            <a:off x="597408" y="4288826"/>
            <a:ext cx="11216640" cy="585216"/>
          </a:xfrm>
          <a:prstGeom prst="rect">
            <a:avLst/>
          </a:prstGeom>
          <a:solidFill>
            <a:srgbClr val="D6F0F3"/>
          </a:solidFill>
          <a:ln w="5080">
            <a:solidFill>
              <a:srgbClr val="B2D8DE"/>
            </a:solidFill>
            <a:prstDash val="solid"/>
          </a:ln>
        </p:spPr>
        <p:txBody>
          <a:bodyPr/>
          <a:lstStyle/>
          <a:p>
            <a:pPr defTabSz="1219170">
              <a:defRPr/>
            </a:pPr>
            <a:endParaRPr lang="ru-RU" sz="24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2" name="Shape 20">
            <a:extLst>
              <a:ext uri="{FF2B5EF4-FFF2-40B4-BE49-F238E27FC236}">
                <a16:creationId xmlns:a16="http://schemas.microsoft.com/office/drawing/2014/main" id="{C58C908C-CECF-DD2E-ECFE-AE8E8495ACE9}"/>
              </a:ext>
            </a:extLst>
          </p:cNvPr>
          <p:cNvSpPr/>
          <p:nvPr/>
        </p:nvSpPr>
        <p:spPr>
          <a:xfrm>
            <a:off x="743712" y="4374170"/>
            <a:ext cx="402336" cy="402336"/>
          </a:xfrm>
          <a:prstGeom prst="ellipse">
            <a:avLst/>
          </a:prstGeom>
          <a:solidFill>
            <a:srgbClr val="027A87"/>
          </a:solidFill>
          <a:ln w="12700">
            <a:solidFill>
              <a:srgbClr val="027A87"/>
            </a:solidFill>
            <a:prstDash val="solid"/>
          </a:ln>
        </p:spPr>
        <p:txBody>
          <a:bodyPr/>
          <a:lstStyle/>
          <a:p>
            <a:pPr defTabSz="1219170">
              <a:defRPr/>
            </a:pPr>
            <a:endParaRPr lang="ru-RU" sz="24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3" name="Text 21">
            <a:extLst>
              <a:ext uri="{FF2B5EF4-FFF2-40B4-BE49-F238E27FC236}">
                <a16:creationId xmlns:a16="http://schemas.microsoft.com/office/drawing/2014/main" id="{236EEA41-34B8-63A2-E3EC-71FA7CF28095}"/>
              </a:ext>
            </a:extLst>
          </p:cNvPr>
          <p:cNvSpPr/>
          <p:nvPr/>
        </p:nvSpPr>
        <p:spPr>
          <a:xfrm>
            <a:off x="743712" y="4374170"/>
            <a:ext cx="402336" cy="402336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algn="ctr" defTabSz="1219170">
              <a:defRPr/>
            </a:pPr>
            <a:r>
              <a:rPr lang="ru-RU" sz="1600" b="1" noProof="1">
                <a:solidFill>
                  <a:srgbClr val="FFFFFF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2</a:t>
            </a:r>
            <a:endParaRPr lang="ru-RU" sz="16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4" name="Text 22">
            <a:extLst>
              <a:ext uri="{FF2B5EF4-FFF2-40B4-BE49-F238E27FC236}">
                <a16:creationId xmlns:a16="http://schemas.microsoft.com/office/drawing/2014/main" id="{94148835-7367-7B09-5973-5ABEF9166CDC}"/>
              </a:ext>
            </a:extLst>
          </p:cNvPr>
          <p:cNvSpPr/>
          <p:nvPr/>
        </p:nvSpPr>
        <p:spPr>
          <a:xfrm>
            <a:off x="1328928" y="4361978"/>
            <a:ext cx="10180320" cy="463296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867" noProof="1">
                <a:solidFill>
                  <a:srgbClr val="16303A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Как она разработана и реализуется — что на самом деле переживает участник?</a:t>
            </a:r>
            <a:endParaRPr lang="ru-RU" sz="1867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5" name="Shape 23">
            <a:extLst>
              <a:ext uri="{FF2B5EF4-FFF2-40B4-BE49-F238E27FC236}">
                <a16:creationId xmlns:a16="http://schemas.microsoft.com/office/drawing/2014/main" id="{00AA1675-2CE2-914D-9D03-A127C08122A3}"/>
              </a:ext>
            </a:extLst>
          </p:cNvPr>
          <p:cNvSpPr/>
          <p:nvPr/>
        </p:nvSpPr>
        <p:spPr>
          <a:xfrm>
            <a:off x="597408" y="4959386"/>
            <a:ext cx="11216640" cy="585216"/>
          </a:xfrm>
          <a:prstGeom prst="rect">
            <a:avLst/>
          </a:prstGeom>
          <a:solidFill>
            <a:srgbClr val="FFFFFF"/>
          </a:solidFill>
          <a:ln w="5080">
            <a:solidFill>
              <a:srgbClr val="B2D8DE"/>
            </a:solidFill>
            <a:prstDash val="solid"/>
          </a:ln>
        </p:spPr>
        <p:txBody>
          <a:bodyPr/>
          <a:lstStyle/>
          <a:p>
            <a:pPr defTabSz="1219170">
              <a:defRPr/>
            </a:pPr>
            <a:endParaRPr lang="ru-RU" sz="24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6" name="Shape 24">
            <a:extLst>
              <a:ext uri="{FF2B5EF4-FFF2-40B4-BE49-F238E27FC236}">
                <a16:creationId xmlns:a16="http://schemas.microsoft.com/office/drawing/2014/main" id="{8451636D-BB8E-90D7-BB6D-E9B797C3B7B3}"/>
              </a:ext>
            </a:extLst>
          </p:cNvPr>
          <p:cNvSpPr/>
          <p:nvPr/>
        </p:nvSpPr>
        <p:spPr>
          <a:xfrm>
            <a:off x="743712" y="5044730"/>
            <a:ext cx="402336" cy="402336"/>
          </a:xfrm>
          <a:prstGeom prst="ellipse">
            <a:avLst/>
          </a:prstGeom>
          <a:solidFill>
            <a:srgbClr val="027A87"/>
          </a:solidFill>
          <a:ln w="12700">
            <a:solidFill>
              <a:srgbClr val="027A87"/>
            </a:solidFill>
            <a:prstDash val="solid"/>
          </a:ln>
        </p:spPr>
        <p:txBody>
          <a:bodyPr/>
          <a:lstStyle/>
          <a:p>
            <a:pPr defTabSz="1219170">
              <a:defRPr/>
            </a:pPr>
            <a:endParaRPr lang="ru-RU" sz="24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7" name="Text 25">
            <a:extLst>
              <a:ext uri="{FF2B5EF4-FFF2-40B4-BE49-F238E27FC236}">
                <a16:creationId xmlns:a16="http://schemas.microsoft.com/office/drawing/2014/main" id="{187A2585-4D11-A6D4-E738-BF5EC051CE90}"/>
              </a:ext>
            </a:extLst>
          </p:cNvPr>
          <p:cNvSpPr/>
          <p:nvPr/>
        </p:nvSpPr>
        <p:spPr>
          <a:xfrm>
            <a:off x="743712" y="5044730"/>
            <a:ext cx="402336" cy="402336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algn="ctr" defTabSz="1219170">
              <a:defRPr/>
            </a:pPr>
            <a:r>
              <a:rPr lang="ru-RU" sz="1600" b="1" noProof="1">
                <a:solidFill>
                  <a:srgbClr val="FFFFFF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3</a:t>
            </a:r>
            <a:endParaRPr lang="ru-RU" sz="16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8" name="Text 26">
            <a:extLst>
              <a:ext uri="{FF2B5EF4-FFF2-40B4-BE49-F238E27FC236}">
                <a16:creationId xmlns:a16="http://schemas.microsoft.com/office/drawing/2014/main" id="{C70BACA3-1F36-329A-51D7-0AF697956806}"/>
              </a:ext>
            </a:extLst>
          </p:cNvPr>
          <p:cNvSpPr/>
          <p:nvPr/>
        </p:nvSpPr>
        <p:spPr>
          <a:xfrm>
            <a:off x="1328928" y="5032538"/>
            <a:ext cx="10180320" cy="463296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867" noProof="1">
                <a:solidFill>
                  <a:srgbClr val="16303A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Какие данные свидетельствуют о том, что она работает, или ещё не работает?</a:t>
            </a:r>
            <a:endParaRPr lang="ru-RU" sz="1867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9" name="Shape 27">
            <a:extLst>
              <a:ext uri="{FF2B5EF4-FFF2-40B4-BE49-F238E27FC236}">
                <a16:creationId xmlns:a16="http://schemas.microsoft.com/office/drawing/2014/main" id="{0D441802-345E-31CC-3E85-8A214B45AC9D}"/>
              </a:ext>
            </a:extLst>
          </p:cNvPr>
          <p:cNvSpPr/>
          <p:nvPr/>
        </p:nvSpPr>
        <p:spPr>
          <a:xfrm>
            <a:off x="597408" y="5629946"/>
            <a:ext cx="11216640" cy="585216"/>
          </a:xfrm>
          <a:prstGeom prst="rect">
            <a:avLst/>
          </a:prstGeom>
          <a:solidFill>
            <a:srgbClr val="D6F0F3"/>
          </a:solidFill>
          <a:ln w="5080">
            <a:solidFill>
              <a:srgbClr val="B2D8DE"/>
            </a:solidFill>
            <a:prstDash val="solid"/>
          </a:ln>
        </p:spPr>
        <p:txBody>
          <a:bodyPr/>
          <a:lstStyle/>
          <a:p>
            <a:pPr defTabSz="1219170">
              <a:defRPr/>
            </a:pPr>
            <a:endParaRPr lang="ru-RU" sz="24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0" name="Shape 28">
            <a:extLst>
              <a:ext uri="{FF2B5EF4-FFF2-40B4-BE49-F238E27FC236}">
                <a16:creationId xmlns:a16="http://schemas.microsoft.com/office/drawing/2014/main" id="{173D73E6-BE10-E5C8-2A5C-809CC8364363}"/>
              </a:ext>
            </a:extLst>
          </p:cNvPr>
          <p:cNvSpPr/>
          <p:nvPr/>
        </p:nvSpPr>
        <p:spPr>
          <a:xfrm>
            <a:off x="743712" y="5715290"/>
            <a:ext cx="402336" cy="402336"/>
          </a:xfrm>
          <a:prstGeom prst="ellipse">
            <a:avLst/>
          </a:prstGeom>
          <a:solidFill>
            <a:srgbClr val="027A87"/>
          </a:solidFill>
          <a:ln w="12700">
            <a:solidFill>
              <a:srgbClr val="027A87"/>
            </a:solidFill>
            <a:prstDash val="solid"/>
          </a:ln>
        </p:spPr>
        <p:txBody>
          <a:bodyPr/>
          <a:lstStyle/>
          <a:p>
            <a:pPr defTabSz="1219170">
              <a:defRPr/>
            </a:pPr>
            <a:endParaRPr lang="ru-RU" sz="24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1" name="Text 29">
            <a:extLst>
              <a:ext uri="{FF2B5EF4-FFF2-40B4-BE49-F238E27FC236}">
                <a16:creationId xmlns:a16="http://schemas.microsoft.com/office/drawing/2014/main" id="{D27F89E6-DE34-7BCA-5ED8-B1761B39C204}"/>
              </a:ext>
            </a:extLst>
          </p:cNvPr>
          <p:cNvSpPr/>
          <p:nvPr/>
        </p:nvSpPr>
        <p:spPr>
          <a:xfrm>
            <a:off x="743712" y="5715290"/>
            <a:ext cx="402336" cy="402336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algn="ctr" defTabSz="1219170">
              <a:defRPr/>
            </a:pPr>
            <a:r>
              <a:rPr lang="ru-RU" sz="1600" b="1" noProof="1">
                <a:solidFill>
                  <a:srgbClr val="FFFFFF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4</a:t>
            </a:r>
            <a:endParaRPr lang="ru-RU" sz="16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2" name="Text 30">
            <a:extLst>
              <a:ext uri="{FF2B5EF4-FFF2-40B4-BE49-F238E27FC236}">
                <a16:creationId xmlns:a16="http://schemas.microsoft.com/office/drawing/2014/main" id="{F86B9E1D-A632-5173-8677-133872E3DF18}"/>
              </a:ext>
            </a:extLst>
          </p:cNvPr>
          <p:cNvSpPr/>
          <p:nvPr/>
        </p:nvSpPr>
        <p:spPr>
          <a:xfrm>
            <a:off x="1328928" y="5703098"/>
            <a:ext cx="10180320" cy="463296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867" noProof="1">
                <a:solidFill>
                  <a:srgbClr val="16303A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Где вы видите одну конкретную точку входа, где дизайн профессионального развития педагогов мог бы укрепить эту программу?</a:t>
            </a:r>
            <a:endParaRPr lang="ru-RU" sz="1867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107FEBD-6180-F0FB-8FA4-FCBF074CDFE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7038" y="254324"/>
            <a:ext cx="11719716" cy="1080120"/>
          </a:xfrm>
        </p:spPr>
        <p:txBody>
          <a:bodyPr>
            <a:normAutofit/>
          </a:bodyPr>
          <a:lstStyle/>
          <a:p>
            <a:r>
              <a:rPr lang="ru-RU" noProof="1"/>
              <a:t>Три презентации с наблюдениями</a:t>
            </a:r>
          </a:p>
        </p:txBody>
      </p:sp>
    </p:spTree>
    <p:extLst>
      <p:ext uri="{BB962C8B-B14F-4D97-AF65-F5344CB8AC3E}">
        <p14:creationId xmlns:p14="http://schemas.microsoft.com/office/powerpoint/2010/main" val="156892743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EED2067-4177-A095-842C-7124DC9CF69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5317" y="227372"/>
            <a:ext cx="10267144" cy="1080120"/>
          </a:xfrm>
        </p:spPr>
        <p:txBody>
          <a:bodyPr>
            <a:normAutofit/>
          </a:bodyPr>
          <a:lstStyle/>
          <a:p>
            <a:r>
              <a:rPr lang="ru-RU" noProof="1"/>
              <a:t>По мере того, как слушаете — отмечайте в своём шаблоне:</a:t>
            </a:r>
          </a:p>
        </p:txBody>
      </p:sp>
      <p:sp>
        <p:nvSpPr>
          <p:cNvPr id="3" name="Shape 3">
            <a:extLst>
              <a:ext uri="{FF2B5EF4-FFF2-40B4-BE49-F238E27FC236}">
                <a16:creationId xmlns:a16="http://schemas.microsoft.com/office/drawing/2014/main" id="{7FF9F77C-9D34-05C8-5203-EB76F647FBAB}"/>
              </a:ext>
            </a:extLst>
          </p:cNvPr>
          <p:cNvSpPr/>
          <p:nvPr/>
        </p:nvSpPr>
        <p:spPr>
          <a:xfrm>
            <a:off x="635317" y="1502564"/>
            <a:ext cx="5425440" cy="1121664"/>
          </a:xfrm>
          <a:prstGeom prst="rect">
            <a:avLst/>
          </a:prstGeom>
          <a:solidFill>
            <a:schemeClr val="accent2"/>
          </a:solidFill>
          <a:ln w="10160">
            <a:solidFill>
              <a:srgbClr val="039AAA"/>
            </a:solidFill>
            <a:prstDash val="solid"/>
          </a:ln>
        </p:spPr>
        <p:txBody>
          <a:bodyPr/>
          <a:lstStyle/>
          <a:p>
            <a:pPr defTabSz="1219170">
              <a:defRPr/>
            </a:pPr>
            <a:endParaRPr lang="ru-RU" sz="24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Text 4">
            <a:extLst>
              <a:ext uri="{FF2B5EF4-FFF2-40B4-BE49-F238E27FC236}">
                <a16:creationId xmlns:a16="http://schemas.microsoft.com/office/drawing/2014/main" id="{9796ABD9-375D-BB4D-1F54-6B8616B76F61}"/>
              </a:ext>
            </a:extLst>
          </p:cNvPr>
          <p:cNvSpPr/>
          <p:nvPr/>
        </p:nvSpPr>
        <p:spPr>
          <a:xfrm>
            <a:off x="818197" y="1600100"/>
            <a:ext cx="1036320" cy="390144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600" b="1" noProof="1">
                <a:solidFill>
                  <a:schemeClr val="bg1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ИК 1</a:t>
            </a:r>
            <a:endParaRPr lang="ru-RU" sz="1600" noProof="1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Text 5">
            <a:extLst>
              <a:ext uri="{FF2B5EF4-FFF2-40B4-BE49-F238E27FC236}">
                <a16:creationId xmlns:a16="http://schemas.microsoft.com/office/drawing/2014/main" id="{9D65A1E0-9B27-6A2A-115A-D9058A563988}"/>
              </a:ext>
            </a:extLst>
          </p:cNvPr>
          <p:cNvSpPr/>
          <p:nvPr/>
        </p:nvSpPr>
        <p:spPr>
          <a:xfrm>
            <a:off x="818197" y="1990244"/>
            <a:ext cx="5059680" cy="54864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867" b="1" noProof="1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вязь с вашей реальной работой</a:t>
            </a:r>
            <a:endParaRPr lang="ru-RU" sz="1867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Shape 6">
            <a:extLst>
              <a:ext uri="{FF2B5EF4-FFF2-40B4-BE49-F238E27FC236}">
                <a16:creationId xmlns:a16="http://schemas.microsoft.com/office/drawing/2014/main" id="{D80EE8F8-B3D4-00AF-484C-DF9FC3A78CB3}"/>
              </a:ext>
            </a:extLst>
          </p:cNvPr>
          <p:cNvSpPr/>
          <p:nvPr/>
        </p:nvSpPr>
        <p:spPr>
          <a:xfrm>
            <a:off x="635317" y="2782724"/>
            <a:ext cx="5425440" cy="1121664"/>
          </a:xfrm>
          <a:prstGeom prst="rect">
            <a:avLst/>
          </a:prstGeom>
          <a:solidFill>
            <a:schemeClr val="accent2"/>
          </a:solidFill>
          <a:ln w="10160">
            <a:solidFill>
              <a:srgbClr val="039AAA"/>
            </a:solidFill>
            <a:prstDash val="solid"/>
          </a:ln>
        </p:spPr>
        <p:txBody>
          <a:bodyPr/>
          <a:lstStyle/>
          <a:p>
            <a:pPr defTabSz="1219170">
              <a:defRPr/>
            </a:pPr>
            <a:endParaRPr lang="ru-RU" sz="24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Text 7">
            <a:extLst>
              <a:ext uri="{FF2B5EF4-FFF2-40B4-BE49-F238E27FC236}">
                <a16:creationId xmlns:a16="http://schemas.microsoft.com/office/drawing/2014/main" id="{C67FBCFE-A0F5-30F6-E231-F057433E0718}"/>
              </a:ext>
            </a:extLst>
          </p:cNvPr>
          <p:cNvSpPr/>
          <p:nvPr/>
        </p:nvSpPr>
        <p:spPr>
          <a:xfrm>
            <a:off x="818197" y="2880260"/>
            <a:ext cx="1036320" cy="390144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600" b="1" noProof="1">
                <a:solidFill>
                  <a:schemeClr val="bg1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ИК 2</a:t>
            </a:r>
            <a:endParaRPr lang="ru-RU" sz="1600" noProof="1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Text 8">
            <a:extLst>
              <a:ext uri="{FF2B5EF4-FFF2-40B4-BE49-F238E27FC236}">
                <a16:creationId xmlns:a16="http://schemas.microsoft.com/office/drawing/2014/main" id="{FD2CE0BF-AB50-E845-5BDE-BAE39920EEC1}"/>
              </a:ext>
            </a:extLst>
          </p:cNvPr>
          <p:cNvSpPr/>
          <p:nvPr/>
        </p:nvSpPr>
        <p:spPr>
          <a:xfrm>
            <a:off x="818197" y="3270404"/>
            <a:ext cx="5059680" cy="54864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867" b="1" noProof="1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ам необходимо время</a:t>
            </a:r>
            <a:endParaRPr lang="ru-RU" sz="1867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Shape 9">
            <a:extLst>
              <a:ext uri="{FF2B5EF4-FFF2-40B4-BE49-F238E27FC236}">
                <a16:creationId xmlns:a16="http://schemas.microsoft.com/office/drawing/2014/main" id="{6329F3F8-73F9-01FA-2208-2CE03A2A88AD}"/>
              </a:ext>
            </a:extLst>
          </p:cNvPr>
          <p:cNvSpPr/>
          <p:nvPr/>
        </p:nvSpPr>
        <p:spPr>
          <a:xfrm>
            <a:off x="635317" y="4062884"/>
            <a:ext cx="5425440" cy="1121664"/>
          </a:xfrm>
          <a:prstGeom prst="rect">
            <a:avLst/>
          </a:prstGeom>
          <a:solidFill>
            <a:schemeClr val="accent2"/>
          </a:solidFill>
          <a:ln w="10160">
            <a:solidFill>
              <a:srgbClr val="039AAA"/>
            </a:solidFill>
            <a:prstDash val="solid"/>
          </a:ln>
        </p:spPr>
        <p:txBody>
          <a:bodyPr/>
          <a:lstStyle/>
          <a:p>
            <a:pPr defTabSz="1219170">
              <a:defRPr/>
            </a:pPr>
            <a:endParaRPr lang="ru-RU" sz="24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Text 10">
            <a:extLst>
              <a:ext uri="{FF2B5EF4-FFF2-40B4-BE49-F238E27FC236}">
                <a16:creationId xmlns:a16="http://schemas.microsoft.com/office/drawing/2014/main" id="{1AA4EB5C-2B81-85AA-D34D-48789CBA7480}"/>
              </a:ext>
            </a:extLst>
          </p:cNvPr>
          <p:cNvSpPr/>
          <p:nvPr/>
        </p:nvSpPr>
        <p:spPr>
          <a:xfrm>
            <a:off x="818197" y="4160420"/>
            <a:ext cx="1036320" cy="390144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600" b="1" noProof="1">
                <a:solidFill>
                  <a:schemeClr val="bg1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ИК 3</a:t>
            </a:r>
            <a:endParaRPr lang="ru-RU" sz="1600" noProof="1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Text 11">
            <a:extLst>
              <a:ext uri="{FF2B5EF4-FFF2-40B4-BE49-F238E27FC236}">
                <a16:creationId xmlns:a16="http://schemas.microsoft.com/office/drawing/2014/main" id="{B43EF2D4-A348-C29B-C080-6B2A366EF93E}"/>
              </a:ext>
            </a:extLst>
          </p:cNvPr>
          <p:cNvSpPr/>
          <p:nvPr/>
        </p:nvSpPr>
        <p:spPr>
          <a:xfrm>
            <a:off x="818197" y="4550564"/>
            <a:ext cx="5059680" cy="54864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867" b="1" noProof="1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ы получаете возможность попробовать</a:t>
            </a:r>
            <a:endParaRPr lang="ru-RU" sz="1867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Shape 12">
            <a:extLst>
              <a:ext uri="{FF2B5EF4-FFF2-40B4-BE49-F238E27FC236}">
                <a16:creationId xmlns:a16="http://schemas.microsoft.com/office/drawing/2014/main" id="{A71D1146-E476-5179-E0CC-9E592C0FCA3C}"/>
              </a:ext>
            </a:extLst>
          </p:cNvPr>
          <p:cNvSpPr/>
          <p:nvPr/>
        </p:nvSpPr>
        <p:spPr>
          <a:xfrm>
            <a:off x="635317" y="5343044"/>
            <a:ext cx="5425440" cy="1121664"/>
          </a:xfrm>
          <a:prstGeom prst="rect">
            <a:avLst/>
          </a:prstGeom>
          <a:solidFill>
            <a:schemeClr val="accent2"/>
          </a:solidFill>
          <a:ln w="10160">
            <a:solidFill>
              <a:srgbClr val="039AAA"/>
            </a:solidFill>
            <a:prstDash val="solid"/>
          </a:ln>
        </p:spPr>
        <p:txBody>
          <a:bodyPr/>
          <a:lstStyle/>
          <a:p>
            <a:pPr defTabSz="1219170">
              <a:defRPr/>
            </a:pPr>
            <a:endParaRPr lang="ru-RU" sz="24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Text 13">
            <a:extLst>
              <a:ext uri="{FF2B5EF4-FFF2-40B4-BE49-F238E27FC236}">
                <a16:creationId xmlns:a16="http://schemas.microsoft.com/office/drawing/2014/main" id="{D2A0F2D6-3AB1-F257-9C4C-98C04B799385}"/>
              </a:ext>
            </a:extLst>
          </p:cNvPr>
          <p:cNvSpPr/>
          <p:nvPr/>
        </p:nvSpPr>
        <p:spPr>
          <a:xfrm>
            <a:off x="818197" y="5440580"/>
            <a:ext cx="1036320" cy="390144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600" b="1" noProof="1">
                <a:solidFill>
                  <a:schemeClr val="bg1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ИК 4</a:t>
            </a:r>
            <a:endParaRPr lang="ru-RU" sz="1600" noProof="1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Text 14">
            <a:extLst>
              <a:ext uri="{FF2B5EF4-FFF2-40B4-BE49-F238E27FC236}">
                <a16:creationId xmlns:a16="http://schemas.microsoft.com/office/drawing/2014/main" id="{0133CF04-B4FE-4860-9B6B-4E5206F9E974}"/>
              </a:ext>
            </a:extLst>
          </p:cNvPr>
          <p:cNvSpPr/>
          <p:nvPr/>
        </p:nvSpPr>
        <p:spPr>
          <a:xfrm>
            <a:off x="818197" y="5830724"/>
            <a:ext cx="5059680" cy="54864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867" b="1" noProof="1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ы действуете, а не просто слушаете</a:t>
            </a:r>
            <a:endParaRPr lang="ru-RU" sz="1867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Shape 15">
            <a:extLst>
              <a:ext uri="{FF2B5EF4-FFF2-40B4-BE49-F238E27FC236}">
                <a16:creationId xmlns:a16="http://schemas.microsoft.com/office/drawing/2014/main" id="{2ADBCEAA-4916-9151-C790-532A34DBF592}"/>
              </a:ext>
            </a:extLst>
          </p:cNvPr>
          <p:cNvSpPr/>
          <p:nvPr/>
        </p:nvSpPr>
        <p:spPr>
          <a:xfrm>
            <a:off x="6487477" y="1502564"/>
            <a:ext cx="5425440" cy="1121664"/>
          </a:xfrm>
          <a:prstGeom prst="rect">
            <a:avLst/>
          </a:prstGeom>
          <a:solidFill>
            <a:schemeClr val="accent2"/>
          </a:solidFill>
          <a:ln w="10160">
            <a:solidFill>
              <a:srgbClr val="039AAA"/>
            </a:solidFill>
            <a:prstDash val="solid"/>
          </a:ln>
        </p:spPr>
        <p:txBody>
          <a:bodyPr/>
          <a:lstStyle/>
          <a:p>
            <a:pPr defTabSz="1219170">
              <a:defRPr/>
            </a:pPr>
            <a:endParaRPr lang="ru-RU" sz="24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Text 16">
            <a:extLst>
              <a:ext uri="{FF2B5EF4-FFF2-40B4-BE49-F238E27FC236}">
                <a16:creationId xmlns:a16="http://schemas.microsoft.com/office/drawing/2014/main" id="{B5D2E50B-0A04-CFD6-D5E4-0A2DEF9E5EDC}"/>
              </a:ext>
            </a:extLst>
          </p:cNvPr>
          <p:cNvSpPr/>
          <p:nvPr/>
        </p:nvSpPr>
        <p:spPr>
          <a:xfrm>
            <a:off x="6670357" y="1600100"/>
            <a:ext cx="1036320" cy="390144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600" b="1" noProof="1">
                <a:solidFill>
                  <a:schemeClr val="bg1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ИК 5</a:t>
            </a:r>
            <a:endParaRPr lang="ru-RU" sz="1600" noProof="1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Text 17">
            <a:extLst>
              <a:ext uri="{FF2B5EF4-FFF2-40B4-BE49-F238E27FC236}">
                <a16:creationId xmlns:a16="http://schemas.microsoft.com/office/drawing/2014/main" id="{F42E4459-3116-2DDE-5935-F45C78E41420}"/>
              </a:ext>
            </a:extLst>
          </p:cNvPr>
          <p:cNvSpPr/>
          <p:nvPr/>
        </p:nvSpPr>
        <p:spPr>
          <a:xfrm>
            <a:off x="6670357" y="1990244"/>
            <a:ext cx="5059680" cy="54864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867" b="1" noProof="1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ы учитесь вместе с коллегами</a:t>
            </a:r>
            <a:endParaRPr lang="ru-RU" sz="1867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Shape 18">
            <a:extLst>
              <a:ext uri="{FF2B5EF4-FFF2-40B4-BE49-F238E27FC236}">
                <a16:creationId xmlns:a16="http://schemas.microsoft.com/office/drawing/2014/main" id="{C66D758E-A49E-9774-53AC-F460DDEA0F61}"/>
              </a:ext>
            </a:extLst>
          </p:cNvPr>
          <p:cNvSpPr/>
          <p:nvPr/>
        </p:nvSpPr>
        <p:spPr>
          <a:xfrm>
            <a:off x="6487477" y="2782724"/>
            <a:ext cx="5425440" cy="1121664"/>
          </a:xfrm>
          <a:prstGeom prst="rect">
            <a:avLst/>
          </a:prstGeom>
          <a:solidFill>
            <a:schemeClr val="accent2"/>
          </a:solidFill>
          <a:ln w="10160">
            <a:solidFill>
              <a:srgbClr val="039AAA"/>
            </a:solidFill>
            <a:prstDash val="solid"/>
          </a:ln>
        </p:spPr>
        <p:txBody>
          <a:bodyPr/>
          <a:lstStyle/>
          <a:p>
            <a:pPr defTabSz="1219170">
              <a:defRPr/>
            </a:pPr>
            <a:endParaRPr lang="ru-RU" sz="24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Text 19">
            <a:extLst>
              <a:ext uri="{FF2B5EF4-FFF2-40B4-BE49-F238E27FC236}">
                <a16:creationId xmlns:a16="http://schemas.microsoft.com/office/drawing/2014/main" id="{915A9723-32A6-A032-21BA-A5047EDFB567}"/>
              </a:ext>
            </a:extLst>
          </p:cNvPr>
          <p:cNvSpPr/>
          <p:nvPr/>
        </p:nvSpPr>
        <p:spPr>
          <a:xfrm>
            <a:off x="6670357" y="2880260"/>
            <a:ext cx="1036320" cy="390144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600" b="1" noProof="1">
                <a:solidFill>
                  <a:schemeClr val="bg1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ИК 6</a:t>
            </a:r>
            <a:endParaRPr lang="ru-RU" sz="1600" noProof="1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" name="Text 20">
            <a:extLst>
              <a:ext uri="{FF2B5EF4-FFF2-40B4-BE49-F238E27FC236}">
                <a16:creationId xmlns:a16="http://schemas.microsoft.com/office/drawing/2014/main" id="{8E7C55F7-4ED1-BC0E-F674-3FB8B10A95D1}"/>
              </a:ext>
            </a:extLst>
          </p:cNvPr>
          <p:cNvSpPr/>
          <p:nvPr/>
        </p:nvSpPr>
        <p:spPr>
          <a:xfrm>
            <a:off x="6670357" y="3270404"/>
            <a:ext cx="5059680" cy="548640"/>
          </a:xfrm>
          <a:prstGeom prst="rect">
            <a:avLst/>
          </a:prstGeom>
          <a:noFill/>
          <a:ln/>
        </p:spPr>
        <p:txBody>
          <a:bodyPr wrap="square" lIns="121920" tIns="60960" rIns="121920" bIns="60960" rtlCol="0" anchor="ctr"/>
          <a:lstStyle/>
          <a:p>
            <a:pPr defTabSz="1219170">
              <a:defRPr/>
            </a:pPr>
            <a:r>
              <a:rPr lang="ru-RU" sz="1867" b="1" noProof="1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Это касается ваших студентов</a:t>
            </a:r>
            <a:endParaRPr lang="ru-RU" sz="1867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" name="Shape 21">
            <a:extLst>
              <a:ext uri="{FF2B5EF4-FFF2-40B4-BE49-F238E27FC236}">
                <a16:creationId xmlns:a16="http://schemas.microsoft.com/office/drawing/2014/main" id="{CA3576E3-BD1D-D13F-EAE1-D47CD8A14152}"/>
              </a:ext>
            </a:extLst>
          </p:cNvPr>
          <p:cNvSpPr/>
          <p:nvPr/>
        </p:nvSpPr>
        <p:spPr>
          <a:xfrm>
            <a:off x="6487477" y="4062884"/>
            <a:ext cx="5425440" cy="1121664"/>
          </a:xfrm>
          <a:prstGeom prst="rect">
            <a:avLst/>
          </a:prstGeom>
          <a:solidFill>
            <a:schemeClr val="accent2"/>
          </a:solidFill>
          <a:ln w="10160">
            <a:solidFill>
              <a:srgbClr val="039AAA"/>
            </a:solidFill>
            <a:prstDash val="solid"/>
          </a:ln>
        </p:spPr>
        <p:txBody>
          <a:bodyPr/>
          <a:lstStyle/>
          <a:p>
            <a:pPr defTabSz="1219170">
              <a:defRPr/>
            </a:pPr>
            <a:endParaRPr lang="ru-RU" sz="24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2" name="Text 22">
            <a:extLst>
              <a:ext uri="{FF2B5EF4-FFF2-40B4-BE49-F238E27FC236}">
                <a16:creationId xmlns:a16="http://schemas.microsoft.com/office/drawing/2014/main" id="{6E47BABC-E183-67B7-D4D8-3AC3E451DB94}"/>
              </a:ext>
            </a:extLst>
          </p:cNvPr>
          <p:cNvSpPr/>
          <p:nvPr/>
        </p:nvSpPr>
        <p:spPr>
          <a:xfrm>
            <a:off x="6670357" y="4160420"/>
            <a:ext cx="1036320" cy="390144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600" b="1" noProof="1">
                <a:solidFill>
                  <a:schemeClr val="bg1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ИК 7</a:t>
            </a:r>
            <a:endParaRPr lang="ru-RU" sz="1600" noProof="1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3" name="Text 23">
            <a:extLst>
              <a:ext uri="{FF2B5EF4-FFF2-40B4-BE49-F238E27FC236}">
                <a16:creationId xmlns:a16="http://schemas.microsoft.com/office/drawing/2014/main" id="{AB388F69-FCA3-8BE4-FF99-B22D950F22CB}"/>
              </a:ext>
            </a:extLst>
          </p:cNvPr>
          <p:cNvSpPr/>
          <p:nvPr/>
        </p:nvSpPr>
        <p:spPr>
          <a:xfrm>
            <a:off x="6670357" y="4550564"/>
            <a:ext cx="5059680" cy="54864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867" b="1" noProof="1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аше руководство поддерживает это</a:t>
            </a:r>
            <a:endParaRPr lang="ru-RU" sz="1867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4" name="Shape 24">
            <a:extLst>
              <a:ext uri="{FF2B5EF4-FFF2-40B4-BE49-F238E27FC236}">
                <a16:creationId xmlns:a16="http://schemas.microsoft.com/office/drawing/2014/main" id="{59B96037-5D52-2A78-E61D-45327E3ABA71}"/>
              </a:ext>
            </a:extLst>
          </p:cNvPr>
          <p:cNvSpPr/>
          <p:nvPr/>
        </p:nvSpPr>
        <p:spPr>
          <a:xfrm>
            <a:off x="6487477" y="5343044"/>
            <a:ext cx="5425440" cy="1121664"/>
          </a:xfrm>
          <a:prstGeom prst="rect">
            <a:avLst/>
          </a:prstGeom>
          <a:solidFill>
            <a:schemeClr val="accent2"/>
          </a:solidFill>
          <a:ln w="10160">
            <a:solidFill>
              <a:srgbClr val="039AAA"/>
            </a:solidFill>
            <a:prstDash val="solid"/>
          </a:ln>
        </p:spPr>
        <p:txBody>
          <a:bodyPr/>
          <a:lstStyle/>
          <a:p>
            <a:pPr defTabSz="1219170">
              <a:defRPr/>
            </a:pPr>
            <a:endParaRPr lang="ru-RU" sz="24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5" name="Text 25">
            <a:extLst>
              <a:ext uri="{FF2B5EF4-FFF2-40B4-BE49-F238E27FC236}">
                <a16:creationId xmlns:a16="http://schemas.microsoft.com/office/drawing/2014/main" id="{DBA4CD7A-368A-59F5-62C9-DA4831CD7EAE}"/>
              </a:ext>
            </a:extLst>
          </p:cNvPr>
          <p:cNvSpPr/>
          <p:nvPr/>
        </p:nvSpPr>
        <p:spPr>
          <a:xfrm>
            <a:off x="6670357" y="5440580"/>
            <a:ext cx="1036320" cy="390144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600" b="1" noProof="1">
                <a:solidFill>
                  <a:schemeClr val="bg1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ИК 8</a:t>
            </a:r>
            <a:endParaRPr lang="ru-RU" sz="1600" noProof="1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6" name="Text 26">
            <a:extLst>
              <a:ext uri="{FF2B5EF4-FFF2-40B4-BE49-F238E27FC236}">
                <a16:creationId xmlns:a16="http://schemas.microsoft.com/office/drawing/2014/main" id="{521AAAB6-D267-D808-47AE-44342DAD27CD}"/>
              </a:ext>
            </a:extLst>
          </p:cNvPr>
          <p:cNvSpPr/>
          <p:nvPr/>
        </p:nvSpPr>
        <p:spPr>
          <a:xfrm>
            <a:off x="6670357" y="5830724"/>
            <a:ext cx="5059680" cy="54864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867" b="1" noProof="1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сновано на том, что работает</a:t>
            </a:r>
            <a:endParaRPr lang="ru-RU" sz="1867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7" name="Text 27">
            <a:extLst>
              <a:ext uri="{FF2B5EF4-FFF2-40B4-BE49-F238E27FC236}">
                <a16:creationId xmlns:a16="http://schemas.microsoft.com/office/drawing/2014/main" id="{9E614CC5-9A03-E64E-D380-24A391B92871}"/>
              </a:ext>
            </a:extLst>
          </p:cNvPr>
          <p:cNvSpPr/>
          <p:nvPr/>
        </p:nvSpPr>
        <p:spPr>
          <a:xfrm>
            <a:off x="644845" y="6464708"/>
            <a:ext cx="10972800" cy="341376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467" i="1" noProof="1">
                <a:solidFill>
                  <a:schemeClr val="bg1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Отметьте каждый индикатор:  ✓ Явно присутствует    ~  Частично присутствует / не уверен    —  Отсутствует</a:t>
            </a:r>
            <a:endParaRPr lang="ru-RU" sz="1467" noProof="1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330232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21F78E2E-3B0B-86CD-F0DF-81D72E1D45C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DB84476-BC29-4407-9D57-B2E562B8968B}" type="slidenum">
              <a:rPr lang="ru-RU" noProof="1" smtClean="0"/>
              <a:pPr/>
              <a:t>59</a:t>
            </a:fld>
            <a:endParaRPr lang="ru-RU" noProof="1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BED5DCD4-CFB2-F959-4153-04AE9A7FA31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ru-RU" noProof="1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D4C3C73-0DB5-A959-997A-9CB9E599406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890845" y="2636913"/>
            <a:ext cx="5677267" cy="1584176"/>
          </a:xfrm>
        </p:spPr>
        <p:txBody>
          <a:bodyPr/>
          <a:lstStyle/>
          <a:p>
            <a:r>
              <a:rPr lang="ru-RU" sz="4500" noProof="1"/>
              <a:t>Елена Екимова</a:t>
            </a:r>
          </a:p>
          <a:p>
            <a:r>
              <a:rPr lang="ru-RU" sz="3000" i="1" noProof="1"/>
              <a:t>Казахстан</a:t>
            </a:r>
          </a:p>
        </p:txBody>
      </p:sp>
    </p:spTree>
    <p:extLst>
      <p:ext uri="{BB962C8B-B14F-4D97-AF65-F5344CB8AC3E}">
        <p14:creationId xmlns:p14="http://schemas.microsoft.com/office/powerpoint/2010/main" val="131638718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: Rounded Corners 3">
            <a:extLst>
              <a:ext uri="{FF2B5EF4-FFF2-40B4-BE49-F238E27FC236}">
                <a16:creationId xmlns:a16="http://schemas.microsoft.com/office/drawing/2014/main" id="{9A736545-353C-07BB-E894-D6EDADCB4CB8}"/>
              </a:ext>
            </a:extLst>
          </p:cNvPr>
          <p:cNvSpPr/>
          <p:nvPr/>
        </p:nvSpPr>
        <p:spPr>
          <a:xfrm>
            <a:off x="612457" y="1772816"/>
            <a:ext cx="7364895" cy="4464472"/>
          </a:xfrm>
          <a:prstGeom prst="roundRect">
            <a:avLst>
              <a:gd name="adj" fmla="val 4924"/>
            </a:avLst>
          </a:prstGeom>
          <a:solidFill>
            <a:schemeClr val="bg1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noProof="1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08AE796-AF8F-0004-0B69-B0723E452D9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noProof="1"/>
              <a:t>Давайте познакомимся с фасилитаторами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88B8AEF-BABF-11C3-214A-D789A86C9B20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DB84476-BC29-4407-9D57-B2E562B8968B}" type="slidenum">
              <a:rPr lang="ru-RU" noProof="1" smtClean="0"/>
              <a:pPr/>
              <a:t>6</a:t>
            </a:fld>
            <a:endParaRPr lang="ru-RU" noProof="1"/>
          </a:p>
        </p:txBody>
      </p:sp>
      <p:sp>
        <p:nvSpPr>
          <p:cNvPr id="4" name="Google Shape;176;p6">
            <a:extLst>
              <a:ext uri="{FF2B5EF4-FFF2-40B4-BE49-F238E27FC236}">
                <a16:creationId xmlns:a16="http://schemas.microsoft.com/office/drawing/2014/main" id="{FF8542C6-4826-5D03-FE8A-756044758DDD}"/>
              </a:ext>
            </a:extLst>
          </p:cNvPr>
          <p:cNvSpPr txBox="1"/>
          <p:nvPr/>
        </p:nvSpPr>
        <p:spPr>
          <a:xfrm>
            <a:off x="747562" y="4819721"/>
            <a:ext cx="3503789" cy="86177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>
              <a:lnSpc>
                <a:spcPct val="140000"/>
              </a:lnSpc>
              <a:buSzPts val="2200"/>
            </a:pPr>
            <a:r>
              <a:rPr lang="ru-RU" sz="2000" b="1" noProof="1">
                <a:solidFill>
                  <a:srgbClr val="242F6F"/>
                </a:solidFill>
                <a:ea typeface="Poppins"/>
                <a:cs typeface="Poppins"/>
                <a:sym typeface="Poppins"/>
              </a:rPr>
              <a:t>Д-р Рассел Григг</a:t>
            </a:r>
          </a:p>
          <a:p>
            <a:pPr algn="ctr">
              <a:lnSpc>
                <a:spcPct val="140000"/>
              </a:lnSpc>
              <a:buSzPts val="2200"/>
            </a:pPr>
            <a:r>
              <a:rPr lang="ru-RU" sz="2000" b="0" i="0" u="none" strike="noStrike" cap="none" noProof="1">
                <a:solidFill>
                  <a:srgbClr val="242F6F"/>
                </a:solidFill>
                <a:ea typeface="Poppins"/>
                <a:cs typeface="Poppins"/>
                <a:sym typeface="Poppins"/>
              </a:rPr>
              <a:t>g.r.grigg@swansea.ac.uk  </a:t>
            </a:r>
            <a:endParaRPr lang="ru-RU" sz="2000" b="0" i="0" u="none" strike="noStrike" cap="none" noProof="1">
              <a:solidFill>
                <a:srgbClr val="000000"/>
              </a:solidFill>
              <a:ea typeface="Arial"/>
              <a:cs typeface="Arial"/>
            </a:endParaRPr>
          </a:p>
        </p:txBody>
      </p:sp>
      <p:sp>
        <p:nvSpPr>
          <p:cNvPr id="5" name="Google Shape;177;p6">
            <a:extLst>
              <a:ext uri="{FF2B5EF4-FFF2-40B4-BE49-F238E27FC236}">
                <a16:creationId xmlns:a16="http://schemas.microsoft.com/office/drawing/2014/main" id="{61AD6246-FAA5-1600-4C3F-7BFCCB520605}"/>
              </a:ext>
            </a:extLst>
          </p:cNvPr>
          <p:cNvSpPr txBox="1"/>
          <p:nvPr/>
        </p:nvSpPr>
        <p:spPr>
          <a:xfrm>
            <a:off x="4436866" y="4817906"/>
            <a:ext cx="3299444" cy="86177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lvl="0" algn="ctr">
              <a:lnSpc>
                <a:spcPct val="140000"/>
              </a:lnSpc>
              <a:buSzPts val="2200"/>
            </a:pPr>
            <a:r>
              <a:rPr lang="ru-RU" sz="2000" b="1" noProof="1">
                <a:solidFill>
                  <a:srgbClr val="242F6F"/>
                </a:solidFill>
                <a:ea typeface="Poppins"/>
                <a:cs typeface="Poppins"/>
                <a:sym typeface="Poppins"/>
              </a:rPr>
              <a:t>Хейзел Исраэль</a:t>
            </a:r>
            <a:br>
              <a:rPr lang="ru-RU" sz="2000" noProof="1">
                <a:ea typeface="Poppins"/>
                <a:cs typeface="Poppins"/>
              </a:rPr>
            </a:br>
            <a:r>
              <a:rPr lang="ru-RU" sz="2000" i="0" u="none" strike="noStrike" cap="none" noProof="1">
                <a:solidFill>
                  <a:srgbClr val="242F6F"/>
                </a:solidFill>
                <a:ea typeface="Poppins"/>
                <a:cs typeface="Poppins"/>
                <a:sym typeface="Poppins"/>
              </a:rPr>
              <a:t>hazel@bantani.com</a:t>
            </a:r>
            <a:endParaRPr lang="ru-RU" sz="2000" i="0" u="none" strike="noStrike" cap="none" noProof="1">
              <a:solidFill>
                <a:srgbClr val="000000"/>
              </a:solidFill>
              <a:ea typeface="Arial"/>
              <a:cs typeface="Arial"/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963090BA-2361-5199-2AFF-7B525B9CBA5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84812" y="1950356"/>
            <a:ext cx="2679700" cy="2921000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93DBE442-2C4B-0531-64EB-54B3DFFE9344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29391" y="1963266"/>
            <a:ext cx="2854639" cy="28546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2345639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75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</p:bldLst>
  </p:timing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E979061-5DB1-6F15-2028-77B26AE8A7E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ru-RU" noProof="1">
              <a:latin typeface="Arial" panose="020B0604020202020204" pitchFamily="34" charset="0"/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6FBAB8C-43B1-8308-9084-6D38464585A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8714" y="1636037"/>
            <a:ext cx="7884854" cy="5014140"/>
          </a:xfrm>
        </p:spPr>
        <p:txBody>
          <a:bodyPr vert="horz" lIns="0" tIns="0" rIns="91440" bIns="0" rtlCol="0" anchor="t">
            <a:normAutofit/>
          </a:bodyPr>
          <a:lstStyle/>
          <a:p>
            <a:r>
              <a:rPr lang="ru-RU" sz="2400" noProof="1">
                <a:solidFill>
                  <a:srgbClr val="212A2F"/>
                </a:solidFill>
                <a:latin typeface="Arial" panose="020B0604020202020204" pitchFamily="34" charset="0"/>
              </a:rPr>
              <a:t>Целью программы </a:t>
            </a:r>
            <a:r>
              <a:rPr lang="ru-RU" sz="2400" b="0" noProof="1">
                <a:solidFill>
                  <a:srgbClr val="212A2F"/>
                </a:solidFill>
                <a:latin typeface="Arial" panose="020B0604020202020204" pitchFamily="34" charset="0"/>
              </a:rPr>
              <a:t>является развитие и совершенствование педагогических компетенций, необходимых для </a:t>
            </a:r>
            <a:r>
              <a:rPr lang="ru-RU" sz="2400" i="1" noProof="1">
                <a:solidFill>
                  <a:srgbClr val="212A2F"/>
                </a:solidFill>
                <a:latin typeface="Arial" panose="020B0604020202020204" pitchFamily="34" charset="0"/>
              </a:rPr>
              <a:t>проектирования компетентностно-ориентированных занятий с использованием инструмента SCAFFOLD</a:t>
            </a:r>
            <a:r>
              <a:rPr lang="ru-RU" sz="2400" b="0" noProof="1">
                <a:solidFill>
                  <a:srgbClr val="212A2F"/>
                </a:solidFill>
                <a:latin typeface="Arial" panose="020B0604020202020204" pitchFamily="34" charset="0"/>
              </a:rPr>
              <a:t>. </a:t>
            </a:r>
          </a:p>
          <a:p>
            <a:r>
              <a:rPr lang="ru-RU" sz="2400" b="0" noProof="1">
                <a:solidFill>
                  <a:srgbClr val="212A2F"/>
                </a:solidFill>
                <a:latin typeface="Arial" panose="020B0604020202020204" pitchFamily="34" charset="0"/>
              </a:rPr>
              <a:t>Программа направлена на формирование у педагогов навыков структурирования учебного процесса, поддержки обучающихся на разных этапах освоения материала и эффективного внедрения современных образовательных технологий для повышения качества обучения.</a:t>
            </a:r>
            <a:endParaRPr lang="ru-RU" sz="2400" b="0" noProof="1">
              <a:latin typeface="Arial" panose="020B0604020202020204" pitchFamily="34" charset="0"/>
            </a:endParaRP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CDD7D5D8-E91D-56A0-2301-09C37CA7F51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6588" y="207823"/>
            <a:ext cx="7556549" cy="756691"/>
          </a:xfrm>
        </p:spPr>
        <p:txBody>
          <a:bodyPr>
            <a:noAutofit/>
          </a:bodyPr>
          <a:lstStyle/>
          <a:p>
            <a:pPr algn="ctr"/>
            <a:br>
              <a:rPr lang="ru-RU" sz="2400" noProof="1">
                <a:latin typeface="Arial" panose="020B0604020202020204" pitchFamily="34" charset="0"/>
              </a:rPr>
            </a:br>
            <a:r>
              <a:rPr lang="ru-RU" sz="2400" noProof="1">
                <a:latin typeface="Arial" panose="020B0604020202020204" pitchFamily="34" charset="0"/>
              </a:rPr>
              <a:t>«Проектирование учебных занятий с применением инструмента «SCAFFOLD» </a:t>
            </a:r>
            <a:br>
              <a:rPr lang="ru-RU" sz="2400" noProof="1">
                <a:latin typeface="Arial" panose="020B0604020202020204" pitchFamily="34" charset="0"/>
              </a:rPr>
            </a:br>
            <a:r>
              <a:rPr lang="ru-RU" sz="2400" noProof="1">
                <a:latin typeface="Arial" panose="020B0604020202020204" pitchFamily="34" charset="0"/>
              </a:rPr>
              <a:t>( февраль-апрель 2025 г.)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2DB8B93F-F04F-83B6-F337-74CEFB54858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endParaRPr lang="ru-RU" noProof="1">
              <a:latin typeface="Arial" panose="020B0604020202020204" pitchFamily="34" charset="0"/>
            </a:endParaRPr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E44E342-A81B-DC02-0A2D-DE060853FA8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/>
        <p:txBody>
          <a:bodyPr/>
          <a:lstStyle/>
          <a:p>
            <a:endParaRPr lang="ru-RU" noProof="1">
              <a:latin typeface="Arial" panose="020B0604020202020204" pitchFamily="34" charset="0"/>
            </a:endParaRP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EA0BD486-8B9C-ED92-4C86-2B12B97E4C3F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/>
        <p:txBody>
          <a:bodyPr/>
          <a:lstStyle/>
          <a:p>
            <a:endParaRPr lang="ru-RU" noProof="1">
              <a:latin typeface="Arial" panose="020B0604020202020204" pitchFamily="34" charset="0"/>
            </a:endParaRPr>
          </a:p>
        </p:txBody>
      </p:sp>
      <p:sp>
        <p:nvSpPr>
          <p:cNvPr id="9" name="Рисунок 8">
            <a:extLst>
              <a:ext uri="{FF2B5EF4-FFF2-40B4-BE49-F238E27FC236}">
                <a16:creationId xmlns:a16="http://schemas.microsoft.com/office/drawing/2014/main" id="{75D657B8-C975-41C0-B415-473A9CA22A8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572858" y="317788"/>
            <a:ext cx="3634587" cy="5506483"/>
          </a:xfrm>
        </p:spPr>
        <p:txBody>
          <a:bodyPr/>
          <a:lstStyle/>
          <a:p>
            <a:endParaRPr lang="ru-RU" noProof="1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8715323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E979061-5DB1-6F15-2028-77B26AE8A7E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399775" y="251884"/>
            <a:ext cx="3792227" cy="6606117"/>
          </a:xfrm>
        </p:spPr>
        <p:txBody>
          <a:bodyPr/>
          <a:lstStyle/>
          <a:p>
            <a:endParaRPr lang="ru-RU" noProof="1">
              <a:latin typeface="Arial" panose="020B0604020202020204" pitchFamily="34" charset="0"/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6FBAB8C-43B1-8308-9084-6D38464585A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59382" y="1636037"/>
            <a:ext cx="7564185" cy="5014140"/>
          </a:xfrm>
        </p:spPr>
        <p:txBody>
          <a:bodyPr vert="horz" lIns="0" tIns="0" rIns="91440" bIns="0" rtlCol="0" anchor="t">
            <a:normAutofit/>
          </a:bodyPr>
          <a:lstStyle/>
          <a:p>
            <a:pPr algn="just">
              <a:lnSpc>
                <a:spcPct val="115000"/>
              </a:lnSpc>
            </a:pPr>
            <a:r>
              <a:rPr lang="ru-RU" sz="2400" b="0" noProof="1">
                <a:effectLst/>
                <a:latin typeface="Arial" panose="020B0604020202020204" pitchFamily="34" charset="0"/>
                <a:ea typeface="Arial" panose="020B0604020202020204" pitchFamily="34" charset="0"/>
              </a:rPr>
              <a:t>Для достижения цели Программы определены следующие</a:t>
            </a:r>
            <a:r>
              <a:rPr lang="ru-RU" sz="2400" noProof="1">
                <a:effectLst/>
                <a:latin typeface="Arial" panose="020B0604020202020204" pitchFamily="34" charset="0"/>
                <a:ea typeface="Arial" panose="020B0604020202020204" pitchFamily="34" charset="0"/>
              </a:rPr>
              <a:t> </a:t>
            </a:r>
            <a:r>
              <a:rPr lang="ru-RU" sz="2400" b="1" noProof="1">
                <a:effectLst/>
                <a:latin typeface="Arial" panose="020B0604020202020204" pitchFamily="34" charset="0"/>
                <a:ea typeface="Arial" panose="020B0604020202020204" pitchFamily="34" charset="0"/>
              </a:rPr>
              <a:t>задачи</a:t>
            </a:r>
            <a:r>
              <a:rPr lang="ru-RU" sz="2400" noProof="1">
                <a:effectLst/>
                <a:latin typeface="Arial" panose="020B0604020202020204" pitchFamily="34" charset="0"/>
                <a:ea typeface="Arial" panose="020B0604020202020204" pitchFamily="34" charset="0"/>
              </a:rPr>
              <a:t>:</a:t>
            </a:r>
          </a:p>
          <a:p>
            <a:pPr algn="just">
              <a:lnSpc>
                <a:spcPct val="115000"/>
              </a:lnSpc>
            </a:pPr>
            <a:r>
              <a:rPr lang="ru-RU" sz="2400" b="0" noProof="1">
                <a:effectLst/>
                <a:latin typeface="Arial" panose="020B0604020202020204" pitchFamily="34" charset="0"/>
                <a:ea typeface="Arial" panose="020B0604020202020204" pitchFamily="34" charset="0"/>
              </a:rPr>
              <a:t>1.Освоение и применение инструмента </a:t>
            </a:r>
            <a:r>
              <a:rPr lang="ru-RU" sz="2400" b="0" noProof="1">
                <a:latin typeface="Arial" panose="020B0604020202020204" pitchFamily="34" charset="0"/>
              </a:rPr>
              <a:t>SCAFFOLD</a:t>
            </a:r>
            <a:r>
              <a:rPr lang="ru-RU" sz="2400" b="0" noProof="1">
                <a:effectLst/>
                <a:latin typeface="Arial" panose="020B0604020202020204" pitchFamily="34" charset="0"/>
                <a:ea typeface="Arial" panose="020B0604020202020204" pitchFamily="34" charset="0"/>
              </a:rPr>
              <a:t> в образовательной практике;</a:t>
            </a:r>
          </a:p>
          <a:p>
            <a:pPr algn="just">
              <a:lnSpc>
                <a:spcPct val="115000"/>
              </a:lnSpc>
            </a:pPr>
            <a:r>
              <a:rPr lang="ru-RU" sz="2400" b="0" noProof="1">
                <a:effectLst/>
                <a:latin typeface="Arial" panose="020B0604020202020204" pitchFamily="34" charset="0"/>
                <a:ea typeface="Arial" panose="020B0604020202020204" pitchFamily="34" charset="0"/>
              </a:rPr>
              <a:t>2.Интеграция компетентностного подхода в образовательную деятельность;</a:t>
            </a:r>
          </a:p>
          <a:p>
            <a:pPr algn="just">
              <a:lnSpc>
                <a:spcPct val="115000"/>
              </a:lnSpc>
            </a:pPr>
            <a:r>
              <a:rPr lang="ru-RU" sz="2400" b="0" noProof="1">
                <a:effectLst/>
                <a:latin typeface="Arial" panose="020B0604020202020204" pitchFamily="34" charset="0"/>
                <a:ea typeface="Arial" panose="020B0604020202020204" pitchFamily="34" charset="0"/>
              </a:rPr>
              <a:t>3.Проектирование компетентностно-ориентированных занятий через инновационные и адаптивные образовательные практики. </a:t>
            </a:r>
          </a:p>
          <a:p>
            <a:pPr algn="just">
              <a:lnSpc>
                <a:spcPct val="115000"/>
              </a:lnSpc>
            </a:pPr>
            <a:r>
              <a:rPr lang="ru-RU" sz="1800" noProof="1">
                <a:effectLst/>
                <a:latin typeface="Arial" panose="020B0604020202020204" pitchFamily="34" charset="0"/>
                <a:ea typeface="Arial" panose="020B0604020202020204" pitchFamily="34" charset="0"/>
              </a:rPr>
              <a:t>   	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CDD7D5D8-E91D-56A0-2301-09C37CA7F51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68987" y="251884"/>
            <a:ext cx="7963582" cy="756691"/>
          </a:xfrm>
        </p:spPr>
        <p:txBody>
          <a:bodyPr>
            <a:noAutofit/>
          </a:bodyPr>
          <a:lstStyle/>
          <a:p>
            <a:br>
              <a:rPr lang="ru-RU" sz="2400" noProof="1">
                <a:latin typeface="Arial" panose="020B0604020202020204" pitchFamily="34" charset="0"/>
              </a:rPr>
            </a:br>
            <a:r>
              <a:rPr lang="ru-RU" sz="2400" noProof="1">
                <a:latin typeface="Arial" panose="020B0604020202020204" pitchFamily="34" charset="0"/>
              </a:rPr>
              <a:t>«Проектирование учебных занятий с применением инструмента «SCAFFOLD»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2DB8B93F-F04F-83B6-F337-74CEFB54858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10505928" y="586169"/>
            <a:ext cx="1686072" cy="3862863"/>
          </a:xfrm>
        </p:spPr>
        <p:txBody>
          <a:bodyPr/>
          <a:lstStyle/>
          <a:p>
            <a:endParaRPr lang="ru-RU" noProof="1">
              <a:latin typeface="Arial" panose="020B0604020202020204" pitchFamily="34" charset="0"/>
            </a:endParaRPr>
          </a:p>
        </p:txBody>
      </p:sp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37C5F7AB-4745-0736-1B67-A1335D6839FA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720673" y="353298"/>
            <a:ext cx="3486772" cy="5506483"/>
          </a:xfrm>
        </p:spPr>
        <p:txBody>
          <a:bodyPr/>
          <a:lstStyle/>
          <a:p>
            <a:endParaRPr lang="ru-RU" noProof="1">
              <a:latin typeface="Arial" panose="020B0604020202020204" pitchFamily="34" charset="0"/>
            </a:endParaRPr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E44E342-A81B-DC02-0A2D-DE060853FA8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11568015" y="1787732"/>
            <a:ext cx="639429" cy="1767448"/>
          </a:xfrm>
        </p:spPr>
        <p:txBody>
          <a:bodyPr/>
          <a:lstStyle/>
          <a:p>
            <a:endParaRPr lang="ru-RU" noProof="1">
              <a:latin typeface="Arial" panose="020B0604020202020204" pitchFamily="34" charset="0"/>
            </a:endParaRP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EA0BD486-8B9C-ED92-4C86-2B12B97E4C3F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 rot="10800000" flipV="1">
            <a:off x="7826627" y="3408318"/>
            <a:ext cx="3590943" cy="3441037"/>
          </a:xfrm>
        </p:spPr>
        <p:txBody>
          <a:bodyPr/>
          <a:lstStyle/>
          <a:p>
            <a:endParaRPr lang="ru-RU" noProof="1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0023006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E979061-5DB1-6F15-2028-77B26AE8A7E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ru-RU" noProof="1">
              <a:latin typeface="Arial" panose="020B0604020202020204" pitchFamily="34" charset="0"/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6FBAB8C-43B1-8308-9084-6D38464585A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81538" y="1636037"/>
            <a:ext cx="7742029" cy="5014140"/>
          </a:xfrm>
        </p:spPr>
        <p:txBody>
          <a:bodyPr vert="horz" lIns="0" tIns="0" rIns="91440" bIns="0" rtlCol="0" anchor="t">
            <a:normAutofit/>
          </a:bodyPr>
          <a:lstStyle/>
          <a:p>
            <a:pPr algn="just">
              <a:lnSpc>
                <a:spcPct val="115000"/>
              </a:lnSpc>
            </a:pPr>
            <a:r>
              <a:rPr lang="ru-RU" sz="2400" b="1" noProof="1">
                <a:effectLst/>
                <a:latin typeface="Arial" panose="020B0604020202020204" pitchFamily="34" charset="0"/>
                <a:ea typeface="Arial" panose="020B0604020202020204" pitchFamily="34" charset="0"/>
              </a:rPr>
              <a:t>Ожидаемые результаты обучения:</a:t>
            </a:r>
            <a:endParaRPr lang="ru-RU" sz="2400" noProof="1">
              <a:effectLst/>
              <a:latin typeface="Arial" panose="020B0604020202020204" pitchFamily="34" charset="0"/>
              <a:ea typeface="Arial" panose="020B0604020202020204" pitchFamily="34" charset="0"/>
            </a:endParaRPr>
          </a:p>
          <a:p>
            <a:pPr algn="just">
              <a:lnSpc>
                <a:spcPct val="115000"/>
              </a:lnSpc>
            </a:pPr>
            <a:r>
              <a:rPr lang="ru-RU" sz="2400" b="0" noProof="1">
                <a:effectLst/>
                <a:latin typeface="Arial" panose="020B0604020202020204" pitchFamily="34" charset="0"/>
                <a:ea typeface="Arial" panose="020B0604020202020204" pitchFamily="34" charset="0"/>
              </a:rPr>
              <a:t>По завершению курса повышения квалификации слушатель:</a:t>
            </a:r>
          </a:p>
          <a:p>
            <a:pPr algn="just">
              <a:lnSpc>
                <a:spcPct val="115000"/>
              </a:lnSpc>
            </a:pPr>
            <a:r>
              <a:rPr lang="ru-RU" sz="2400" b="0" noProof="1">
                <a:effectLst/>
                <a:latin typeface="Arial" panose="020B0604020202020204" pitchFamily="34" charset="0"/>
                <a:ea typeface="Arial" panose="020B0604020202020204" pitchFamily="34" charset="0"/>
              </a:rPr>
              <a:t>-применяет методы SCAFFOLD при создании структурных элементов учебных занятий с учетом основных принципов технологии;</a:t>
            </a:r>
          </a:p>
          <a:p>
            <a:pPr algn="just">
              <a:lnSpc>
                <a:spcPct val="115000"/>
              </a:lnSpc>
            </a:pPr>
            <a:r>
              <a:rPr lang="ru-RU" sz="2400" b="0" noProof="1">
                <a:effectLst/>
                <a:latin typeface="Arial" panose="020B0604020202020204" pitchFamily="34" charset="0"/>
                <a:ea typeface="Arial" panose="020B0604020202020204" pitchFamily="34" charset="0"/>
              </a:rPr>
              <a:t>-проектирует учебное занятие с целью формирования ключевых компетенций обучающихся.</a:t>
            </a:r>
          </a:p>
          <a:p>
            <a:pPr algn="just">
              <a:lnSpc>
                <a:spcPct val="115000"/>
              </a:lnSpc>
            </a:pPr>
            <a:r>
              <a:rPr lang="ru-RU" sz="1800" noProof="1">
                <a:effectLst/>
                <a:latin typeface="Arial" panose="020B0604020202020204" pitchFamily="34" charset="0"/>
                <a:ea typeface="Arial" panose="020B0604020202020204" pitchFamily="34" charset="0"/>
              </a:rPr>
              <a:t>   	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CDD7D5D8-E91D-56A0-2301-09C37CA7F51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1539" y="680167"/>
            <a:ext cx="8075876" cy="756691"/>
          </a:xfrm>
        </p:spPr>
        <p:txBody>
          <a:bodyPr>
            <a:noAutofit/>
          </a:bodyPr>
          <a:lstStyle/>
          <a:p>
            <a:br>
              <a:rPr lang="ru-RU" sz="2400" noProof="1">
                <a:latin typeface="Arial" panose="020B0604020202020204" pitchFamily="34" charset="0"/>
              </a:rPr>
            </a:br>
            <a:r>
              <a:rPr lang="ru-RU" sz="2400" noProof="1">
                <a:latin typeface="Arial" panose="020B0604020202020204" pitchFamily="34" charset="0"/>
              </a:rPr>
              <a:t>«Проектирование учебных занятий с применением инструмента «SCAFFOLD»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2DB8B93F-F04F-83B6-F337-74CEFB54858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endParaRPr lang="ru-RU" noProof="1">
              <a:latin typeface="Arial" panose="020B0604020202020204" pitchFamily="34" charset="0"/>
            </a:endParaRPr>
          </a:p>
        </p:txBody>
      </p:sp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37C5F7AB-4745-0736-1B67-A1335D6839FA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/>
        <p:txBody>
          <a:bodyPr/>
          <a:lstStyle/>
          <a:p>
            <a:endParaRPr lang="ru-RU" noProof="1">
              <a:latin typeface="Arial" panose="020B0604020202020204" pitchFamily="34" charset="0"/>
            </a:endParaRPr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E44E342-A81B-DC02-0A2D-DE060853FA8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/>
        <p:txBody>
          <a:bodyPr/>
          <a:lstStyle/>
          <a:p>
            <a:endParaRPr lang="ru-RU" noProof="1">
              <a:latin typeface="Arial" panose="020B0604020202020204" pitchFamily="34" charset="0"/>
            </a:endParaRP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EA0BD486-8B9C-ED92-4C86-2B12B97E4C3F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/>
        <p:txBody>
          <a:bodyPr/>
          <a:lstStyle/>
          <a:p>
            <a:endParaRPr lang="ru-RU" noProof="1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8600801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CAE2238E-917E-B755-D890-32BA7832254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ru-RU" noProof="1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02D21952-A205-AC9E-3651-398E9CFC02B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241199" y="16764"/>
            <a:ext cx="2613028" cy="368827"/>
          </a:xfrm>
        </p:spPr>
        <p:txBody>
          <a:bodyPr>
            <a:normAutofit fontScale="90000"/>
          </a:bodyPr>
          <a:lstStyle/>
          <a:p>
            <a:r>
              <a:rPr lang="ru-RU" noProof="1">
                <a:cs typeface="Arial"/>
              </a:rPr>
              <a:t>Содержание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8784D836-6888-A1BB-A5A3-5EE559D54C6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endParaRPr lang="ru-RU" noProof="1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8D8A4C60-60DD-B844-14B9-A0559FCC99C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/>
        <p:txBody>
          <a:bodyPr/>
          <a:lstStyle/>
          <a:p>
            <a:endParaRPr lang="ru-RU" noProof="1"/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95A5F44D-2388-858F-5A78-0881E1986305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/>
        <p:txBody>
          <a:bodyPr/>
          <a:lstStyle/>
          <a:p>
            <a:endParaRPr lang="ru-RU" noProof="1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2132B35B-8696-AB71-0E7D-1526488128C9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/>
        <p:txBody>
          <a:bodyPr/>
          <a:lstStyle/>
          <a:p>
            <a:endParaRPr lang="ru-RU" noProof="1"/>
          </a:p>
        </p:txBody>
      </p:sp>
      <p:graphicFrame>
        <p:nvGraphicFramePr>
          <p:cNvPr id="5" name="Таблица 4">
            <a:extLst>
              <a:ext uri="{FF2B5EF4-FFF2-40B4-BE49-F238E27FC236}">
                <a16:creationId xmlns:a16="http://schemas.microsoft.com/office/drawing/2014/main" id="{A7540BE9-D941-498C-AA0F-6CD4E479C15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10906929"/>
              </p:ext>
            </p:extLst>
          </p:nvPr>
        </p:nvGraphicFramePr>
        <p:xfrm>
          <a:off x="144804" y="385591"/>
          <a:ext cx="8543165" cy="5960184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17251">
                  <a:extLst>
                    <a:ext uri="{9D8B030D-6E8A-4147-A177-3AD203B41FA5}">
                      <a16:colId xmlns:a16="http://schemas.microsoft.com/office/drawing/2014/main" val="4093435872"/>
                    </a:ext>
                  </a:extLst>
                </a:gridCol>
                <a:gridCol w="5805996">
                  <a:extLst>
                    <a:ext uri="{9D8B030D-6E8A-4147-A177-3AD203B41FA5}">
                      <a16:colId xmlns:a16="http://schemas.microsoft.com/office/drawing/2014/main" val="2756766234"/>
                    </a:ext>
                  </a:extLst>
                </a:gridCol>
                <a:gridCol w="754602">
                  <a:extLst>
                    <a:ext uri="{9D8B030D-6E8A-4147-A177-3AD203B41FA5}">
                      <a16:colId xmlns:a16="http://schemas.microsoft.com/office/drawing/2014/main" val="2177007242"/>
                    </a:ext>
                  </a:extLst>
                </a:gridCol>
                <a:gridCol w="923277">
                  <a:extLst>
                    <a:ext uri="{9D8B030D-6E8A-4147-A177-3AD203B41FA5}">
                      <a16:colId xmlns:a16="http://schemas.microsoft.com/office/drawing/2014/main" val="3028612175"/>
                    </a:ext>
                  </a:extLst>
                </a:gridCol>
                <a:gridCol w="642039">
                  <a:extLst>
                    <a:ext uri="{9D8B030D-6E8A-4147-A177-3AD203B41FA5}">
                      <a16:colId xmlns:a16="http://schemas.microsoft.com/office/drawing/2014/main" val="3732025047"/>
                    </a:ext>
                  </a:extLst>
                </a:gridCol>
              </a:tblGrid>
              <a:tr h="444332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r>
                        <a:rPr lang="ru-RU" sz="1400" b="1" noProof="1">
                          <a:effectLst/>
                          <a:highlight>
                            <a:srgbClr val="FFFFFF"/>
                          </a:highlight>
                        </a:rPr>
                        <a:t>№</a:t>
                      </a:r>
                      <a:endParaRPr lang="ru-RU" sz="1400" b="1" noProof="1"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</a:endParaRPr>
                    </a:p>
                  </a:txBody>
                  <a:tcPr marL="28691" marR="28691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r>
                        <a:rPr lang="ru-RU" sz="1400" b="1" noProof="1">
                          <a:effectLst/>
                          <a:highlight>
                            <a:srgbClr val="FFFFFF"/>
                          </a:highlight>
                        </a:rPr>
                        <a:t>Тематика занятий</a:t>
                      </a:r>
                      <a:endParaRPr lang="ru-RU" sz="1400" b="1" noProof="1"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</a:endParaRPr>
                    </a:p>
                  </a:txBody>
                  <a:tcPr marL="28691" marR="28691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r>
                        <a:rPr lang="ru-RU" sz="1400" b="1" noProof="1">
                          <a:effectLst/>
                          <a:highlight>
                            <a:srgbClr val="FFFFFF"/>
                          </a:highlight>
                        </a:rPr>
                        <a:t>Теория</a:t>
                      </a:r>
                      <a:endParaRPr lang="ru-RU" sz="1400" b="1" noProof="1"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</a:endParaRPr>
                    </a:p>
                  </a:txBody>
                  <a:tcPr marL="28691" marR="28691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r>
                        <a:rPr lang="ru-RU" sz="1400" b="1" noProof="1">
                          <a:effectLst/>
                          <a:highlight>
                            <a:srgbClr val="FFFFFF"/>
                          </a:highlight>
                        </a:rPr>
                        <a:t>Практика</a:t>
                      </a:r>
                      <a:endParaRPr lang="ru-RU" sz="1400" b="1" noProof="1"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</a:endParaRPr>
                    </a:p>
                  </a:txBody>
                  <a:tcPr marL="28691" marR="28691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r>
                        <a:rPr lang="ru-RU" sz="1400" b="1" noProof="1">
                          <a:effectLst/>
                          <a:highlight>
                            <a:srgbClr val="FFFFFF"/>
                          </a:highlight>
                        </a:rPr>
                        <a:t>Всего</a:t>
                      </a:r>
                      <a:endParaRPr lang="ru-RU" sz="1400" b="1" noProof="1"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</a:endParaRPr>
                    </a:p>
                  </a:txBody>
                  <a:tcPr marL="28691" marR="28691" marT="0" marB="0" anchor="ctr"/>
                </a:tc>
                <a:extLst>
                  <a:ext uri="{0D108BD9-81ED-4DB2-BD59-A6C34878D82A}">
                    <a16:rowId xmlns:a16="http://schemas.microsoft.com/office/drawing/2014/main" val="2963103917"/>
                  </a:ext>
                </a:extLst>
              </a:tr>
              <a:tr h="320955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r>
                        <a:rPr lang="ru-RU" sz="1400" noProof="1">
                          <a:effectLst/>
                          <a:highlight>
                            <a:srgbClr val="FFFFFF"/>
                          </a:highlight>
                        </a:rPr>
                        <a:t>1</a:t>
                      </a:r>
                      <a:endParaRPr lang="ru-RU" sz="1400" noProof="1"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</a:endParaRPr>
                    </a:p>
                  </a:txBody>
                  <a:tcPr marL="28691" marR="28691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</a:pPr>
                      <a:r>
                        <a:rPr lang="ru-RU" sz="1400" b="1" noProof="1">
                          <a:effectLst/>
                          <a:highlight>
                            <a:srgbClr val="FFFFFF"/>
                          </a:highlight>
                        </a:rPr>
                        <a:t>Модуль 1. Основы технологии Scaffold</a:t>
                      </a:r>
                      <a:endParaRPr lang="ru-RU" sz="1400" b="1" noProof="1"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</a:endParaRPr>
                    </a:p>
                  </a:txBody>
                  <a:tcPr marL="28691" marR="28691" marT="0" marB="0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</a:pPr>
                      <a:r>
                        <a:rPr lang="ru-RU" sz="1400" b="1" noProof="1">
                          <a:effectLst/>
                          <a:highlight>
                            <a:srgbClr val="FFFFFF"/>
                          </a:highlight>
                        </a:rPr>
                        <a:t>18</a:t>
                      </a:r>
                      <a:endParaRPr lang="ru-RU" sz="1400" b="1" noProof="1"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</a:endParaRPr>
                    </a:p>
                  </a:txBody>
                  <a:tcPr marL="28691" marR="28691" marT="0" marB="0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</a:pPr>
                      <a:r>
                        <a:rPr lang="ru-RU" sz="1400" b="1" noProof="1">
                          <a:effectLst/>
                          <a:highlight>
                            <a:srgbClr val="FFFFFF"/>
                          </a:highlight>
                        </a:rPr>
                        <a:t>18</a:t>
                      </a:r>
                      <a:endParaRPr lang="ru-RU" sz="1400" b="1" noProof="1"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</a:endParaRPr>
                    </a:p>
                  </a:txBody>
                  <a:tcPr marL="28691" marR="28691" marT="0" marB="0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</a:pPr>
                      <a:r>
                        <a:rPr lang="ru-RU" sz="1400" b="1" noProof="1">
                          <a:effectLst/>
                          <a:highlight>
                            <a:srgbClr val="FFFFFF"/>
                          </a:highlight>
                        </a:rPr>
                        <a:t>36</a:t>
                      </a:r>
                      <a:endParaRPr lang="ru-RU" sz="1400" b="1" noProof="1"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</a:endParaRPr>
                    </a:p>
                  </a:txBody>
                  <a:tcPr marL="28691" marR="28691" marT="0" marB="0"/>
                </a:tc>
                <a:extLst>
                  <a:ext uri="{0D108BD9-81ED-4DB2-BD59-A6C34878D82A}">
                    <a16:rowId xmlns:a16="http://schemas.microsoft.com/office/drawing/2014/main" val="3698743217"/>
                  </a:ext>
                </a:extLst>
              </a:tr>
              <a:tr h="385880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r>
                        <a:rPr lang="ru-RU" sz="1400" noProof="1">
                          <a:effectLst/>
                          <a:highlight>
                            <a:srgbClr val="FFFFFF"/>
                          </a:highlight>
                        </a:rPr>
                        <a:t>1.1</a:t>
                      </a:r>
                      <a:endParaRPr lang="ru-RU" sz="1400" noProof="1"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</a:endParaRPr>
                    </a:p>
                  </a:txBody>
                  <a:tcPr marL="28691" marR="28691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</a:pPr>
                      <a:r>
                        <a:rPr lang="ru-RU" sz="1400" noProof="1">
                          <a:effectLst/>
                          <a:highlight>
                            <a:srgbClr val="FFFFFF"/>
                          </a:highlight>
                        </a:rPr>
                        <a:t>Основы технологии Scaffold и ее связь с компетентностным подходом. Принципы  Scaffold</a:t>
                      </a:r>
                      <a:endParaRPr lang="ru-RU" sz="1400" noProof="1"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</a:endParaRPr>
                    </a:p>
                  </a:txBody>
                  <a:tcPr marL="28691" marR="28691" marT="0" marB="0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</a:pPr>
                      <a:r>
                        <a:rPr lang="ru-RU" sz="1400" noProof="1">
                          <a:effectLst/>
                          <a:highlight>
                            <a:srgbClr val="FFFFFF"/>
                          </a:highlight>
                        </a:rPr>
                        <a:t>4</a:t>
                      </a:r>
                      <a:endParaRPr lang="ru-RU" sz="1400" noProof="1"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</a:endParaRPr>
                    </a:p>
                  </a:txBody>
                  <a:tcPr marL="28691" marR="28691" marT="0" marB="0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</a:pPr>
                      <a:r>
                        <a:rPr lang="ru-RU" sz="1400" noProof="1">
                          <a:effectLst/>
                          <a:highlight>
                            <a:srgbClr val="FFFFFF"/>
                          </a:highlight>
                        </a:rPr>
                        <a:t>2</a:t>
                      </a:r>
                      <a:endParaRPr lang="ru-RU" sz="1400" noProof="1"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</a:endParaRPr>
                    </a:p>
                  </a:txBody>
                  <a:tcPr marL="28691" marR="28691" marT="0" marB="0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</a:pPr>
                      <a:r>
                        <a:rPr lang="ru-RU" sz="1400" noProof="1">
                          <a:effectLst/>
                          <a:highlight>
                            <a:srgbClr val="FFFFFF"/>
                          </a:highlight>
                        </a:rPr>
                        <a:t>6</a:t>
                      </a:r>
                      <a:endParaRPr lang="ru-RU" sz="1400" noProof="1"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</a:endParaRPr>
                    </a:p>
                  </a:txBody>
                  <a:tcPr marL="28691" marR="28691" marT="0" marB="0"/>
                </a:tc>
                <a:extLst>
                  <a:ext uri="{0D108BD9-81ED-4DB2-BD59-A6C34878D82A}">
                    <a16:rowId xmlns:a16="http://schemas.microsoft.com/office/drawing/2014/main" val="1135586969"/>
                  </a:ext>
                </a:extLst>
              </a:tr>
              <a:tr h="257277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r>
                        <a:rPr lang="ru-RU" sz="1400" noProof="1">
                          <a:effectLst/>
                          <a:highlight>
                            <a:srgbClr val="FFFFFF"/>
                          </a:highlight>
                        </a:rPr>
                        <a:t>1.2</a:t>
                      </a:r>
                      <a:endParaRPr lang="ru-RU" sz="1400" noProof="1"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</a:endParaRPr>
                    </a:p>
                  </a:txBody>
                  <a:tcPr marL="28691" marR="28691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</a:pPr>
                      <a:r>
                        <a:rPr lang="ru-RU" sz="1400" noProof="1">
                          <a:effectLst/>
                          <a:highlight>
                            <a:srgbClr val="FFFFFF"/>
                          </a:highlight>
                        </a:rPr>
                        <a:t>Структура и содержание карточек. Ключевые компетенции</a:t>
                      </a:r>
                      <a:endParaRPr lang="ru-RU" sz="1400" noProof="1"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</a:endParaRPr>
                    </a:p>
                  </a:txBody>
                  <a:tcPr marL="28691" marR="28691" marT="0" marB="0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</a:pPr>
                      <a:r>
                        <a:rPr lang="ru-RU" sz="1400" noProof="1">
                          <a:effectLst/>
                          <a:highlight>
                            <a:srgbClr val="FFFFFF"/>
                          </a:highlight>
                        </a:rPr>
                        <a:t>4</a:t>
                      </a:r>
                      <a:endParaRPr lang="ru-RU" sz="1400" noProof="1"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</a:endParaRPr>
                    </a:p>
                  </a:txBody>
                  <a:tcPr marL="28691" marR="28691" marT="0" marB="0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</a:pPr>
                      <a:r>
                        <a:rPr lang="ru-RU" sz="1400" noProof="1">
                          <a:effectLst/>
                          <a:highlight>
                            <a:srgbClr val="FFFFFF"/>
                          </a:highlight>
                        </a:rPr>
                        <a:t>4</a:t>
                      </a:r>
                      <a:endParaRPr lang="ru-RU" sz="1400" noProof="1"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</a:endParaRPr>
                    </a:p>
                  </a:txBody>
                  <a:tcPr marL="28691" marR="28691" marT="0" marB="0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</a:pPr>
                      <a:r>
                        <a:rPr lang="ru-RU" sz="1400" noProof="1">
                          <a:effectLst/>
                          <a:highlight>
                            <a:srgbClr val="FFFFFF"/>
                          </a:highlight>
                        </a:rPr>
                        <a:t>8</a:t>
                      </a:r>
                      <a:endParaRPr lang="ru-RU" sz="1400" noProof="1"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</a:endParaRPr>
                    </a:p>
                  </a:txBody>
                  <a:tcPr marL="28691" marR="28691" marT="0" marB="0"/>
                </a:tc>
                <a:extLst>
                  <a:ext uri="{0D108BD9-81ED-4DB2-BD59-A6C34878D82A}">
                    <a16:rowId xmlns:a16="http://schemas.microsoft.com/office/drawing/2014/main" val="918525900"/>
                  </a:ext>
                </a:extLst>
              </a:tr>
              <a:tr h="154981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r>
                        <a:rPr lang="ru-RU" sz="1400" noProof="1">
                          <a:effectLst/>
                          <a:highlight>
                            <a:srgbClr val="FFFFFF"/>
                          </a:highlight>
                        </a:rPr>
                        <a:t>1.3</a:t>
                      </a:r>
                      <a:endParaRPr lang="ru-RU" sz="1400" noProof="1"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</a:endParaRPr>
                    </a:p>
                  </a:txBody>
                  <a:tcPr marL="28691" marR="28691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</a:pPr>
                      <a:r>
                        <a:rPr lang="ru-RU" sz="1400" noProof="1">
                          <a:effectLst/>
                          <a:highlight>
                            <a:srgbClr val="FFFFFF"/>
                          </a:highlight>
                        </a:rPr>
                        <a:t>Методы обучения</a:t>
                      </a:r>
                      <a:endParaRPr lang="ru-RU" sz="1400" noProof="1"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</a:endParaRPr>
                    </a:p>
                  </a:txBody>
                  <a:tcPr marL="28691" marR="28691" marT="0" marB="0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</a:pPr>
                      <a:r>
                        <a:rPr lang="ru-RU" sz="1400" noProof="1">
                          <a:effectLst/>
                          <a:highlight>
                            <a:srgbClr val="FFFFFF"/>
                          </a:highlight>
                        </a:rPr>
                        <a:t>4</a:t>
                      </a:r>
                      <a:endParaRPr lang="ru-RU" sz="1400" noProof="1"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</a:endParaRPr>
                    </a:p>
                  </a:txBody>
                  <a:tcPr marL="28691" marR="28691" marT="0" marB="0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</a:pPr>
                      <a:r>
                        <a:rPr lang="ru-RU" sz="1400" noProof="1">
                          <a:effectLst/>
                          <a:highlight>
                            <a:srgbClr val="FFFFFF"/>
                          </a:highlight>
                        </a:rPr>
                        <a:t>6</a:t>
                      </a:r>
                      <a:endParaRPr lang="ru-RU" sz="1400" noProof="1"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</a:endParaRPr>
                    </a:p>
                  </a:txBody>
                  <a:tcPr marL="28691" marR="28691" marT="0" marB="0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</a:pPr>
                      <a:r>
                        <a:rPr lang="ru-RU" sz="1400" noProof="1">
                          <a:effectLst/>
                          <a:highlight>
                            <a:srgbClr val="FFFFFF"/>
                          </a:highlight>
                        </a:rPr>
                        <a:t>10</a:t>
                      </a:r>
                      <a:endParaRPr lang="ru-RU" sz="1400" noProof="1"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</a:endParaRPr>
                    </a:p>
                  </a:txBody>
                  <a:tcPr marL="28691" marR="28691" marT="0" marB="0"/>
                </a:tc>
                <a:extLst>
                  <a:ext uri="{0D108BD9-81ED-4DB2-BD59-A6C34878D82A}">
                    <a16:rowId xmlns:a16="http://schemas.microsoft.com/office/drawing/2014/main" val="2746332522"/>
                  </a:ext>
                </a:extLst>
              </a:tr>
              <a:tr h="174369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r>
                        <a:rPr lang="ru-RU" sz="1400" noProof="1">
                          <a:effectLst/>
                          <a:highlight>
                            <a:srgbClr val="FFFFFF"/>
                          </a:highlight>
                        </a:rPr>
                        <a:t>1.4</a:t>
                      </a:r>
                      <a:endParaRPr lang="ru-RU" sz="1400" noProof="1"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</a:endParaRPr>
                    </a:p>
                  </a:txBody>
                  <a:tcPr marL="28691" marR="28691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</a:pPr>
                      <a:r>
                        <a:rPr lang="ru-RU" sz="1400" noProof="1">
                          <a:effectLst/>
                          <a:highlight>
                            <a:srgbClr val="FFFFFF"/>
                          </a:highlight>
                        </a:rPr>
                        <a:t>Методы оценки</a:t>
                      </a:r>
                      <a:endParaRPr lang="ru-RU" sz="1400" noProof="1"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</a:endParaRPr>
                    </a:p>
                  </a:txBody>
                  <a:tcPr marL="28691" marR="28691" marT="0" marB="0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</a:pPr>
                      <a:r>
                        <a:rPr lang="ru-RU" sz="1400" noProof="1">
                          <a:effectLst/>
                          <a:highlight>
                            <a:srgbClr val="FFFFFF"/>
                          </a:highlight>
                        </a:rPr>
                        <a:t>4</a:t>
                      </a:r>
                      <a:endParaRPr lang="ru-RU" sz="1400" noProof="1"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</a:endParaRPr>
                    </a:p>
                  </a:txBody>
                  <a:tcPr marL="28691" marR="28691" marT="0" marB="0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</a:pPr>
                      <a:r>
                        <a:rPr lang="ru-RU" sz="1400" noProof="1">
                          <a:effectLst/>
                          <a:highlight>
                            <a:srgbClr val="FFFFFF"/>
                          </a:highlight>
                        </a:rPr>
                        <a:t>4</a:t>
                      </a:r>
                      <a:endParaRPr lang="ru-RU" sz="1400" noProof="1"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</a:endParaRPr>
                    </a:p>
                  </a:txBody>
                  <a:tcPr marL="28691" marR="28691" marT="0" marB="0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</a:pPr>
                      <a:r>
                        <a:rPr lang="ru-RU" sz="1400" noProof="1">
                          <a:effectLst/>
                          <a:highlight>
                            <a:srgbClr val="FFFFFF"/>
                          </a:highlight>
                        </a:rPr>
                        <a:t>8</a:t>
                      </a:r>
                      <a:endParaRPr lang="ru-RU" sz="1400" noProof="1"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</a:endParaRPr>
                    </a:p>
                  </a:txBody>
                  <a:tcPr marL="28691" marR="28691" marT="0" marB="0"/>
                </a:tc>
                <a:extLst>
                  <a:ext uri="{0D108BD9-81ED-4DB2-BD59-A6C34878D82A}">
                    <a16:rowId xmlns:a16="http://schemas.microsoft.com/office/drawing/2014/main" val="2265337661"/>
                  </a:ext>
                </a:extLst>
              </a:tr>
              <a:tr h="253684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r>
                        <a:rPr lang="ru-RU" sz="1400" noProof="1">
                          <a:effectLst/>
                          <a:highlight>
                            <a:srgbClr val="FFFFFF"/>
                          </a:highlight>
                        </a:rPr>
                        <a:t>1.5</a:t>
                      </a:r>
                      <a:endParaRPr lang="ru-RU" sz="1400" noProof="1"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</a:endParaRPr>
                    </a:p>
                  </a:txBody>
                  <a:tcPr marL="28691" marR="28691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</a:pPr>
                      <a:r>
                        <a:rPr lang="ru-RU" sz="1400" noProof="1">
                          <a:effectLst/>
                          <a:highlight>
                            <a:srgbClr val="FFFFFF"/>
                          </a:highlight>
                        </a:rPr>
                        <a:t>Принцип работы карточек Scaffold. Выполнение практического задания.</a:t>
                      </a:r>
                      <a:endParaRPr lang="ru-RU" sz="1400" noProof="1"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</a:endParaRPr>
                    </a:p>
                  </a:txBody>
                  <a:tcPr marL="28691" marR="28691" marT="0" marB="0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</a:pPr>
                      <a:r>
                        <a:rPr lang="ru-RU" sz="1400" noProof="1">
                          <a:effectLst/>
                          <a:highlight>
                            <a:srgbClr val="FFFFFF"/>
                          </a:highlight>
                        </a:rPr>
                        <a:t>2</a:t>
                      </a:r>
                      <a:endParaRPr lang="ru-RU" sz="1400" noProof="1"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</a:endParaRPr>
                    </a:p>
                  </a:txBody>
                  <a:tcPr marL="28691" marR="28691" marT="0" marB="0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</a:pPr>
                      <a:r>
                        <a:rPr lang="ru-RU" sz="1400" noProof="1">
                          <a:effectLst/>
                          <a:highlight>
                            <a:srgbClr val="FFFFFF"/>
                          </a:highlight>
                        </a:rPr>
                        <a:t>2</a:t>
                      </a:r>
                      <a:endParaRPr lang="ru-RU" sz="1400" noProof="1"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</a:endParaRPr>
                    </a:p>
                  </a:txBody>
                  <a:tcPr marL="28691" marR="28691" marT="0" marB="0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</a:pPr>
                      <a:r>
                        <a:rPr lang="ru-RU" sz="1400" noProof="1">
                          <a:effectLst/>
                          <a:highlight>
                            <a:srgbClr val="FFFFFF"/>
                          </a:highlight>
                        </a:rPr>
                        <a:t>4</a:t>
                      </a:r>
                      <a:endParaRPr lang="ru-RU" sz="1400" noProof="1"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</a:endParaRPr>
                    </a:p>
                  </a:txBody>
                  <a:tcPr marL="28691" marR="28691" marT="0" marB="0"/>
                </a:tc>
                <a:extLst>
                  <a:ext uri="{0D108BD9-81ED-4DB2-BD59-A6C34878D82A}">
                    <a16:rowId xmlns:a16="http://schemas.microsoft.com/office/drawing/2014/main" val="3270675142"/>
                  </a:ext>
                </a:extLst>
              </a:tr>
              <a:tr h="196477">
                <a:tc gridSpan="5"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</a:pPr>
                      <a:r>
                        <a:rPr lang="ru-RU" sz="1400" noProof="1">
                          <a:effectLst/>
                          <a:highlight>
                            <a:srgbClr val="FFFFFF"/>
                          </a:highlight>
                        </a:rPr>
                        <a:t> </a:t>
                      </a:r>
                      <a:endParaRPr lang="ru-RU" sz="1400" noProof="1"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</a:endParaRPr>
                    </a:p>
                  </a:txBody>
                  <a:tcPr marL="28691" marR="28691" marT="0" marB="0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</a:pPr>
                      <a:endParaRPr lang="ru-RU" sz="1400"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</a:endParaRPr>
                    </a:p>
                  </a:txBody>
                  <a:tcPr marL="28691" marR="28691" marT="0" marB="0"/>
                </a:tc>
                <a:extLst>
                  <a:ext uri="{0D108BD9-81ED-4DB2-BD59-A6C34878D82A}">
                    <a16:rowId xmlns:a16="http://schemas.microsoft.com/office/drawing/2014/main" val="1469701628"/>
                  </a:ext>
                </a:extLst>
              </a:tr>
              <a:tr h="343389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r>
                        <a:rPr lang="ru-RU" sz="1400" noProof="1">
                          <a:effectLst/>
                          <a:highlight>
                            <a:srgbClr val="FFFFFF"/>
                          </a:highlight>
                        </a:rPr>
                        <a:t>2</a:t>
                      </a:r>
                      <a:endParaRPr lang="ru-RU" sz="1400" noProof="1"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</a:endParaRPr>
                    </a:p>
                  </a:txBody>
                  <a:tcPr marL="28691" marR="28691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</a:pPr>
                      <a:r>
                        <a:rPr lang="ru-RU" sz="1400" b="1" noProof="1">
                          <a:effectLst/>
                          <a:highlight>
                            <a:srgbClr val="FFFFFF"/>
                          </a:highlight>
                        </a:rPr>
                        <a:t>Модуль 2. Планирование урока через призму матрицы компетенций</a:t>
                      </a:r>
                      <a:endParaRPr lang="ru-RU" sz="1400" b="1" noProof="1"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</a:endParaRPr>
                    </a:p>
                  </a:txBody>
                  <a:tcPr marL="28691" marR="28691" marT="0" marB="0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</a:pPr>
                      <a:r>
                        <a:rPr lang="ru-RU" sz="1400" b="1" noProof="1">
                          <a:effectLst/>
                          <a:highlight>
                            <a:srgbClr val="FFFFFF"/>
                          </a:highlight>
                        </a:rPr>
                        <a:t>5</a:t>
                      </a:r>
                      <a:endParaRPr lang="ru-RU" sz="1400" b="1" noProof="1"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</a:endParaRPr>
                    </a:p>
                  </a:txBody>
                  <a:tcPr marL="28691" marR="28691" marT="0" marB="0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</a:pPr>
                      <a:r>
                        <a:rPr lang="ru-RU" sz="1400" b="1" noProof="1">
                          <a:effectLst/>
                          <a:highlight>
                            <a:srgbClr val="FFFFFF"/>
                          </a:highlight>
                        </a:rPr>
                        <a:t>31</a:t>
                      </a:r>
                      <a:endParaRPr lang="ru-RU" sz="1400" b="1" noProof="1"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</a:endParaRPr>
                    </a:p>
                  </a:txBody>
                  <a:tcPr marL="28691" marR="28691" marT="0" marB="0"/>
                </a:tc>
                <a:tc>
                  <a:txBody>
                    <a:bodyPr/>
                    <a:lstStyle/>
                    <a:p>
                      <a:pPr marR="25400"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b="1" noProof="1">
                          <a:effectLst/>
                          <a:highlight>
                            <a:srgbClr val="FFFFFF"/>
                          </a:highlight>
                        </a:rPr>
                        <a:t>36</a:t>
                      </a:r>
                      <a:endParaRPr lang="ru-RU" sz="1400" b="1" noProof="1"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</a:endParaRPr>
                    </a:p>
                  </a:txBody>
                  <a:tcPr marL="28691" marR="28691" marT="0" marB="0"/>
                </a:tc>
                <a:extLst>
                  <a:ext uri="{0D108BD9-81ED-4DB2-BD59-A6C34878D82A}">
                    <a16:rowId xmlns:a16="http://schemas.microsoft.com/office/drawing/2014/main" val="710531850"/>
                  </a:ext>
                </a:extLst>
              </a:tr>
              <a:tr h="456734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r>
                        <a:rPr lang="ru-RU" sz="1400" noProof="1">
                          <a:effectLst/>
                          <a:highlight>
                            <a:srgbClr val="FFFFFF"/>
                          </a:highlight>
                        </a:rPr>
                        <a:t>2.1</a:t>
                      </a:r>
                      <a:endParaRPr lang="ru-RU" sz="1400" noProof="1"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</a:endParaRPr>
                    </a:p>
                  </a:txBody>
                  <a:tcPr marL="28691" marR="28691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</a:pPr>
                      <a:r>
                        <a:rPr lang="ru-RU" sz="1400" noProof="1">
                          <a:effectLst/>
                          <a:highlight>
                            <a:srgbClr val="FFFFFF"/>
                          </a:highlight>
                        </a:rPr>
                        <a:t>Предпринимательские компетенции - конкурентоспособность и карьерный рост специалиста</a:t>
                      </a:r>
                      <a:endParaRPr lang="ru-RU" sz="1400" noProof="1"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</a:endParaRPr>
                    </a:p>
                  </a:txBody>
                  <a:tcPr marL="28691" marR="28691" marT="0" marB="0"/>
                </a:tc>
                <a:tc>
                  <a:txBody>
                    <a:bodyPr/>
                    <a:lstStyle/>
                    <a:p>
                      <a:pPr marR="88900"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noProof="1">
                          <a:effectLst/>
                          <a:highlight>
                            <a:srgbClr val="FFFFFF"/>
                          </a:highlight>
                        </a:rPr>
                        <a:t>1</a:t>
                      </a:r>
                      <a:endParaRPr lang="ru-RU" sz="1400" noProof="1"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</a:endParaRPr>
                    </a:p>
                  </a:txBody>
                  <a:tcPr marL="28691" marR="28691" marT="0" marB="0"/>
                </a:tc>
                <a:tc>
                  <a:txBody>
                    <a:bodyPr/>
                    <a:lstStyle/>
                    <a:p>
                      <a:pPr marR="88900"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noProof="1">
                          <a:effectLst/>
                          <a:highlight>
                            <a:srgbClr val="FFFFFF"/>
                          </a:highlight>
                        </a:rPr>
                        <a:t>5</a:t>
                      </a:r>
                      <a:endParaRPr lang="ru-RU" sz="1400" noProof="1"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</a:endParaRPr>
                    </a:p>
                  </a:txBody>
                  <a:tcPr marL="28691" marR="28691" marT="0" marB="0"/>
                </a:tc>
                <a:tc>
                  <a:txBody>
                    <a:bodyPr/>
                    <a:lstStyle/>
                    <a:p>
                      <a:pPr marR="88900"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noProof="1">
                          <a:effectLst/>
                          <a:highlight>
                            <a:srgbClr val="FFFFFF"/>
                          </a:highlight>
                        </a:rPr>
                        <a:t>6</a:t>
                      </a:r>
                      <a:endParaRPr lang="ru-RU" sz="1400" noProof="1"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</a:endParaRPr>
                    </a:p>
                  </a:txBody>
                  <a:tcPr marL="28691" marR="28691" marT="0" marB="0"/>
                </a:tc>
                <a:extLst>
                  <a:ext uri="{0D108BD9-81ED-4DB2-BD59-A6C34878D82A}">
                    <a16:rowId xmlns:a16="http://schemas.microsoft.com/office/drawing/2014/main" val="1174371152"/>
                  </a:ext>
                </a:extLst>
              </a:tr>
              <a:tr h="385880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r>
                        <a:rPr lang="ru-RU" sz="1400" noProof="1">
                          <a:effectLst/>
                          <a:highlight>
                            <a:srgbClr val="FFFFFF"/>
                          </a:highlight>
                        </a:rPr>
                        <a:t>2.2</a:t>
                      </a:r>
                      <a:endParaRPr lang="ru-RU" sz="1400" noProof="1"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</a:endParaRPr>
                    </a:p>
                  </a:txBody>
                  <a:tcPr marL="28691" marR="28691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</a:pPr>
                      <a:r>
                        <a:rPr lang="ru-RU" sz="1400" noProof="1">
                          <a:effectLst/>
                          <a:highlight>
                            <a:srgbClr val="FFFFFF"/>
                          </a:highlight>
                        </a:rPr>
                        <a:t>Цифровые компетенции - профессиональный рост и мотивация к вызовам будущего</a:t>
                      </a:r>
                      <a:endParaRPr lang="ru-RU" sz="1400" noProof="1"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</a:endParaRPr>
                    </a:p>
                  </a:txBody>
                  <a:tcPr marL="28691" marR="28691" marT="0" marB="0"/>
                </a:tc>
                <a:tc>
                  <a:txBody>
                    <a:bodyPr/>
                    <a:lstStyle/>
                    <a:p>
                      <a:pPr marR="88900"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noProof="1">
                          <a:effectLst/>
                          <a:highlight>
                            <a:srgbClr val="FFFFFF"/>
                          </a:highlight>
                        </a:rPr>
                        <a:t>1</a:t>
                      </a:r>
                      <a:endParaRPr lang="ru-RU" sz="1400" noProof="1"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</a:endParaRPr>
                    </a:p>
                  </a:txBody>
                  <a:tcPr marL="28691" marR="28691" marT="0" marB="0"/>
                </a:tc>
                <a:tc>
                  <a:txBody>
                    <a:bodyPr/>
                    <a:lstStyle/>
                    <a:p>
                      <a:pPr marR="88900"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noProof="1">
                          <a:effectLst/>
                          <a:highlight>
                            <a:srgbClr val="FFFFFF"/>
                          </a:highlight>
                        </a:rPr>
                        <a:t>5</a:t>
                      </a:r>
                      <a:endParaRPr lang="ru-RU" sz="1400" noProof="1"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</a:endParaRPr>
                    </a:p>
                  </a:txBody>
                  <a:tcPr marL="28691" marR="28691" marT="0" marB="0"/>
                </a:tc>
                <a:tc>
                  <a:txBody>
                    <a:bodyPr/>
                    <a:lstStyle/>
                    <a:p>
                      <a:pPr marR="88900"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noProof="1">
                          <a:effectLst/>
                          <a:highlight>
                            <a:srgbClr val="FFFFFF"/>
                          </a:highlight>
                        </a:rPr>
                        <a:t>6</a:t>
                      </a:r>
                      <a:endParaRPr lang="ru-RU" sz="1400" noProof="1"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</a:endParaRPr>
                    </a:p>
                  </a:txBody>
                  <a:tcPr marL="28691" marR="28691" marT="0" marB="0"/>
                </a:tc>
                <a:extLst>
                  <a:ext uri="{0D108BD9-81ED-4DB2-BD59-A6C34878D82A}">
                    <a16:rowId xmlns:a16="http://schemas.microsoft.com/office/drawing/2014/main" val="1153196112"/>
                  </a:ext>
                </a:extLst>
              </a:tr>
              <a:tr h="385880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r>
                        <a:rPr lang="ru-RU" sz="1400" noProof="1">
                          <a:effectLst/>
                          <a:highlight>
                            <a:srgbClr val="FFFFFF"/>
                          </a:highlight>
                        </a:rPr>
                        <a:t>2.3</a:t>
                      </a:r>
                      <a:endParaRPr lang="ru-RU" sz="1400" noProof="1"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</a:endParaRPr>
                    </a:p>
                  </a:txBody>
                  <a:tcPr marL="28691" marR="28691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</a:pPr>
                      <a:r>
                        <a:rPr lang="ru-RU" sz="1400" noProof="1">
                          <a:effectLst/>
                          <a:highlight>
                            <a:srgbClr val="FFFFFF"/>
                          </a:highlight>
                        </a:rPr>
                        <a:t>Компетенции в области устойчивого развития-основа для устойчивого и гармоничного развития общества</a:t>
                      </a:r>
                      <a:endParaRPr lang="ru-RU" sz="1400" noProof="1"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</a:endParaRPr>
                    </a:p>
                  </a:txBody>
                  <a:tcPr marL="28691" marR="28691" marT="0" marB="0"/>
                </a:tc>
                <a:tc>
                  <a:txBody>
                    <a:bodyPr/>
                    <a:lstStyle/>
                    <a:p>
                      <a:pPr marR="88900"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noProof="1">
                          <a:effectLst/>
                          <a:highlight>
                            <a:srgbClr val="FFFFFF"/>
                          </a:highlight>
                        </a:rPr>
                        <a:t>1</a:t>
                      </a:r>
                      <a:endParaRPr lang="ru-RU" sz="1400" noProof="1">
                        <a:effectLst/>
                      </a:endParaRPr>
                    </a:p>
                    <a:p>
                      <a:pPr marR="88900"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noProof="1">
                          <a:effectLst/>
                          <a:highlight>
                            <a:srgbClr val="FFFFFF"/>
                          </a:highlight>
                        </a:rPr>
                        <a:t> </a:t>
                      </a:r>
                      <a:endParaRPr lang="ru-RU" sz="1400" noProof="1"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</a:endParaRPr>
                    </a:p>
                  </a:txBody>
                  <a:tcPr marL="28691" marR="28691" marT="0" marB="0"/>
                </a:tc>
                <a:tc>
                  <a:txBody>
                    <a:bodyPr/>
                    <a:lstStyle/>
                    <a:p>
                      <a:pPr marR="88900"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noProof="1">
                          <a:effectLst/>
                          <a:highlight>
                            <a:srgbClr val="FFFFFF"/>
                          </a:highlight>
                        </a:rPr>
                        <a:t>5</a:t>
                      </a:r>
                      <a:endParaRPr lang="ru-RU" sz="1400" noProof="1"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</a:endParaRPr>
                    </a:p>
                  </a:txBody>
                  <a:tcPr marL="28691" marR="28691" marT="0" marB="0"/>
                </a:tc>
                <a:tc>
                  <a:txBody>
                    <a:bodyPr/>
                    <a:lstStyle/>
                    <a:p>
                      <a:pPr marR="88900"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noProof="1">
                          <a:effectLst/>
                          <a:highlight>
                            <a:srgbClr val="FFFFFF"/>
                          </a:highlight>
                        </a:rPr>
                        <a:t>6</a:t>
                      </a:r>
                      <a:endParaRPr lang="ru-RU" sz="1400" noProof="1"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</a:endParaRPr>
                    </a:p>
                  </a:txBody>
                  <a:tcPr marL="28691" marR="28691" marT="0" marB="0"/>
                </a:tc>
                <a:extLst>
                  <a:ext uri="{0D108BD9-81ED-4DB2-BD59-A6C34878D82A}">
                    <a16:rowId xmlns:a16="http://schemas.microsoft.com/office/drawing/2014/main" val="202645531"/>
                  </a:ext>
                </a:extLst>
              </a:tr>
              <a:tr h="518076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r>
                        <a:rPr lang="ru-RU" sz="1400" noProof="1">
                          <a:effectLst/>
                          <a:highlight>
                            <a:srgbClr val="FFFFFF"/>
                          </a:highlight>
                        </a:rPr>
                        <a:t>2.4</a:t>
                      </a:r>
                      <a:endParaRPr lang="ru-RU" sz="1400" noProof="1"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</a:endParaRPr>
                    </a:p>
                  </a:txBody>
                  <a:tcPr marL="28691" marR="28691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</a:pPr>
                      <a:r>
                        <a:rPr lang="ru-RU" sz="1400" noProof="1">
                          <a:effectLst/>
                          <a:highlight>
                            <a:srgbClr val="FFFFFF"/>
                          </a:highlight>
                        </a:rPr>
                        <a:t>Личностные, социальные компетенции и компетенция «Умение обучаться» - метанавыки  результативности деятельности</a:t>
                      </a:r>
                      <a:endParaRPr lang="ru-RU" sz="1400" noProof="1"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</a:endParaRPr>
                    </a:p>
                  </a:txBody>
                  <a:tcPr marL="28691" marR="28691" marT="0" marB="0"/>
                </a:tc>
                <a:tc>
                  <a:txBody>
                    <a:bodyPr/>
                    <a:lstStyle/>
                    <a:p>
                      <a:pPr marR="88900"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noProof="1">
                          <a:effectLst/>
                          <a:highlight>
                            <a:srgbClr val="FFFFFF"/>
                          </a:highlight>
                        </a:rPr>
                        <a:t>1</a:t>
                      </a:r>
                      <a:endParaRPr lang="ru-RU" sz="1400" noProof="1"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</a:endParaRPr>
                    </a:p>
                  </a:txBody>
                  <a:tcPr marL="28691" marR="28691" marT="0" marB="0"/>
                </a:tc>
                <a:tc>
                  <a:txBody>
                    <a:bodyPr/>
                    <a:lstStyle/>
                    <a:p>
                      <a:pPr marR="88900"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noProof="1">
                          <a:effectLst/>
                          <a:highlight>
                            <a:srgbClr val="FFFFFF"/>
                          </a:highlight>
                        </a:rPr>
                        <a:t>7</a:t>
                      </a:r>
                      <a:endParaRPr lang="ru-RU" sz="1400" noProof="1"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</a:endParaRPr>
                    </a:p>
                  </a:txBody>
                  <a:tcPr marL="28691" marR="28691" marT="0" marB="0"/>
                </a:tc>
                <a:tc>
                  <a:txBody>
                    <a:bodyPr/>
                    <a:lstStyle/>
                    <a:p>
                      <a:pPr marR="88900"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noProof="1">
                          <a:effectLst/>
                          <a:highlight>
                            <a:srgbClr val="FFFFFF"/>
                          </a:highlight>
                        </a:rPr>
                        <a:t>8</a:t>
                      </a:r>
                      <a:endParaRPr lang="ru-RU" sz="1400" noProof="1"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</a:endParaRPr>
                    </a:p>
                  </a:txBody>
                  <a:tcPr marL="28691" marR="28691" marT="0" marB="0"/>
                </a:tc>
                <a:extLst>
                  <a:ext uri="{0D108BD9-81ED-4DB2-BD59-A6C34878D82A}">
                    <a16:rowId xmlns:a16="http://schemas.microsoft.com/office/drawing/2014/main" val="2362323060"/>
                  </a:ext>
                </a:extLst>
              </a:tr>
              <a:tr h="253684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r>
                        <a:rPr lang="ru-RU" sz="1400" noProof="1">
                          <a:effectLst/>
                          <a:highlight>
                            <a:srgbClr val="FFFFFF"/>
                          </a:highlight>
                        </a:rPr>
                        <a:t>2.5</a:t>
                      </a:r>
                      <a:endParaRPr lang="ru-RU" sz="1400" noProof="1"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</a:endParaRPr>
                    </a:p>
                  </a:txBody>
                  <a:tcPr marL="28691" marR="28691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</a:pPr>
                      <a:r>
                        <a:rPr lang="ru-RU" sz="1400" noProof="1">
                          <a:effectLst/>
                          <a:highlight>
                            <a:srgbClr val="FFFFFF"/>
                          </a:highlight>
                        </a:rPr>
                        <a:t>Оценка эффективности применения инструмента Scaffold</a:t>
                      </a:r>
                      <a:endParaRPr lang="ru-RU" sz="1400" noProof="1"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</a:endParaRPr>
                    </a:p>
                  </a:txBody>
                  <a:tcPr marL="28691" marR="28691" marT="0" marB="0"/>
                </a:tc>
                <a:tc>
                  <a:txBody>
                    <a:bodyPr/>
                    <a:lstStyle/>
                    <a:p>
                      <a:pPr marR="88900"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noProof="1">
                          <a:effectLst/>
                          <a:highlight>
                            <a:srgbClr val="FFFFFF"/>
                          </a:highlight>
                        </a:rPr>
                        <a:t>1</a:t>
                      </a:r>
                      <a:endParaRPr lang="ru-RU" sz="1400" noProof="1"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</a:endParaRPr>
                    </a:p>
                  </a:txBody>
                  <a:tcPr marL="28691" marR="28691" marT="0" marB="0"/>
                </a:tc>
                <a:tc>
                  <a:txBody>
                    <a:bodyPr/>
                    <a:lstStyle/>
                    <a:p>
                      <a:pPr marR="88900"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noProof="1">
                          <a:effectLst/>
                          <a:highlight>
                            <a:srgbClr val="FFFFFF"/>
                          </a:highlight>
                        </a:rPr>
                        <a:t>3</a:t>
                      </a:r>
                      <a:endParaRPr lang="ru-RU" sz="1400" noProof="1"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</a:endParaRPr>
                    </a:p>
                  </a:txBody>
                  <a:tcPr marL="28691" marR="28691" marT="0" marB="0"/>
                </a:tc>
                <a:tc>
                  <a:txBody>
                    <a:bodyPr/>
                    <a:lstStyle/>
                    <a:p>
                      <a:pPr marR="88900"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noProof="1">
                          <a:effectLst/>
                          <a:highlight>
                            <a:srgbClr val="FFFFFF"/>
                          </a:highlight>
                        </a:rPr>
                        <a:t>4</a:t>
                      </a:r>
                      <a:endParaRPr lang="ru-RU" sz="1400" noProof="1"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</a:endParaRPr>
                    </a:p>
                  </a:txBody>
                  <a:tcPr marL="28691" marR="28691" marT="0" marB="0"/>
                </a:tc>
                <a:extLst>
                  <a:ext uri="{0D108BD9-81ED-4DB2-BD59-A6C34878D82A}">
                    <a16:rowId xmlns:a16="http://schemas.microsoft.com/office/drawing/2014/main" val="1655752040"/>
                  </a:ext>
                </a:extLst>
              </a:tr>
              <a:tr h="123163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r>
                        <a:rPr lang="ru-RU" sz="1400" noProof="1">
                          <a:effectLst/>
                          <a:highlight>
                            <a:srgbClr val="FFFFFF"/>
                          </a:highlight>
                        </a:rPr>
                        <a:t>2.6</a:t>
                      </a:r>
                      <a:endParaRPr lang="ru-RU" sz="1400" noProof="1"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</a:endParaRPr>
                    </a:p>
                  </a:txBody>
                  <a:tcPr marL="28691" marR="28691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</a:pPr>
                      <a:r>
                        <a:rPr lang="ru-RU" sz="1400" noProof="1">
                          <a:effectLst/>
                          <a:highlight>
                            <a:srgbClr val="FFFFFF"/>
                          </a:highlight>
                        </a:rPr>
                        <a:t>Демонстрация проекта</a:t>
                      </a:r>
                      <a:endParaRPr lang="ru-RU" sz="1400" noProof="1"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</a:endParaRPr>
                    </a:p>
                  </a:txBody>
                  <a:tcPr marL="28691" marR="28691" marT="0" marB="0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</a:pPr>
                      <a:r>
                        <a:rPr lang="ru-RU" sz="1400" noProof="1">
                          <a:effectLst/>
                          <a:highlight>
                            <a:srgbClr val="FFFFFF"/>
                          </a:highlight>
                        </a:rPr>
                        <a:t> </a:t>
                      </a:r>
                      <a:endParaRPr lang="ru-RU" sz="1400" noProof="1"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</a:endParaRPr>
                    </a:p>
                  </a:txBody>
                  <a:tcPr marL="28691" marR="28691" marT="0" marB="0"/>
                </a:tc>
                <a:tc>
                  <a:txBody>
                    <a:bodyPr/>
                    <a:lstStyle/>
                    <a:p>
                      <a:pPr marR="88900"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noProof="1">
                          <a:effectLst/>
                          <a:highlight>
                            <a:srgbClr val="FFFFFF"/>
                          </a:highlight>
                        </a:rPr>
                        <a:t>4</a:t>
                      </a:r>
                      <a:endParaRPr lang="ru-RU" sz="1400" noProof="1"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</a:endParaRPr>
                    </a:p>
                  </a:txBody>
                  <a:tcPr marL="28691" marR="28691" marT="0" marB="0"/>
                </a:tc>
                <a:tc>
                  <a:txBody>
                    <a:bodyPr/>
                    <a:lstStyle/>
                    <a:p>
                      <a:pPr marR="88900"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noProof="1">
                          <a:effectLst/>
                          <a:highlight>
                            <a:srgbClr val="FFFFFF"/>
                          </a:highlight>
                        </a:rPr>
                        <a:t>4</a:t>
                      </a:r>
                      <a:endParaRPr lang="ru-RU" sz="1400" noProof="1"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</a:endParaRPr>
                    </a:p>
                  </a:txBody>
                  <a:tcPr marL="28691" marR="28691" marT="0" marB="0"/>
                </a:tc>
                <a:extLst>
                  <a:ext uri="{0D108BD9-81ED-4DB2-BD59-A6C34878D82A}">
                    <a16:rowId xmlns:a16="http://schemas.microsoft.com/office/drawing/2014/main" val="3470486197"/>
                  </a:ext>
                </a:extLst>
              </a:tr>
              <a:tr h="121489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r>
                        <a:rPr lang="ru-RU" sz="1400" noProof="1">
                          <a:effectLst/>
                          <a:highlight>
                            <a:srgbClr val="FFFFFF"/>
                          </a:highlight>
                        </a:rPr>
                        <a:t> </a:t>
                      </a:r>
                      <a:endParaRPr lang="ru-RU" sz="1400" noProof="1"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</a:endParaRPr>
                    </a:p>
                  </a:txBody>
                  <a:tcPr marL="28691" marR="28691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</a:pPr>
                      <a:r>
                        <a:rPr lang="ru-RU" sz="1400" noProof="1">
                          <a:effectLst/>
                          <a:highlight>
                            <a:srgbClr val="FFFFFF"/>
                          </a:highlight>
                        </a:rPr>
                        <a:t>Итоговое оценивание</a:t>
                      </a:r>
                      <a:endParaRPr lang="ru-RU" sz="1400" noProof="1"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</a:endParaRPr>
                    </a:p>
                  </a:txBody>
                  <a:tcPr marL="28691" marR="28691" marT="0" marB="0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</a:pPr>
                      <a:r>
                        <a:rPr lang="ru-RU" sz="1400" noProof="1">
                          <a:effectLst/>
                          <a:highlight>
                            <a:srgbClr val="FFFFFF"/>
                          </a:highlight>
                        </a:rPr>
                        <a:t> </a:t>
                      </a:r>
                      <a:endParaRPr lang="ru-RU" sz="1400" noProof="1"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</a:endParaRPr>
                    </a:p>
                  </a:txBody>
                  <a:tcPr marL="28691" marR="28691" marT="0" marB="0"/>
                </a:tc>
                <a:tc>
                  <a:txBody>
                    <a:bodyPr/>
                    <a:lstStyle/>
                    <a:p>
                      <a:pPr marR="88900"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noProof="1">
                          <a:effectLst/>
                          <a:highlight>
                            <a:srgbClr val="FFFFFF"/>
                          </a:highlight>
                        </a:rPr>
                        <a:t>2</a:t>
                      </a:r>
                      <a:endParaRPr lang="ru-RU" sz="1400" noProof="1"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</a:endParaRPr>
                    </a:p>
                  </a:txBody>
                  <a:tcPr marL="28691" marR="28691" marT="0" marB="0"/>
                </a:tc>
                <a:tc>
                  <a:txBody>
                    <a:bodyPr/>
                    <a:lstStyle/>
                    <a:p>
                      <a:pPr marR="88900"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noProof="1">
                          <a:effectLst/>
                          <a:highlight>
                            <a:srgbClr val="FFFFFF"/>
                          </a:highlight>
                        </a:rPr>
                        <a:t>2</a:t>
                      </a:r>
                      <a:endParaRPr lang="ru-RU" sz="1400" noProof="1"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</a:endParaRPr>
                    </a:p>
                  </a:txBody>
                  <a:tcPr marL="28691" marR="28691" marT="0" marB="0"/>
                </a:tc>
                <a:extLst>
                  <a:ext uri="{0D108BD9-81ED-4DB2-BD59-A6C34878D82A}">
                    <a16:rowId xmlns:a16="http://schemas.microsoft.com/office/drawing/2014/main" val="3744704367"/>
                  </a:ext>
                </a:extLst>
              </a:tr>
              <a:tr h="179614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r>
                        <a:rPr lang="ru-RU" sz="1400" noProof="1">
                          <a:effectLst/>
                          <a:highlight>
                            <a:srgbClr val="FFFFFF"/>
                          </a:highlight>
                        </a:rPr>
                        <a:t> </a:t>
                      </a:r>
                      <a:endParaRPr lang="ru-RU" sz="1400" noProof="1"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</a:endParaRPr>
                    </a:p>
                  </a:txBody>
                  <a:tcPr marL="28691" marR="28691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</a:pPr>
                      <a:r>
                        <a:rPr lang="ru-RU" sz="1400" noProof="1">
                          <a:effectLst/>
                          <a:highlight>
                            <a:srgbClr val="FFFFFF"/>
                          </a:highlight>
                        </a:rPr>
                        <a:t>Всего по программе</a:t>
                      </a:r>
                      <a:endParaRPr lang="ru-RU" sz="1400" noProof="1"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</a:endParaRPr>
                    </a:p>
                  </a:txBody>
                  <a:tcPr marL="28691" marR="28691" marT="0" marB="0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</a:pPr>
                      <a:r>
                        <a:rPr lang="ru-RU" sz="1400" b="1" noProof="1">
                          <a:effectLst/>
                          <a:highlight>
                            <a:srgbClr val="FFFFFF"/>
                          </a:highlight>
                        </a:rPr>
                        <a:t>23</a:t>
                      </a:r>
                      <a:endParaRPr lang="ru-RU" sz="1400" b="1" noProof="1"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</a:endParaRPr>
                    </a:p>
                  </a:txBody>
                  <a:tcPr marL="28691" marR="28691" marT="0" marB="0"/>
                </a:tc>
                <a:tc>
                  <a:txBody>
                    <a:bodyPr/>
                    <a:lstStyle/>
                    <a:p>
                      <a:pPr marR="88900"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b="1" noProof="1">
                          <a:effectLst/>
                          <a:highlight>
                            <a:srgbClr val="FFFFFF"/>
                          </a:highlight>
                        </a:rPr>
                        <a:t>49</a:t>
                      </a:r>
                      <a:endParaRPr lang="ru-RU" sz="1400" b="1" noProof="1"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</a:endParaRPr>
                    </a:p>
                  </a:txBody>
                  <a:tcPr marL="28691" marR="28691" marT="0" marB="0"/>
                </a:tc>
                <a:tc>
                  <a:txBody>
                    <a:bodyPr/>
                    <a:lstStyle/>
                    <a:p>
                      <a:pPr marR="88900"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b="1" noProof="1">
                          <a:effectLst/>
                          <a:highlight>
                            <a:srgbClr val="FFFFFF"/>
                          </a:highlight>
                        </a:rPr>
                        <a:t>72</a:t>
                      </a:r>
                      <a:endParaRPr lang="ru-RU" sz="1400" b="1" noProof="1"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</a:endParaRPr>
                    </a:p>
                  </a:txBody>
                  <a:tcPr marL="28691" marR="28691" marT="0" marB="0"/>
                </a:tc>
                <a:extLst>
                  <a:ext uri="{0D108BD9-81ED-4DB2-BD59-A6C34878D82A}">
                    <a16:rowId xmlns:a16="http://schemas.microsoft.com/office/drawing/2014/main" val="168613645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51157816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48EAFD26-034B-3262-4B33-2C15DDC0091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ru-RU" noProof="1">
              <a:latin typeface="Arial" panose="020B0604020202020204" pitchFamily="34" charset="0"/>
            </a:endParaRPr>
          </a:p>
        </p:txBody>
      </p:sp>
      <p:sp>
        <p:nvSpPr>
          <p:cNvPr id="5" name="Текст 4">
            <a:extLst>
              <a:ext uri="{FF2B5EF4-FFF2-40B4-BE49-F238E27FC236}">
                <a16:creationId xmlns:a16="http://schemas.microsoft.com/office/drawing/2014/main" id="{BFB99655-C268-4104-AD49-59D91781529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07355" y="1921533"/>
            <a:ext cx="7085111" cy="5014140"/>
          </a:xfrm>
        </p:spPr>
        <p:txBody>
          <a:bodyPr>
            <a:normAutofit/>
          </a:bodyPr>
          <a:lstStyle/>
          <a:p>
            <a:pPr algn="just">
              <a:lnSpc>
                <a:spcPct val="115000"/>
              </a:lnSpc>
            </a:pPr>
            <a:r>
              <a:rPr lang="ru-RU" sz="1800" b="1" noProof="1"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 </a:t>
            </a:r>
            <a:endParaRPr lang="ru-RU" sz="1400" noProof="1">
              <a:effectLst/>
              <a:latin typeface="Arial" panose="020B0604020202020204" pitchFamily="34" charset="0"/>
              <a:ea typeface="Arial" panose="020B0604020202020204" pitchFamily="34" charset="0"/>
            </a:endParaRPr>
          </a:p>
          <a:p>
            <a:pPr algn="just">
              <a:lnSpc>
                <a:spcPct val="115000"/>
              </a:lnSpc>
            </a:pPr>
            <a:r>
              <a:rPr lang="ru-RU" sz="1800" i="1" noProof="1"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 </a:t>
            </a:r>
            <a:r>
              <a:rPr lang="ru-RU" sz="2000" i="1" noProof="1"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Инструкция:</a:t>
            </a:r>
            <a:endParaRPr lang="ru-RU" sz="2000" noProof="1">
              <a:effectLst/>
              <a:latin typeface="Arial" panose="020B0604020202020204" pitchFamily="34" charset="0"/>
              <a:ea typeface="Arial" panose="020B0604020202020204" pitchFamily="34" charset="0"/>
            </a:endParaRPr>
          </a:p>
          <a:p>
            <a:pPr algn="just">
              <a:lnSpc>
                <a:spcPct val="115000"/>
              </a:lnSpc>
            </a:pPr>
            <a:r>
              <a:rPr lang="ru-RU" sz="2000" noProof="1"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1. Работая в группе из 3-4 человек, разработайте мини-игру/игровой прием, основанную на выбранной вами учебной теме (например, экономика, экология, история).</a:t>
            </a:r>
            <a:endParaRPr lang="ru-RU" sz="2000" noProof="1">
              <a:effectLst/>
              <a:latin typeface="Arial" panose="020B0604020202020204" pitchFamily="34" charset="0"/>
              <a:ea typeface="Arial" panose="020B0604020202020204" pitchFamily="34" charset="0"/>
            </a:endParaRPr>
          </a:p>
          <a:p>
            <a:pPr algn="just">
              <a:lnSpc>
                <a:spcPct val="115000"/>
              </a:lnSpc>
            </a:pPr>
            <a:r>
              <a:rPr lang="ru-RU" sz="2000" noProof="1"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2. Игра должна быть ориентирована на активное участие всех студентов, стимулировать их к самостоятельному анализу и выработке решений.</a:t>
            </a:r>
            <a:endParaRPr lang="ru-RU" sz="2000" noProof="1">
              <a:effectLst/>
              <a:latin typeface="Arial" panose="020B0604020202020204" pitchFamily="34" charset="0"/>
              <a:ea typeface="Arial" panose="020B0604020202020204" pitchFamily="34" charset="0"/>
            </a:endParaRPr>
          </a:p>
          <a:p>
            <a:pPr algn="just">
              <a:lnSpc>
                <a:spcPct val="115000"/>
              </a:lnSpc>
            </a:pPr>
            <a:r>
              <a:rPr lang="ru-RU" sz="2000" noProof="1"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3. Проведите игру со слушателями, оцените, насколько она способствует обучению и вовлеченности участников, используя приемы рефлексии.</a:t>
            </a:r>
            <a:endParaRPr lang="ru-RU" sz="2000" noProof="1">
              <a:effectLst/>
              <a:latin typeface="Arial" panose="020B0604020202020204" pitchFamily="34" charset="0"/>
              <a:ea typeface="Arial" panose="020B0604020202020204" pitchFamily="34" charset="0"/>
            </a:endParaRPr>
          </a:p>
          <a:p>
            <a:endParaRPr lang="ru-RU" noProof="1">
              <a:latin typeface="Arial" panose="020B0604020202020204" pitchFamily="34" charset="0"/>
            </a:endParaRPr>
          </a:p>
        </p:txBody>
      </p:sp>
      <p:sp>
        <p:nvSpPr>
          <p:cNvPr id="6" name="Заголовок 5">
            <a:extLst>
              <a:ext uri="{FF2B5EF4-FFF2-40B4-BE49-F238E27FC236}">
                <a16:creationId xmlns:a16="http://schemas.microsoft.com/office/drawing/2014/main" id="{067A54BA-672F-41A5-83BA-590B4F68B6D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7790" y="1031041"/>
            <a:ext cx="7070872" cy="756691"/>
          </a:xfrm>
        </p:spPr>
        <p:txBody>
          <a:bodyPr>
            <a:normAutofit fontScale="90000"/>
          </a:bodyPr>
          <a:lstStyle/>
          <a:p>
            <a:pPr>
              <a:lnSpc>
                <a:spcPct val="115000"/>
              </a:lnSpc>
            </a:pPr>
            <a:r>
              <a:rPr lang="ru-RU" sz="2700" i="1" noProof="1">
                <a:latin typeface="Arial" panose="020B0604020202020204" pitchFamily="34" charset="0"/>
                <a:ea typeface="Times New Roman" panose="02020603050405020304" pitchFamily="18" charset="0"/>
              </a:rPr>
              <a:t>Activity 1.8</a:t>
            </a:r>
            <a:br>
              <a:rPr lang="ru-RU" sz="2700" noProof="1">
                <a:latin typeface="Arial" panose="020B0604020202020204" pitchFamily="34" charset="0"/>
                <a:ea typeface="Arial" panose="020B0604020202020204" pitchFamily="34" charset="0"/>
              </a:rPr>
            </a:br>
            <a:r>
              <a:rPr lang="ru-RU" sz="2700" noProof="1">
                <a:latin typeface="Arial" panose="020B0604020202020204" pitchFamily="34" charset="0"/>
                <a:ea typeface="Times New Roman" panose="02020603050405020304" pitchFamily="18" charset="0"/>
              </a:rPr>
              <a:t>Разработайте образовательную мини-игру/игровой прием, используя карту «Обучение в игровой форме».</a:t>
            </a:r>
            <a:br>
              <a:rPr lang="ru-RU" sz="2400" noProof="1">
                <a:latin typeface="Arial" panose="020B0604020202020204" pitchFamily="34" charset="0"/>
                <a:ea typeface="Arial" panose="020B0604020202020204" pitchFamily="34" charset="0"/>
              </a:rPr>
            </a:br>
            <a:endParaRPr lang="ru-RU" noProof="1">
              <a:latin typeface="Arial" panose="020B0604020202020204" pitchFamily="34" charset="0"/>
            </a:endParaRP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247689D1-4324-80FB-3E99-0450FAB341A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endParaRPr lang="ru-RU" noProof="1">
              <a:latin typeface="Arial" panose="020B0604020202020204" pitchFamily="34" charset="0"/>
            </a:endParaRPr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CA6397A8-21AA-FD60-8E97-48E0C07094F1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/>
        <p:txBody>
          <a:bodyPr/>
          <a:lstStyle/>
          <a:p>
            <a:endParaRPr lang="ru-RU" noProof="1">
              <a:latin typeface="Arial" panose="020B0604020202020204" pitchFamily="34" charset="0"/>
            </a:endParaRPr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664C6179-30B2-875A-B188-652C065B292F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/>
        <p:txBody>
          <a:bodyPr/>
          <a:lstStyle/>
          <a:p>
            <a:endParaRPr lang="ru-RU" noProof="1">
              <a:latin typeface="Arial" panose="020B0604020202020204" pitchFamily="34" charset="0"/>
            </a:endParaRPr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62EF3B4F-9FBD-4711-29C9-9CC60A09D5AF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/>
        <p:txBody>
          <a:bodyPr/>
          <a:lstStyle/>
          <a:p>
            <a:endParaRPr lang="ru-RU" noProof="1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2901065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AC3330B4-9633-533D-9D2A-B27BD60C6B9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ru-RU" noProof="1">
              <a:latin typeface="Arial" panose="020B0604020202020204" pitchFamily="34" charset="0"/>
            </a:endParaRPr>
          </a:p>
        </p:txBody>
      </p:sp>
      <p:sp>
        <p:nvSpPr>
          <p:cNvPr id="6" name="Текст 5">
            <a:extLst>
              <a:ext uri="{FF2B5EF4-FFF2-40B4-BE49-F238E27FC236}">
                <a16:creationId xmlns:a16="http://schemas.microsoft.com/office/drawing/2014/main" id="{885EB24A-E689-4DA4-8C65-E1671F8A63B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07355" y="1835216"/>
            <a:ext cx="7085111" cy="5014140"/>
          </a:xfrm>
        </p:spPr>
        <p:txBody>
          <a:bodyPr/>
          <a:lstStyle/>
          <a:p>
            <a:r>
              <a:rPr lang="ru-RU" sz="2000" noProof="1">
                <a:latin typeface="Arial" panose="020B0604020202020204" pitchFamily="34" charset="0"/>
              </a:rPr>
              <a:t>Инструкция:</a:t>
            </a:r>
          </a:p>
          <a:p>
            <a:r>
              <a:rPr lang="ru-RU" sz="2000" noProof="1">
                <a:latin typeface="Arial" panose="020B0604020202020204" pitchFamily="34" charset="0"/>
              </a:rPr>
              <a:t>1. Для каждого этапа урока выберите соответствующие карточки </a:t>
            </a:r>
          </a:p>
          <a:p>
            <a:r>
              <a:rPr lang="ru-RU" sz="2000" noProof="1">
                <a:latin typeface="Arial" panose="020B0604020202020204" pitchFamily="34" charset="0"/>
              </a:rPr>
              <a:t>2. Составьте фрагмент занятия с применением карт SCAFFOLD, используя шаблон.</a:t>
            </a:r>
          </a:p>
          <a:p>
            <a:r>
              <a:rPr lang="ru-RU" sz="2000" noProof="1">
                <a:latin typeface="Arial" panose="020B0604020202020204" pitchFamily="34" charset="0"/>
              </a:rPr>
              <a:t>3. Презентуйте полученный результат коллегам.</a:t>
            </a:r>
          </a:p>
          <a:p>
            <a:endParaRPr lang="ru-RU" noProof="1">
              <a:latin typeface="Arial" panose="020B0604020202020204" pitchFamily="34" charset="0"/>
            </a:endParaRPr>
          </a:p>
        </p:txBody>
      </p:sp>
      <p:sp>
        <p:nvSpPr>
          <p:cNvPr id="7" name="Заголовок 6">
            <a:extLst>
              <a:ext uri="{FF2B5EF4-FFF2-40B4-BE49-F238E27FC236}">
                <a16:creationId xmlns:a16="http://schemas.microsoft.com/office/drawing/2014/main" id="{4F7802C9-9FEF-4297-A9AF-ED65BED0279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7790" y="944724"/>
            <a:ext cx="7070872" cy="756691"/>
          </a:xfrm>
        </p:spPr>
        <p:txBody>
          <a:bodyPr>
            <a:normAutofit fontScale="90000"/>
          </a:bodyPr>
          <a:lstStyle/>
          <a:p>
            <a:r>
              <a:rPr lang="ru-RU" sz="2700" noProof="1">
                <a:latin typeface="Arial" panose="020B0604020202020204" pitchFamily="34" charset="0"/>
              </a:rPr>
              <a:t>Activity 1.14</a:t>
            </a:r>
            <a:br>
              <a:rPr lang="ru-RU" sz="2700" noProof="1">
                <a:latin typeface="Arial" panose="020B0604020202020204" pitchFamily="34" charset="0"/>
              </a:rPr>
            </a:br>
            <a:r>
              <a:rPr lang="ru-RU" sz="2700" noProof="1">
                <a:latin typeface="Arial" panose="020B0604020202020204" pitchFamily="34" charset="0"/>
              </a:rPr>
              <a:t>Разработайте фрагмент урока по выбранной теме с использованием карточек </a:t>
            </a:r>
            <a:r>
              <a:rPr lang="ru-RU" sz="2800" noProof="1">
                <a:latin typeface="Arial" panose="020B0604020202020204" pitchFamily="34" charset="0"/>
              </a:rPr>
              <a:t>SCAFFOLD</a:t>
            </a:r>
            <a:r>
              <a:rPr lang="ru-RU" sz="2700" noProof="1">
                <a:latin typeface="Arial" panose="020B0604020202020204" pitchFamily="34" charset="0"/>
              </a:rPr>
              <a:t>.</a:t>
            </a:r>
            <a:br>
              <a:rPr lang="ru-RU" noProof="1">
                <a:latin typeface="Arial" panose="020B0604020202020204" pitchFamily="34" charset="0"/>
              </a:rPr>
            </a:br>
            <a:endParaRPr lang="ru-RU" noProof="1">
              <a:latin typeface="Arial" panose="020B0604020202020204" pitchFamily="34" charset="0"/>
            </a:endParaRP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AA89BB20-6161-A80A-8871-8A31B892B45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endParaRPr lang="ru-RU" noProof="1">
              <a:latin typeface="Arial" panose="020B0604020202020204" pitchFamily="34" charset="0"/>
            </a:endParaRPr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02A6DCC0-B29D-CC5D-D96B-2CA42ABB1DC3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/>
        <p:txBody>
          <a:bodyPr/>
          <a:lstStyle/>
          <a:p>
            <a:endParaRPr lang="ru-RU" noProof="1">
              <a:latin typeface="Arial" panose="020B0604020202020204" pitchFamily="34" charset="0"/>
            </a:endParaRPr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BCD4D124-E9C5-AA33-AFAE-03927A8B74E4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/>
        <p:txBody>
          <a:bodyPr/>
          <a:lstStyle/>
          <a:p>
            <a:endParaRPr lang="ru-RU" noProof="1">
              <a:latin typeface="Arial" panose="020B0604020202020204" pitchFamily="34" charset="0"/>
            </a:endParaRPr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1B8C60E1-D5C3-3326-26C5-81C4B5A7D6D7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/>
        <p:txBody>
          <a:bodyPr/>
          <a:lstStyle/>
          <a:p>
            <a:endParaRPr lang="ru-RU" noProof="1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4741839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DAA55CB5-EC12-3316-BD71-815DE97CF45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ru-RU" noProof="1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E0DDB69-BF33-D5F9-922F-2B0D8D25703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 vert="horz" lIns="0" tIns="0" rIns="91440" bIns="0" rtlCol="0" anchor="t">
            <a:normAutofit/>
          </a:bodyPr>
          <a:lstStyle/>
          <a:p>
            <a:endParaRPr lang="ru-RU" b="0" noProof="1"/>
          </a:p>
          <a:p>
            <a:r>
              <a:rPr lang="ru-RU" sz="2000" b="0" noProof="1"/>
              <a:t>-посткурсовое сопровождение-спроектированы занятия с применением инструмента SCAFFOLD (сентябрь-декабрь 2025);</a:t>
            </a:r>
          </a:p>
          <a:p>
            <a:r>
              <a:rPr lang="ru-RU" sz="2000" b="0" noProof="1"/>
              <a:t>-рефлексивные семинары организованные НАО «Talap» (январь 2025 г);</a:t>
            </a:r>
          </a:p>
          <a:p>
            <a:pPr marL="285750" indent="-285750">
              <a:buFontTx/>
              <a:buChar char="-"/>
            </a:pPr>
            <a:r>
              <a:rPr lang="ru-RU" sz="2000" b="0" noProof="1"/>
              <a:t>4 педагога включены в пилотную группу в рамках колледжа по итогам КПК;</a:t>
            </a:r>
          </a:p>
          <a:p>
            <a:pPr marL="285750" indent="-285750">
              <a:buFontTx/>
              <a:buChar char="-"/>
            </a:pPr>
            <a:r>
              <a:rPr lang="ru-RU" sz="2000" b="0" noProof="1"/>
              <a:t>конкурсы профессионального мастерства с демонстрацией уроков, мастер-классов проектируются педагогами с помощью SCAFFOLD;</a:t>
            </a:r>
          </a:p>
          <a:p>
            <a:r>
              <a:rPr lang="ru-RU" sz="2000" b="0" noProof="1"/>
              <a:t> -серия мастер-классов (15 ) по применению инструмента SCAFFOLD в педагогической практике в рамках Международного открытого образовательного форума (апрель 2026).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54102380-B09D-996A-8598-62B87FEEABB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/>
            <a:r>
              <a:rPr lang="ru-RU" noProof="1">
                <a:cs typeface="Arial"/>
              </a:rPr>
              <a:t>Программа работает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85861F7F-8881-510B-BE0D-9400D9B8A52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endParaRPr lang="ru-RU" noProof="1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FF62FCC7-A38A-2FEB-5F40-40DC2C773E78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/>
        <p:txBody>
          <a:bodyPr/>
          <a:lstStyle/>
          <a:p>
            <a:endParaRPr lang="ru-RU" noProof="1"/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85D22EBE-6123-6DB5-DAA6-A50C5F838F9F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/>
        <p:txBody>
          <a:bodyPr/>
          <a:lstStyle/>
          <a:p>
            <a:endParaRPr lang="ru-RU" noProof="1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228F0FF6-DEFD-3A9E-D973-62887D6372B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/>
        <p:txBody>
          <a:bodyPr/>
          <a:lstStyle/>
          <a:p>
            <a:endParaRPr lang="ru-RU" noProof="1"/>
          </a:p>
        </p:txBody>
      </p:sp>
    </p:spTree>
    <p:extLst>
      <p:ext uri="{BB962C8B-B14F-4D97-AF65-F5344CB8AC3E}">
        <p14:creationId xmlns:p14="http://schemas.microsoft.com/office/powerpoint/2010/main" val="263126510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9227EAC-D452-6300-73D7-182D25FF6E5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C0B708BF-AD64-775E-BEE4-CF95C78DEB0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ru-RU" noProof="1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46FC617D-8503-36BF-2A4F-D8DDBB5B67B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60592" y="586169"/>
            <a:ext cx="7070872" cy="756691"/>
          </a:xfrm>
        </p:spPr>
        <p:txBody>
          <a:bodyPr vert="horz" lIns="0" tIns="45720" rIns="91440" bIns="45720" rtlCol="0" anchor="ctr">
            <a:noAutofit/>
          </a:bodyPr>
          <a:lstStyle/>
          <a:p>
            <a:pPr marL="0" lvl="0" indent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r>
              <a:rPr kumimoji="0" lang="ru-RU" sz="2800" b="0" i="0" u="none" strike="noStrike" cap="none" normalizeH="0" baseline="0" noProof="1">
                <a:ln>
                  <a:noFill/>
                </a:ln>
                <a:effectLst/>
                <a:latin typeface="Arial" panose="020B0604020202020204" pitchFamily="34" charset="0"/>
              </a:rPr>
              <a:t>Восемь показателей качества эффективного профессионального развития педагогов </a:t>
            </a:r>
            <a:endParaRPr lang="ru-RU" noProof="1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78967AA-3C8F-E57C-8B7D-00FD4993C11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endParaRPr lang="ru-RU" noProof="1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BDE3E406-E8BB-68CE-3A1C-FA175DAA8B0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/>
        <p:txBody>
          <a:bodyPr/>
          <a:lstStyle/>
          <a:p>
            <a:endParaRPr lang="ru-RU" noProof="1"/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E9593E02-14F4-D7AB-D5A3-592CAA2B450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/>
        <p:txBody>
          <a:bodyPr/>
          <a:lstStyle/>
          <a:p>
            <a:endParaRPr lang="ru-RU" noProof="1"/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AACEA593-D5D7-8B40-20DD-3409860BB742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/>
        <p:txBody>
          <a:bodyPr/>
          <a:lstStyle/>
          <a:p>
            <a:endParaRPr lang="ru-RU" noProof="1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54C846CD-FA9F-08E4-A5B2-312AFAD1D745}"/>
              </a:ext>
            </a:extLst>
          </p:cNvPr>
          <p:cNvSpPr txBox="1"/>
          <p:nvPr/>
        </p:nvSpPr>
        <p:spPr>
          <a:xfrm>
            <a:off x="660592" y="1977157"/>
            <a:ext cx="5888868" cy="286232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ru-RU" sz="2000" b="1" noProof="1"/>
              <a:t>Вы получаете возможность попробовать</a:t>
            </a:r>
          </a:p>
          <a:p>
            <a:endParaRPr lang="ru-RU" sz="2000" noProof="1"/>
          </a:p>
          <a:p>
            <a:pPr marL="285750" indent="-285750">
              <a:buFontTx/>
              <a:buChar char="-"/>
            </a:pPr>
            <a:r>
              <a:rPr lang="ru-RU" sz="2000" noProof="1"/>
              <a:t>Увеличить продолжительность КПК во времени с внедрением реальной практики в  аудитории (опыт КумбельPro);</a:t>
            </a:r>
          </a:p>
          <a:p>
            <a:endParaRPr lang="ru-RU" sz="2000" noProof="1"/>
          </a:p>
          <a:p>
            <a:pPr marL="285750" indent="-285750">
              <a:buFontTx/>
              <a:buChar char="-"/>
            </a:pPr>
            <a:r>
              <a:rPr lang="ru-RU" sz="2000" noProof="1"/>
              <a:t>Проектирование практических заданий на основе опыта  слушателей (предложите свой вариант работы с полученным  материалом).</a:t>
            </a:r>
          </a:p>
        </p:txBody>
      </p:sp>
    </p:spTree>
    <p:extLst>
      <p:ext uri="{BB962C8B-B14F-4D97-AF65-F5344CB8AC3E}">
        <p14:creationId xmlns:p14="http://schemas.microsoft.com/office/powerpoint/2010/main" val="221514780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5C6DEFB-D2A5-6CB9-C07E-89F113F201E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0608B3F5-691D-1509-0E24-EE0AC741C4BD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DB84476-BC29-4407-9D57-B2E562B8968B}" type="slidenum">
              <a:rPr lang="ru-RU" noProof="1" smtClean="0"/>
              <a:pPr/>
              <a:t>68</a:t>
            </a:fld>
            <a:endParaRPr lang="ru-RU" noProof="1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303E9092-7A87-3F7F-D11C-9615AE7AF9F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ru-RU" noProof="1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41F00D9-A5AA-87C6-DDC6-F3A0F3B2AD6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890845" y="2636913"/>
            <a:ext cx="5677267" cy="1584176"/>
          </a:xfrm>
        </p:spPr>
        <p:txBody>
          <a:bodyPr/>
          <a:lstStyle/>
          <a:p>
            <a:r>
              <a:rPr lang="ru-RU" sz="4500" noProof="1"/>
              <a:t>Масума Баширова</a:t>
            </a:r>
          </a:p>
          <a:p>
            <a:r>
              <a:rPr lang="ru-RU" sz="3000" i="1" noProof="1"/>
              <a:t>Кыргызстан</a:t>
            </a:r>
          </a:p>
        </p:txBody>
      </p:sp>
    </p:spTree>
    <p:extLst>
      <p:ext uri="{BB962C8B-B14F-4D97-AF65-F5344CB8AC3E}">
        <p14:creationId xmlns:p14="http://schemas.microsoft.com/office/powerpoint/2010/main" val="274083952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Box 10">
            <a:extLst>
              <a:ext uri="{FF2B5EF4-FFF2-40B4-BE49-F238E27FC236}">
                <a16:creationId xmlns:a16="http://schemas.microsoft.com/office/drawing/2014/main" id="{FB852BFA-13AF-4021-ABA6-FDE9EC3A1C84}"/>
              </a:ext>
            </a:extLst>
          </p:cNvPr>
          <p:cNvSpPr txBox="1"/>
          <p:nvPr/>
        </p:nvSpPr>
        <p:spPr>
          <a:xfrm>
            <a:off x="1066800" y="3771900"/>
            <a:ext cx="10115550" cy="1200329"/>
          </a:xfrm>
          <a:prstGeom prst="rect">
            <a:avLst/>
          </a:prstGeom>
          <a:solidFill>
            <a:schemeClr val="accent1">
              <a:lumMod val="75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ru-RU" sz="3600" noProof="1">
                <a:solidFill>
                  <a:schemeClr val="bg1"/>
                </a:solidFill>
              </a:rPr>
              <a:t>Программа профессионального развития в рамках SCAFFOLD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BFF360D0-044A-47B1-9452-C2681F019B40}"/>
              </a:ext>
            </a:extLst>
          </p:cNvPr>
          <p:cNvSpPr txBox="1"/>
          <p:nvPr/>
        </p:nvSpPr>
        <p:spPr>
          <a:xfrm>
            <a:off x="1066800" y="890530"/>
            <a:ext cx="10044793" cy="300082"/>
          </a:xfrm>
          <a:prstGeom prst="rect">
            <a:avLst/>
          </a:prstGeom>
          <a:solidFill>
            <a:schemeClr val="accent1">
              <a:lumMod val="75000"/>
            </a:schemeClr>
          </a:solidFill>
        </p:spPr>
        <p:txBody>
          <a:bodyPr wrap="square" rtlCol="0">
            <a:spAutoFit/>
          </a:bodyPr>
          <a:lstStyle/>
          <a:p>
            <a:endParaRPr lang="ru-RU" sz="1350" noProof="1"/>
          </a:p>
        </p:txBody>
      </p:sp>
      <p:pic>
        <p:nvPicPr>
          <p:cNvPr id="19" name="Рисунок 18">
            <a:extLst>
              <a:ext uri="{FF2B5EF4-FFF2-40B4-BE49-F238E27FC236}">
                <a16:creationId xmlns:a16="http://schemas.microsoft.com/office/drawing/2014/main" id="{E067F8F7-8C50-46CC-8395-64C0BC4CCF7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80408" y="896965"/>
            <a:ext cx="4740751" cy="2663066"/>
          </a:xfrm>
          <a:prstGeom prst="rect">
            <a:avLst/>
          </a:prstGeom>
        </p:spPr>
      </p:pic>
      <p:pic>
        <p:nvPicPr>
          <p:cNvPr id="20" name="Рисунок 19">
            <a:extLst>
              <a:ext uri="{FF2B5EF4-FFF2-40B4-BE49-F238E27FC236}">
                <a16:creationId xmlns:a16="http://schemas.microsoft.com/office/drawing/2014/main" id="{B65F6E28-72FE-4157-A30E-FB0802BDE31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374590" y="890531"/>
            <a:ext cx="4737002" cy="2661135"/>
          </a:xfrm>
          <a:prstGeom prst="rect">
            <a:avLst/>
          </a:prstGeom>
        </p:spPr>
      </p:pic>
      <p:sp>
        <p:nvSpPr>
          <p:cNvPr id="25" name="TextBox 24">
            <a:extLst>
              <a:ext uri="{FF2B5EF4-FFF2-40B4-BE49-F238E27FC236}">
                <a16:creationId xmlns:a16="http://schemas.microsoft.com/office/drawing/2014/main" id="{1682BAB6-4662-4558-830E-2D7200F072D8}"/>
              </a:ext>
            </a:extLst>
          </p:cNvPr>
          <p:cNvSpPr txBox="1"/>
          <p:nvPr/>
        </p:nvSpPr>
        <p:spPr>
          <a:xfrm>
            <a:off x="1" y="6580414"/>
            <a:ext cx="12156644" cy="300082"/>
          </a:xfrm>
          <a:prstGeom prst="rect">
            <a:avLst/>
          </a:prstGeom>
          <a:solidFill>
            <a:schemeClr val="accent1">
              <a:lumMod val="75000"/>
            </a:schemeClr>
          </a:solidFill>
        </p:spPr>
        <p:txBody>
          <a:bodyPr wrap="square" rtlCol="0">
            <a:spAutoFit/>
          </a:bodyPr>
          <a:lstStyle/>
          <a:p>
            <a:endParaRPr lang="ru-RU" sz="1350" noProof="1"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D8229E39-BF68-C292-8665-BF9614349E1B}"/>
              </a:ext>
            </a:extLst>
          </p:cNvPr>
          <p:cNvSpPr txBox="1"/>
          <p:nvPr/>
        </p:nvSpPr>
        <p:spPr>
          <a:xfrm>
            <a:off x="635318" y="1923222"/>
            <a:ext cx="9978340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400" noProof="1">
                <a:solidFill>
                  <a:schemeClr val="bg1"/>
                </a:solidFill>
              </a:rPr>
              <a:t>Напишите 3 утверждения — два правдивых, одно придуманное: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ru-RU" sz="2400" noProof="1">
                <a:solidFill>
                  <a:schemeClr val="bg1"/>
                </a:solidFill>
              </a:rPr>
              <a:t>одно должно касаться вашей профессиональной роли,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ru-RU" sz="2400" noProof="1">
                <a:solidFill>
                  <a:schemeClr val="bg1"/>
                </a:solidFill>
              </a:rPr>
              <a:t>одно — об опыте вашего профессионального развития,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ru-RU" sz="2400" noProof="1">
                <a:solidFill>
                  <a:schemeClr val="bg1"/>
                </a:solidFill>
              </a:rPr>
              <a:t>одно — о чём угодно.</a:t>
            </a:r>
          </a:p>
          <a:p>
            <a:endParaRPr lang="ru-RU" sz="2400" noProof="1">
              <a:solidFill>
                <a:schemeClr val="bg1"/>
              </a:solidFill>
            </a:endParaRPr>
          </a:p>
          <a:p>
            <a:endParaRPr lang="ru-RU" sz="2400" noProof="1">
              <a:solidFill>
                <a:schemeClr val="bg1"/>
              </a:solidFill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EAE9A568-3789-A676-23CD-F8FB938C79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5317" y="621737"/>
            <a:ext cx="10396477" cy="1080120"/>
          </a:xfrm>
        </p:spPr>
        <p:txBody>
          <a:bodyPr>
            <a:normAutofit/>
          </a:bodyPr>
          <a:lstStyle/>
          <a:p>
            <a:r>
              <a:rPr lang="ru-RU" noProof="1"/>
              <a:t>Два факта и одна выдумка о профессиональном развитии педагогов</a:t>
            </a:r>
          </a:p>
        </p:txBody>
      </p:sp>
    </p:spTree>
    <p:extLst>
      <p:ext uri="{BB962C8B-B14F-4D97-AF65-F5344CB8AC3E}">
        <p14:creationId xmlns:p14="http://schemas.microsoft.com/office/powerpoint/2010/main" val="345712882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9403831-0FFB-C16A-49C9-329F2E2CC3C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292004" y="5362717"/>
            <a:ext cx="313917" cy="350045"/>
          </a:xfrm>
        </p:spPr>
        <p:txBody>
          <a:bodyPr/>
          <a:lstStyle/>
          <a:p>
            <a:fld id="{3DB84476-BC29-4407-9D57-B2E562B8968B}" type="slidenum">
              <a:rPr lang="ru-RU" noProof="1" smtClean="0"/>
              <a:pPr/>
              <a:t>70</a:t>
            </a:fld>
            <a:endParaRPr lang="ru-RU" noProof="1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2059364-3710-B3A1-6812-EE940440076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ru-RU" noProof="1"/>
              <a:t>Интеграция ключевых компетенций в учебный процесс профессионального лицея</a:t>
            </a:r>
          </a:p>
        </p:txBody>
      </p:sp>
      <p:pic>
        <p:nvPicPr>
          <p:cNvPr id="4" name="Picture 2">
            <a:extLst>
              <a:ext uri="{FF2B5EF4-FFF2-40B4-BE49-F238E27FC236}">
                <a16:creationId xmlns:a16="http://schemas.microsoft.com/office/drawing/2014/main" id="{F70358EF-67C7-A70E-6278-DC17ED456C1A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t="22318"/>
          <a:stretch>
            <a:fillRect/>
          </a:stretch>
        </p:blipFill>
        <p:spPr>
          <a:xfrm>
            <a:off x="635316" y="1652953"/>
            <a:ext cx="11037095" cy="4782603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D31874DB-A4FC-D70A-19F6-58EDC3730713}"/>
              </a:ext>
            </a:extLst>
          </p:cNvPr>
          <p:cNvSpPr txBox="1"/>
          <p:nvPr/>
        </p:nvSpPr>
        <p:spPr>
          <a:xfrm>
            <a:off x="1130754" y="3505899"/>
            <a:ext cx="10161250" cy="2475061"/>
          </a:xfrm>
          <a:prstGeom prst="rect">
            <a:avLst/>
          </a:prstGeom>
          <a:solidFill>
            <a:srgbClr val="FFCC99"/>
          </a:solidFill>
        </p:spPr>
        <p:txBody>
          <a:bodyPr wrap="square" rtlCol="0">
            <a:spAutoFit/>
          </a:bodyPr>
          <a:lstStyle/>
          <a:p>
            <a:endParaRPr lang="ru-RU" noProof="1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8FC16931-B9BD-01A6-812F-8B40BD05E2E8}"/>
              </a:ext>
            </a:extLst>
          </p:cNvPr>
          <p:cNvSpPr txBox="1"/>
          <p:nvPr/>
        </p:nvSpPr>
        <p:spPr>
          <a:xfrm>
            <a:off x="1572109" y="3968079"/>
            <a:ext cx="8332171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57200" indent="-457200">
              <a:buFont typeface="Wingdings" panose="05000000000000000000" pitchFamily="2" charset="2"/>
              <a:buChar char="ü"/>
            </a:pPr>
            <a:r>
              <a:rPr lang="ru-RU" sz="2400" noProof="1">
                <a:solidFill>
                  <a:schemeClr val="tx2"/>
                </a:solidFill>
              </a:rPr>
              <a:t>Для педагогов: </a:t>
            </a:r>
            <a:r>
              <a:rPr lang="ru-RU" sz="2400" i="1" noProof="1">
                <a:solidFill>
                  <a:schemeClr val="tx2"/>
                </a:solidFill>
              </a:rPr>
              <a:t>от теории — к планированию со SCAFFOLD, ориентированного на студентов </a:t>
            </a:r>
          </a:p>
          <a:p>
            <a:pPr marL="457200" indent="-457200">
              <a:buFont typeface="Wingdings" panose="05000000000000000000" pitchFamily="2" charset="2"/>
              <a:buChar char="ü"/>
            </a:pPr>
            <a:r>
              <a:rPr lang="ru-RU" sz="2400" noProof="1">
                <a:solidFill>
                  <a:schemeClr val="tx2"/>
                </a:solidFill>
              </a:rPr>
              <a:t>Для студентов: </a:t>
            </a:r>
            <a:r>
              <a:rPr lang="ru-RU" sz="2400" i="1" noProof="1">
                <a:solidFill>
                  <a:schemeClr val="tx2"/>
                </a:solidFill>
              </a:rPr>
              <a:t>от пассивного слушания — к активной практике и реальным навыкам.</a:t>
            </a:r>
          </a:p>
        </p:txBody>
      </p:sp>
    </p:spTree>
    <p:extLst>
      <p:ext uri="{BB962C8B-B14F-4D97-AF65-F5344CB8AC3E}">
        <p14:creationId xmlns:p14="http://schemas.microsoft.com/office/powerpoint/2010/main" val="233196966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8110BDCF-CFA9-6215-B632-28D5B8876CA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DB84476-BC29-4407-9D57-B2E562B8968B}" type="slidenum">
              <a:rPr lang="ru-RU" noProof="1" smtClean="0"/>
              <a:pPr/>
              <a:t>71</a:t>
            </a:fld>
            <a:endParaRPr lang="ru-RU" noProof="1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A3DC8B31-C3F6-9131-E406-14FE35ECD5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noProof="1"/>
              <a:t>Дизайн программы и путь участника</a:t>
            </a:r>
          </a:p>
        </p:txBody>
      </p:sp>
      <p:pic>
        <p:nvPicPr>
          <p:cNvPr id="4" name="Picture 2">
            <a:extLst>
              <a:ext uri="{FF2B5EF4-FFF2-40B4-BE49-F238E27FC236}">
                <a16:creationId xmlns:a16="http://schemas.microsoft.com/office/drawing/2014/main" id="{1A2F2FB2-C11E-E54E-4979-2D8663FA0A3D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l="6382" t="31383" r="6106" b="7337"/>
          <a:stretch>
            <a:fillRect/>
          </a:stretch>
        </p:blipFill>
        <p:spPr>
          <a:xfrm>
            <a:off x="635317" y="1796227"/>
            <a:ext cx="11403989" cy="44544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2754933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02F57D3-1BDA-CCD0-3EC0-122BB7328D3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DB84476-BC29-4407-9D57-B2E562B8968B}" type="slidenum">
              <a:rPr lang="ru-RU" noProof="1" smtClean="0"/>
              <a:pPr/>
              <a:t>72</a:t>
            </a:fld>
            <a:endParaRPr lang="ru-RU" noProof="1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358C0907-F68F-EB18-46CF-4CAE320D1B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ru-RU" noProof="1"/>
          </a:p>
        </p:txBody>
      </p:sp>
      <p:pic>
        <p:nvPicPr>
          <p:cNvPr id="4" name="Picture 2">
            <a:extLst>
              <a:ext uri="{FF2B5EF4-FFF2-40B4-BE49-F238E27FC236}">
                <a16:creationId xmlns:a16="http://schemas.microsoft.com/office/drawing/2014/main" id="{E6A053ED-6A9F-1379-BC9B-D62891C277C8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l="3908" t="1778" r="4825" b="6437"/>
          <a:stretch>
            <a:fillRect/>
          </a:stretch>
        </p:blipFill>
        <p:spPr>
          <a:xfrm>
            <a:off x="1" y="0"/>
            <a:ext cx="12192000" cy="68394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7494915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C6547875-1CF9-006C-13AB-029DBD2A85B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DB84476-BC29-4407-9D57-B2E562B8968B}" type="slidenum">
              <a:rPr lang="ru-RU" noProof="1" smtClean="0"/>
              <a:pPr/>
              <a:t>73</a:t>
            </a:fld>
            <a:endParaRPr lang="ru-RU" noProof="1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9ABF7B6-BE47-D151-F20B-52F056FB044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noProof="1"/>
              <a:t>Доказательства эффективности</a:t>
            </a:r>
          </a:p>
        </p:txBody>
      </p:sp>
      <p:pic>
        <p:nvPicPr>
          <p:cNvPr id="4" name="Picture 2">
            <a:extLst>
              <a:ext uri="{FF2B5EF4-FFF2-40B4-BE49-F238E27FC236}">
                <a16:creationId xmlns:a16="http://schemas.microsoft.com/office/drawing/2014/main" id="{1E206811-42AC-F816-050B-AAC5EBFD0045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l="2557" t="20053" r="2841" b="3552"/>
          <a:stretch>
            <a:fillRect/>
          </a:stretch>
        </p:blipFill>
        <p:spPr>
          <a:xfrm>
            <a:off x="623888" y="1502564"/>
            <a:ext cx="11446627" cy="51561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7038190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142F9703-8222-551E-D9F6-DCF53B68387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DB84476-BC29-4407-9D57-B2E562B8968B}" type="slidenum">
              <a:rPr lang="ru-RU" noProof="1" smtClean="0"/>
              <a:pPr/>
              <a:t>74</a:t>
            </a:fld>
            <a:endParaRPr lang="ru-RU" noProof="1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BCC15CE1-2468-038B-0BBE-94D46140C4E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ru-RU" noProof="1"/>
          </a:p>
        </p:txBody>
      </p:sp>
      <p:pic>
        <p:nvPicPr>
          <p:cNvPr id="4" name="Picture 2">
            <a:extLst>
              <a:ext uri="{FF2B5EF4-FFF2-40B4-BE49-F238E27FC236}">
                <a16:creationId xmlns:a16="http://schemas.microsoft.com/office/drawing/2014/main" id="{D04F0391-A0CA-32E7-D775-AEB522F9D11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-140277"/>
            <a:ext cx="12545933" cy="6998278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3E969EDE-C8DE-77B2-F492-C46C32A5215F}"/>
              </a:ext>
            </a:extLst>
          </p:cNvPr>
          <p:cNvSpPr/>
          <p:nvPr/>
        </p:nvSpPr>
        <p:spPr>
          <a:xfrm>
            <a:off x="415636" y="665018"/>
            <a:ext cx="6844146" cy="46821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noProof="1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2900591A-E5BC-67B7-3B23-A190E4D2626F}"/>
              </a:ext>
            </a:extLst>
          </p:cNvPr>
          <p:cNvSpPr txBox="1"/>
          <p:nvPr/>
        </p:nvSpPr>
        <p:spPr>
          <a:xfrm>
            <a:off x="415636" y="714459"/>
            <a:ext cx="6497782" cy="4308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2200" b="1" noProof="1"/>
              <a:t>Ключевое ограничение тренинга</a:t>
            </a:r>
          </a:p>
        </p:txBody>
      </p:sp>
    </p:spTree>
    <p:extLst>
      <p:ext uri="{BB962C8B-B14F-4D97-AF65-F5344CB8AC3E}">
        <p14:creationId xmlns:p14="http://schemas.microsoft.com/office/powerpoint/2010/main" val="273667144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7A231105-95FD-0B1D-9328-3E51563AD82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DB84476-BC29-4407-9D57-B2E562B8968B}" type="slidenum">
              <a:rPr lang="ru-RU" noProof="1" smtClean="0"/>
              <a:pPr/>
              <a:t>75</a:t>
            </a:fld>
            <a:endParaRPr lang="ru-RU" noProof="1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42892BA-5A3E-C3B8-E184-C245D32B93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ru-RU" noProof="1"/>
          </a:p>
        </p:txBody>
      </p:sp>
      <p:pic>
        <p:nvPicPr>
          <p:cNvPr id="4" name="Picture 2">
            <a:extLst>
              <a:ext uri="{FF2B5EF4-FFF2-40B4-BE49-F238E27FC236}">
                <a16:creationId xmlns:a16="http://schemas.microsoft.com/office/drawing/2014/main" id="{183A2AAB-8F5E-CC32-9E6B-31775DEAD51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" y="1"/>
            <a:ext cx="12294454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311017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BAD58B92-9BE3-3D3E-03E6-FF9B03C9C90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DB84476-BC29-4407-9D57-B2E562B8968B}" type="slidenum">
              <a:rPr lang="ru-RU" noProof="1" smtClean="0"/>
              <a:pPr/>
              <a:t>76</a:t>
            </a:fld>
            <a:endParaRPr lang="ru-RU" noProof="1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7A73F04-F201-FDB4-0327-DBD79614FBD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ru-RU" noProof="1"/>
          </a:p>
        </p:txBody>
      </p:sp>
      <p:pic>
        <p:nvPicPr>
          <p:cNvPr id="5" name="Picture 2">
            <a:extLst>
              <a:ext uri="{FF2B5EF4-FFF2-40B4-BE49-F238E27FC236}">
                <a16:creationId xmlns:a16="http://schemas.microsoft.com/office/drawing/2014/main" id="{9F5F27B2-AEC2-C45C-2411-DDAD17B6791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-55973"/>
            <a:ext cx="12192000" cy="6800850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114CCE4C-DCA7-F7CF-65B2-91B6D1308177}"/>
              </a:ext>
            </a:extLst>
          </p:cNvPr>
          <p:cNvSpPr/>
          <p:nvPr/>
        </p:nvSpPr>
        <p:spPr>
          <a:xfrm>
            <a:off x="391886" y="1149531"/>
            <a:ext cx="11573691" cy="420624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noProof="1"/>
          </a:p>
        </p:txBody>
      </p:sp>
      <p:pic>
        <p:nvPicPr>
          <p:cNvPr id="12" name="Рисунок 11">
            <a:extLst>
              <a:ext uri="{FF2B5EF4-FFF2-40B4-BE49-F238E27FC236}">
                <a16:creationId xmlns:a16="http://schemas.microsoft.com/office/drawing/2014/main" id="{676BE6E3-75DC-C8E5-D887-7074C398140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6252" y="1223375"/>
            <a:ext cx="2082769" cy="4206240"/>
          </a:xfrm>
          <a:prstGeom prst="rect">
            <a:avLst/>
          </a:prstGeom>
        </p:spPr>
      </p:pic>
      <p:pic>
        <p:nvPicPr>
          <p:cNvPr id="13" name="Рисунок 13">
            <a:extLst>
              <a:ext uri="{FF2B5EF4-FFF2-40B4-BE49-F238E27FC236}">
                <a16:creationId xmlns:a16="http://schemas.microsoft.com/office/drawing/2014/main" id="{0C41EB45-232A-A0A6-6B5A-74D5073BBB8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484061" y="1223375"/>
            <a:ext cx="2082769" cy="4213752"/>
          </a:xfrm>
          <a:prstGeom prst="rect">
            <a:avLst/>
          </a:prstGeom>
        </p:spPr>
      </p:pic>
      <p:pic>
        <p:nvPicPr>
          <p:cNvPr id="14" name="Рисунок 15">
            <a:extLst>
              <a:ext uri="{FF2B5EF4-FFF2-40B4-BE49-F238E27FC236}">
                <a16:creationId xmlns:a16="http://schemas.microsoft.com/office/drawing/2014/main" id="{93C5B6CA-A6B3-BF5B-62CD-806F3E89E35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877766" y="1223375"/>
            <a:ext cx="2156138" cy="4148595"/>
          </a:xfrm>
          <a:prstGeom prst="rect">
            <a:avLst/>
          </a:prstGeom>
        </p:spPr>
      </p:pic>
      <p:pic>
        <p:nvPicPr>
          <p:cNvPr id="15" name="Рисунок 17">
            <a:extLst>
              <a:ext uri="{FF2B5EF4-FFF2-40B4-BE49-F238E27FC236}">
                <a16:creationId xmlns:a16="http://schemas.microsoft.com/office/drawing/2014/main" id="{AD40865C-CD22-A8C8-C771-6835E494009B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425790" y="1213860"/>
            <a:ext cx="2198647" cy="4158110"/>
          </a:xfrm>
          <a:prstGeom prst="rect">
            <a:avLst/>
          </a:prstGeom>
        </p:spPr>
      </p:pic>
      <p:pic>
        <p:nvPicPr>
          <p:cNvPr id="16" name="Рисунок 19">
            <a:extLst>
              <a:ext uri="{FF2B5EF4-FFF2-40B4-BE49-F238E27FC236}">
                <a16:creationId xmlns:a16="http://schemas.microsoft.com/office/drawing/2014/main" id="{36AB0182-2BD5-F9E8-FC95-F307002F39E6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892864" y="1202480"/>
            <a:ext cx="2194048" cy="4158110"/>
          </a:xfrm>
          <a:prstGeom prst="rect">
            <a:avLst/>
          </a:prstGeom>
        </p:spPr>
      </p:pic>
      <p:sp>
        <p:nvSpPr>
          <p:cNvPr id="17" name="Rounded Rectangle 16">
            <a:extLst>
              <a:ext uri="{FF2B5EF4-FFF2-40B4-BE49-F238E27FC236}">
                <a16:creationId xmlns:a16="http://schemas.microsoft.com/office/drawing/2014/main" id="{652C2849-1600-C48C-57D0-4E31E06875F3}"/>
              </a:ext>
            </a:extLst>
          </p:cNvPr>
          <p:cNvSpPr/>
          <p:nvPr/>
        </p:nvSpPr>
        <p:spPr>
          <a:xfrm>
            <a:off x="9071811" y="649705"/>
            <a:ext cx="1155031" cy="499826"/>
          </a:xfrm>
          <a:prstGeom prst="roundRect">
            <a:avLst/>
          </a:prstGeom>
          <a:solidFill>
            <a:srgbClr val="EEE7E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noProof="1"/>
          </a:p>
        </p:txBody>
      </p:sp>
    </p:spTree>
    <p:extLst>
      <p:ext uri="{BB962C8B-B14F-4D97-AF65-F5344CB8AC3E}">
        <p14:creationId xmlns:p14="http://schemas.microsoft.com/office/powerpoint/2010/main" val="40247556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9AD08DA-082F-5255-0F99-76D6F2F1ADB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318B2B39-3C6D-A0A9-B9AE-C7CA275DC1A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DB84476-BC29-4407-9D57-B2E562B8968B}" type="slidenum">
              <a:rPr lang="ru-RU" noProof="1" smtClean="0"/>
              <a:pPr/>
              <a:t>77</a:t>
            </a:fld>
            <a:endParaRPr lang="ru-RU" noProof="1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8D7964FD-6E19-8169-AE6F-BC07B618461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ru-RU" noProof="1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CAD41B1-B327-2F2B-C7DE-057486BC59A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890845" y="2636913"/>
            <a:ext cx="5677267" cy="1584176"/>
          </a:xfrm>
        </p:spPr>
        <p:txBody>
          <a:bodyPr/>
          <a:lstStyle/>
          <a:p>
            <a:r>
              <a:rPr lang="ru-RU" sz="4500" noProof="1"/>
              <a:t>Ботир Хайдаров</a:t>
            </a:r>
          </a:p>
          <a:p>
            <a:r>
              <a:rPr lang="ru-RU" sz="3000" i="1" noProof="1"/>
              <a:t>Узбекистан</a:t>
            </a:r>
          </a:p>
        </p:txBody>
      </p:sp>
    </p:spTree>
    <p:extLst>
      <p:ext uri="{BB962C8B-B14F-4D97-AF65-F5344CB8AC3E}">
        <p14:creationId xmlns:p14="http://schemas.microsoft.com/office/powerpoint/2010/main" val="305730082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2FA3C1A1-A9F1-B5EE-8752-BF292052585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ru-RU" noProof="1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4A3C64D7-8270-9EA4-9510-E4AE8A1187B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ru-RU" noProof="1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B9C5AE42-1F7A-927B-8312-09DB131B40A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DB84476-BC29-4407-9D57-B2E562B8968B}" type="slidenum">
              <a:rPr lang="ru-RU" noProof="1" smtClean="0"/>
              <a:pPr/>
              <a:t>78</a:t>
            </a:fld>
            <a:endParaRPr lang="ru-RU" noProof="1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55DBF4D8-F4A7-7F10-3B8A-BA7B591E19A8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/>
        <p:txBody>
          <a:bodyPr/>
          <a:lstStyle/>
          <a:p>
            <a:endParaRPr lang="ru-RU" noProof="1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6BC7AFF2-32FB-6CE0-D302-B8BED8D02DFF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/>
        <p:txBody>
          <a:bodyPr/>
          <a:lstStyle/>
          <a:p>
            <a:endParaRPr lang="ru-RU" noProof="1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D3B86694-4429-4FC7-A1EB-AEB5C9788C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8999" y="1968952"/>
            <a:ext cx="6971875" cy="1262485"/>
          </a:xfrm>
        </p:spPr>
        <p:txBody>
          <a:bodyPr>
            <a:normAutofit fontScale="90000"/>
          </a:bodyPr>
          <a:lstStyle/>
          <a:p>
            <a:r>
              <a:rPr lang="ru-RU" noProof="1">
                <a:latin typeface="Arial" panose="020B0604020202020204" pitchFamily="34" charset="0"/>
              </a:rPr>
              <a:t>ПЛАНИРОВАНИЕ, ОРГАНИЗАЦИЯ И ОЦЕНКА РЕЗУЛЬТАТОВ ОБРАЗОВАТЕЛЬНОГО ПРОЦЕССА (ТЕХНОЛОГИЯ SCAFFOLD)</a:t>
            </a:r>
            <a:br>
              <a:rPr lang="ru-RU" noProof="1">
                <a:latin typeface="Arial" panose="020B0604020202020204" pitchFamily="34" charset="0"/>
              </a:rPr>
            </a:br>
            <a:endParaRPr lang="ru-RU" noProof="1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4876938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25638B6E-E404-3671-85BC-D7303AE6EA7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ru-RU" noProof="1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79AC70D-5AEB-2991-D368-5EB2CE1254D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ru-RU" noProof="1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E0D47A9-CFE3-1540-5E84-2E65F7A10CE0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DB84476-BC29-4407-9D57-B2E562B8968B}" type="slidenum">
              <a:rPr lang="ru-RU" noProof="1" smtClean="0"/>
              <a:pPr/>
              <a:t>79</a:t>
            </a:fld>
            <a:endParaRPr lang="ru-RU" noProof="1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D523A4AD-A176-8B7A-D301-172B835945B8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/>
        <p:txBody>
          <a:bodyPr/>
          <a:lstStyle/>
          <a:p>
            <a:endParaRPr lang="ru-RU" noProof="1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E5C9F761-EBDF-15F2-1508-EB1E9847D597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/>
        <p:txBody>
          <a:bodyPr/>
          <a:lstStyle/>
          <a:p>
            <a:endParaRPr lang="ru-RU" noProof="1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A342A2A3-2809-9431-67DF-3939C6DE8B5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ru-RU" noProof="1"/>
              <a:t>Достижения программы профессионального развития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64E6F8F6-1AA2-ED61-7529-52F0B805949D}"/>
              </a:ext>
            </a:extLst>
          </p:cNvPr>
          <p:cNvSpPr txBox="1"/>
          <p:nvPr/>
        </p:nvSpPr>
        <p:spPr>
          <a:xfrm>
            <a:off x="762744" y="3036921"/>
            <a:ext cx="5697887" cy="1631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2500" noProof="1">
                <a:latin typeface="Arial" panose="020B0604020202020204" pitchFamily="34" charset="0"/>
                <a:cs typeface="Arial" panose="020B0604020202020204" pitchFamily="34" charset="0"/>
              </a:rPr>
              <a:t>Качество планирования занятий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2500" noProof="1">
                <a:latin typeface="Arial" panose="020B0604020202020204" pitchFamily="34" charset="0"/>
                <a:cs typeface="Arial" panose="020B0604020202020204" pitchFamily="34" charset="0"/>
              </a:rPr>
              <a:t>Качество подготовки и проведения занятий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2500" noProof="1">
                <a:latin typeface="Arial" panose="020B0604020202020204" pitchFamily="34" charset="0"/>
                <a:cs typeface="Arial" panose="020B0604020202020204" pitchFamily="34" charset="0"/>
              </a:rPr>
              <a:t>Качество оценивания компетенций 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1A3416FE-ADB9-33C6-D6CC-9F35016E3CEA}"/>
              </a:ext>
            </a:extLst>
          </p:cNvPr>
          <p:cNvSpPr txBox="1"/>
          <p:nvPr/>
        </p:nvSpPr>
        <p:spPr>
          <a:xfrm>
            <a:off x="803936" y="1927798"/>
            <a:ext cx="5725738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500" b="1" noProof="1">
                <a:latin typeface="Arial" panose="020B0604020202020204" pitchFamily="34" charset="0"/>
                <a:cs typeface="Arial" panose="020B0604020202020204" pitchFamily="34" charset="0"/>
              </a:rPr>
              <a:t>Качество подготовки</a:t>
            </a:r>
          </a:p>
          <a:p>
            <a:r>
              <a:rPr lang="ru-RU" sz="2500" b="1" noProof="1">
                <a:latin typeface="Arial" panose="020B0604020202020204" pitchFamily="34" charset="0"/>
                <a:cs typeface="Arial" panose="020B0604020202020204" pitchFamily="34" charset="0"/>
              </a:rPr>
              <a:t>педагогов</a:t>
            </a:r>
          </a:p>
        </p:txBody>
      </p:sp>
    </p:spTree>
    <p:extLst>
      <p:ext uri="{BB962C8B-B14F-4D97-AF65-F5344CB8AC3E}">
        <p14:creationId xmlns:p14="http://schemas.microsoft.com/office/powerpoint/2010/main" val="382623355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ABE142FE-EE09-24EF-3A1C-3F41ADC9440F}"/>
              </a:ext>
            </a:extLst>
          </p:cNvPr>
          <p:cNvSpPr txBox="1"/>
          <p:nvPr/>
        </p:nvSpPr>
        <p:spPr>
          <a:xfrm>
            <a:off x="635317" y="1502564"/>
            <a:ext cx="10224750" cy="489364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80990" indent="-380990">
              <a:buFont typeface="Arial" panose="020B0604020202020204" pitchFamily="34" charset="0"/>
              <a:buChar char="•"/>
            </a:pPr>
            <a:r>
              <a:rPr lang="ru-RU" sz="2400" noProof="1">
                <a:solidFill>
                  <a:schemeClr val="bg1"/>
                </a:solidFill>
              </a:rPr>
              <a:t>Определять, что отличает инновационное профессиональное развитие педагогов от традиционного формата обучения, опираясь на данные о том, что меняет педагогическую практику, а что нет.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ru-RU" sz="2400" noProof="1">
                <a:solidFill>
                  <a:schemeClr val="bg1"/>
                </a:solidFill>
              </a:rPr>
              <a:t>Критически оценивать примеры профессионального развития педагогов — включая реальные программы из разных регионов — по набору индикаторов качества эффективного профессионального обучения.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ru-RU" sz="2400" noProof="1">
                <a:solidFill>
                  <a:schemeClr val="bg1"/>
                </a:solidFill>
              </a:rPr>
              <a:t>Использовать индикаторы качества и SCAFFOLD как аналитический инструмент для выявления пробелов в содержании и дизайне программ профессионального развития педагогов, а также называть конкретные структурные барьеры, которые мешают достижению активного, связанного с практикой профессионального обучения.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EEF4533C-93BF-A005-AF7E-ED27928D1EE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noProof="1"/>
              <a:t>К концу первого дня участники смогут:</a:t>
            </a:r>
          </a:p>
        </p:txBody>
      </p:sp>
    </p:spTree>
    <p:extLst>
      <p:ext uri="{BB962C8B-B14F-4D97-AF65-F5344CB8AC3E}">
        <p14:creationId xmlns:p14="http://schemas.microsoft.com/office/powerpoint/2010/main" val="331098392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E04E155-C6B9-AC6B-9C3B-72BC3F5E286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FA08A395-2EC9-E6C6-76F2-4201B405C3B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ru-RU" noProof="1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F964857-80B3-4E00-A2FB-42B5EA96D89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ru-RU" noProof="1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28F8DE9-0364-D5D4-FDEA-295E6AB3F5A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DB84476-BC29-4407-9D57-B2E562B8968B}" type="slidenum">
              <a:rPr lang="ru-RU" noProof="1" smtClean="0"/>
              <a:pPr/>
              <a:t>80</a:t>
            </a:fld>
            <a:endParaRPr lang="ru-RU" noProof="1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758FAD1C-9668-4CEA-618F-21B2C45946EC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/>
        <p:txBody>
          <a:bodyPr/>
          <a:lstStyle/>
          <a:p>
            <a:endParaRPr lang="ru-RU" noProof="1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B561F7D3-E569-8BFF-7B69-2A6F4B9BC94C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/>
        <p:txBody>
          <a:bodyPr/>
          <a:lstStyle/>
          <a:p>
            <a:endParaRPr lang="ru-RU" noProof="1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BD895759-A36E-C070-C388-4AEF99E808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ru-RU" noProof="1"/>
              <a:t>Достижения программы профессионального развития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E44F594-5A66-A39F-BBC5-54829978A44F}"/>
              </a:ext>
            </a:extLst>
          </p:cNvPr>
          <p:cNvSpPr txBox="1"/>
          <p:nvPr/>
        </p:nvSpPr>
        <p:spPr>
          <a:xfrm>
            <a:off x="636255" y="2884980"/>
            <a:ext cx="5459743" cy="240065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2500" noProof="1">
                <a:latin typeface="Arial" panose="020B0604020202020204" pitchFamily="34" charset="0"/>
                <a:cs typeface="Arial" panose="020B0604020202020204" pitchFamily="34" charset="0"/>
              </a:rPr>
              <a:t>Качество сформированных универсальных и ключевых компетенций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2500" noProof="1">
                <a:latin typeface="Arial" panose="020B0604020202020204" pitchFamily="34" charset="0"/>
                <a:cs typeface="Arial" panose="020B0604020202020204" pitchFamily="34" charset="0"/>
              </a:rPr>
              <a:t>Качество сформированных профессиональных компетенций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ru-RU" sz="2500" noProof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79CA9F27-DA3D-B7DB-49CD-D7E3CFFECCFF}"/>
              </a:ext>
            </a:extLst>
          </p:cNvPr>
          <p:cNvSpPr txBox="1"/>
          <p:nvPr/>
        </p:nvSpPr>
        <p:spPr>
          <a:xfrm>
            <a:off x="636256" y="1927798"/>
            <a:ext cx="5459743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500" b="1" noProof="1">
                <a:latin typeface="Arial" panose="020B0604020202020204" pitchFamily="34" charset="0"/>
                <a:cs typeface="Arial" panose="020B0604020202020204" pitchFamily="34" charset="0"/>
              </a:rPr>
              <a:t>Качество подготовки учащихся</a:t>
            </a:r>
          </a:p>
        </p:txBody>
      </p:sp>
    </p:spTree>
    <p:extLst>
      <p:ext uri="{BB962C8B-B14F-4D97-AF65-F5344CB8AC3E}">
        <p14:creationId xmlns:p14="http://schemas.microsoft.com/office/powerpoint/2010/main" val="317754313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7F59412-3498-A966-BD97-D2A802000E2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E2F827CB-B053-F53B-CAB5-71ADAA76D57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ru-RU" noProof="1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1A0A664-445B-6161-46E7-8F4C567DB50D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ru-RU" noProof="1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49B0EAE-3F85-7C02-7D0D-25F3CA64E75D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DB84476-BC29-4407-9D57-B2E562B8968B}" type="slidenum">
              <a:rPr lang="ru-RU" noProof="1" smtClean="0"/>
              <a:pPr/>
              <a:t>81</a:t>
            </a:fld>
            <a:endParaRPr lang="ru-RU" noProof="1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CC29CCD6-9B2E-D474-B397-D4B920B408B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/>
        <p:txBody>
          <a:bodyPr/>
          <a:lstStyle/>
          <a:p>
            <a:endParaRPr lang="ru-RU" noProof="1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7A628A7B-5FEA-7B53-61F5-94018BFC9673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/>
        <p:txBody>
          <a:bodyPr/>
          <a:lstStyle/>
          <a:p>
            <a:endParaRPr lang="ru-RU" noProof="1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68466166-A7C9-94C0-8774-FDD132477E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ru-RU" noProof="1"/>
              <a:t>Достижения программы профессионального развития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837CAD0A-CF2E-0C74-25EC-0148DF5B4529}"/>
              </a:ext>
            </a:extLst>
          </p:cNvPr>
          <p:cNvSpPr txBox="1"/>
          <p:nvPr/>
        </p:nvSpPr>
        <p:spPr>
          <a:xfrm>
            <a:off x="636256" y="1927798"/>
            <a:ext cx="5459743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500" b="1" noProof="1">
                <a:latin typeface="Arial" panose="020B0604020202020204" pitchFamily="34" charset="0"/>
                <a:cs typeface="Arial" panose="020B0604020202020204" pitchFamily="34" charset="0"/>
              </a:rPr>
              <a:t>Качество обучения </a:t>
            </a:r>
          </a:p>
          <a:p>
            <a:r>
              <a:rPr lang="ru-RU" sz="2500" b="1" noProof="1">
                <a:latin typeface="Arial" panose="020B0604020202020204" pitchFamily="34" charset="0"/>
                <a:cs typeface="Arial" panose="020B0604020202020204" pitchFamily="34" charset="0"/>
              </a:rPr>
              <a:t>и образования</a:t>
            </a:r>
          </a:p>
        </p:txBody>
      </p:sp>
    </p:spTree>
    <p:extLst>
      <p:ext uri="{BB962C8B-B14F-4D97-AF65-F5344CB8AC3E}">
        <p14:creationId xmlns:p14="http://schemas.microsoft.com/office/powerpoint/2010/main" val="236144202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5A379046-3101-DCE8-81C5-DAF1C0C76CB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ru-RU" noProof="1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1C78ABB-FEF8-8C3D-2977-07C1FD86BF3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ru-RU" noProof="1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5CCD5E7-F1DF-51F4-AE82-59EBC4A0E73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DB84476-BC29-4407-9D57-B2E562B8968B}" type="slidenum">
              <a:rPr lang="ru-RU" noProof="1" smtClean="0"/>
              <a:pPr/>
              <a:t>82</a:t>
            </a:fld>
            <a:endParaRPr lang="ru-RU" noProof="1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F9C4E217-8ED4-4E1A-4682-5540FD4823F1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/>
        <p:txBody>
          <a:bodyPr/>
          <a:lstStyle/>
          <a:p>
            <a:endParaRPr lang="ru-RU" noProof="1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89055172-871A-88B4-D9D2-FA034B592C83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/>
        <p:txBody>
          <a:bodyPr/>
          <a:lstStyle/>
          <a:p>
            <a:endParaRPr lang="ru-RU" noProof="1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6DE8343D-2852-703C-85F1-609B2F4126C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ru-RU" noProof="1"/>
              <a:t>Реализуемая программа и переживания слушателей</a:t>
            </a:r>
          </a:p>
        </p:txBody>
      </p:sp>
      <p:pic>
        <p:nvPicPr>
          <p:cNvPr id="9" name="Рисунок 21">
            <a:extLst>
              <a:ext uri="{FF2B5EF4-FFF2-40B4-BE49-F238E27FC236}">
                <a16:creationId xmlns:a16="http://schemas.microsoft.com/office/drawing/2014/main" id="{E39E54A0-20E8-25BA-F97A-3230B2212990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8375"/>
          <a:stretch/>
        </p:blipFill>
        <p:spPr>
          <a:xfrm>
            <a:off x="6844076" y="1636437"/>
            <a:ext cx="1889036" cy="4628573"/>
          </a:xfrm>
          <a:prstGeom prst="rect">
            <a:avLst/>
          </a:prstGeom>
          <a:effectLst>
            <a:softEdge rad="127000"/>
          </a:effectLst>
        </p:spPr>
      </p:pic>
      <p:graphicFrame>
        <p:nvGraphicFramePr>
          <p:cNvPr id="10" name="Таблица 19">
            <a:extLst>
              <a:ext uri="{FF2B5EF4-FFF2-40B4-BE49-F238E27FC236}">
                <a16:creationId xmlns:a16="http://schemas.microsoft.com/office/drawing/2014/main" id="{DB952CBF-B886-E5DD-4C7B-1A966C97F08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59953555"/>
              </p:ext>
            </p:extLst>
          </p:nvPr>
        </p:nvGraphicFramePr>
        <p:xfrm>
          <a:off x="623888" y="1718850"/>
          <a:ext cx="8921165" cy="4646190"/>
        </p:xfrm>
        <a:graphic>
          <a:graphicData uri="http://schemas.openxmlformats.org/drawingml/2006/table">
            <a:tbl>
              <a:tblPr firstRow="1" firstCol="1" bandRow="1">
                <a:tableStyleId>{6E25E649-3F16-4E02-A733-19D2CDBF48F0}</a:tableStyleId>
              </a:tblPr>
              <a:tblGrid>
                <a:gridCol w="42207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25352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786893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73689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783277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938507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466096"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600" noProof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№</a:t>
                      </a:r>
                      <a:endParaRPr lang="ru-RU" sz="1600" noProof="1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79705" algn="ctr">
                        <a:lnSpc>
                          <a:spcPct val="100000"/>
                        </a:lnSpc>
                        <a:spcAft>
                          <a:spcPts val="600"/>
                        </a:spcAft>
                      </a:pPr>
                      <a:r>
                        <a:rPr lang="ru-RU" sz="1600" noProof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r>
                        <a:rPr lang="ru-RU" sz="1600" noProof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одержание модуля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ru-RU" sz="1600" b="0" noProof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Всего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ru-RU" sz="1600" b="0" noProof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Итого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ru-RU" sz="1600" b="0" noProof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ео-рия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ru-RU" sz="1600" b="0" noProof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рактика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39373"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600" noProof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.</a:t>
                      </a:r>
                      <a:endParaRPr lang="ru-RU" sz="1600" noProof="1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kumimoji="0" lang="ru-RU" sz="1600" u="none" strike="noStrike" cap="none" normalizeH="0" baseline="0" noProof="1">
                          <a:ln>
                            <a:noFill/>
                          </a:ln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Знакомство с инструментом SCAFFOLD и методикой его применения. Определение целей на основе технологии SMART </a:t>
                      </a:r>
                      <a:endParaRPr lang="ru-RU" sz="1600" noProof="1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600" noProof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</a:t>
                      </a:r>
                      <a:endParaRPr lang="ru-RU" sz="1600" noProof="1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600" noProof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</a:t>
                      </a:r>
                      <a:endParaRPr lang="ru-RU" sz="1600" noProof="1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600" noProof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</a:t>
                      </a:r>
                      <a:endParaRPr lang="ru-RU" sz="1600" noProof="1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600" noProof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ru-RU" sz="1600" noProof="1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54573"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600" noProof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</a:t>
                      </a:r>
                      <a:endParaRPr lang="ru-RU" sz="1600" noProof="1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600" u="none" strike="noStrike" cap="none" normalizeH="0" baseline="0" noProof="1">
                          <a:ln>
                            <a:noFill/>
                          </a:ln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омпетенции DigComp, LifeComp, EntreComp и GreenComp </a:t>
                      </a:r>
                      <a:r>
                        <a:rPr lang="ru-RU" sz="1600" noProof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endParaRPr lang="ru-RU" sz="1600" noProof="1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600" noProof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</a:t>
                      </a:r>
                      <a:endParaRPr lang="ru-RU" sz="1600" noProof="1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600" noProof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</a:t>
                      </a:r>
                      <a:endParaRPr lang="ru-RU" sz="1600" noProof="1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600" noProof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ru-RU" sz="1600" noProof="1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600" noProof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</a:t>
                      </a:r>
                      <a:endParaRPr lang="ru-RU" sz="1600" noProof="1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59715943"/>
                  </a:ext>
                </a:extLst>
              </a:tr>
              <a:tr h="826825"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600" noProof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.</a:t>
                      </a:r>
                      <a:endParaRPr lang="ru-RU" sz="1600" noProof="1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600" u="none" strike="noStrike" cap="none" normalizeH="0" baseline="0" noProof="1">
                          <a:ln>
                            <a:noFill/>
                          </a:ln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Интеграция цифровых, предпринимательских, жизненных и экологических компетенций SCAFFOLD в учебные предметы и темы </a:t>
                      </a:r>
                      <a:endParaRPr lang="ru-RU" sz="1600" noProof="1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600" noProof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</a:t>
                      </a:r>
                      <a:endParaRPr lang="ru-RU" sz="1600" noProof="1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600" noProof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</a:t>
                      </a:r>
                      <a:endParaRPr lang="ru-RU" sz="1600" noProof="1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600" noProof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ru-RU" sz="1600" noProof="1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600" noProof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</a:t>
                      </a:r>
                      <a:endParaRPr lang="ru-RU" sz="1600" noProof="1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652719"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600" noProof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.</a:t>
                      </a:r>
                      <a:endParaRPr lang="ru-RU" sz="1600" noProof="1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600" u="none" strike="noStrike" cap="none" normalizeH="0" baseline="0" noProof="1">
                          <a:ln>
                            <a:noFill/>
                          </a:ln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Методы обучения и оценивания, предложенные в методике SCAFFOLD </a:t>
                      </a:r>
                      <a:endParaRPr lang="ru-RU" sz="1600" noProof="1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600" noProof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</a:t>
                      </a:r>
                      <a:endParaRPr lang="ru-RU" sz="1600" noProof="1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600" noProof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</a:t>
                      </a:r>
                      <a:endParaRPr lang="ru-RU" sz="1600" noProof="1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noProof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2</a:t>
                      </a:r>
                      <a:endParaRPr lang="ru-RU" sz="1600" noProof="1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endParaRPr lang="ru-RU" sz="1600" noProof="1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539373"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600" noProof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.</a:t>
                      </a:r>
                      <a:endParaRPr lang="ru-RU" sz="1600" noProof="1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600" u="none" strike="noStrike" cap="none" normalizeH="0" baseline="0" noProof="1">
                          <a:ln>
                            <a:noFill/>
                          </a:ln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рименение на практике методов обучения и оценивания, предложенных в SCAFFOLD </a:t>
                      </a:r>
                      <a:endParaRPr lang="ru-RU" sz="1600" noProof="1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600" noProof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</a:t>
                      </a:r>
                      <a:endParaRPr lang="ru-RU" sz="1600" noProof="1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600" noProof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</a:t>
                      </a:r>
                      <a:endParaRPr lang="ru-RU" sz="1600" noProof="1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600" noProof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ru-RU" sz="1600" noProof="1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600" noProof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</a:t>
                      </a:r>
                      <a:endParaRPr lang="ru-RU" sz="1600" noProof="1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539373"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600" noProof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.</a:t>
                      </a:r>
                      <a:endParaRPr lang="ru-RU" sz="1600" noProof="1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600" u="none" strike="noStrike" cap="none" normalizeH="0" baseline="0" noProof="1">
                          <a:ln>
                            <a:noFill/>
                          </a:ln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Разработка учебных планов с использованием методики SCAFFOLD </a:t>
                      </a:r>
                      <a:endParaRPr lang="ru-RU" sz="1600" noProof="1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600" noProof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</a:t>
                      </a:r>
                      <a:endParaRPr lang="ru-RU" sz="1600" noProof="1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600" noProof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</a:t>
                      </a:r>
                      <a:endParaRPr lang="ru-RU" sz="1600" noProof="1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600" noProof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ru-RU" sz="1600" noProof="1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600" noProof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</a:t>
                      </a:r>
                      <a:endParaRPr lang="ru-RU" sz="1600" noProof="1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81020"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endParaRPr lang="ru-RU" sz="1600" noProof="1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600" u="none" strike="noStrike" kern="1200" cap="none" normalizeH="0" baseline="0" noProof="1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Всего</a:t>
                      </a:r>
                      <a:endParaRPr lang="ru-RU" sz="1600" noProof="1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600" b="1" noProof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2</a:t>
                      </a:r>
                      <a:endParaRPr lang="ru-RU" sz="1600" b="1" noProof="1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600" b="1" noProof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2</a:t>
                      </a:r>
                      <a:endParaRPr lang="ru-RU" sz="1600" b="1" noProof="1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600" b="1" noProof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</a:t>
                      </a:r>
                      <a:endParaRPr lang="ru-RU" sz="1600" b="1" noProof="1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600" b="1" noProof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</a:t>
                      </a:r>
                      <a:endParaRPr lang="ru-RU" sz="1600" b="1" noProof="1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72344275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8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63107E9-5134-4F23-CDC0-17529738A6A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74070C68-461F-88C1-A542-D7334C87996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ru-RU" noProof="1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3AB74B6-E97A-2A68-E474-8D45C5954DD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ru-RU" noProof="1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2F9C78A-7C34-338D-E3B0-F0A082C55E7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DB84476-BC29-4407-9D57-B2E562B8968B}" type="slidenum">
              <a:rPr lang="ru-RU" noProof="1" smtClean="0"/>
              <a:pPr/>
              <a:t>83</a:t>
            </a:fld>
            <a:endParaRPr lang="ru-RU" noProof="1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AE80C915-0A87-77A8-3CB4-5F58FCF7A6ED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/>
        <p:txBody>
          <a:bodyPr/>
          <a:lstStyle/>
          <a:p>
            <a:endParaRPr lang="ru-RU" noProof="1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3D778623-406E-0738-A1DC-0C1EBC2CEB8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/>
        <p:txBody>
          <a:bodyPr/>
          <a:lstStyle/>
          <a:p>
            <a:endParaRPr lang="ru-RU" noProof="1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5C473160-0A8C-5AA8-1DBD-452C08ED970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ru-RU" noProof="1"/>
              <a:t>Реализуемая программа и переживания слушателей</a:t>
            </a:r>
          </a:p>
        </p:txBody>
      </p:sp>
      <p:pic>
        <p:nvPicPr>
          <p:cNvPr id="9" name="Рисунок 21">
            <a:extLst>
              <a:ext uri="{FF2B5EF4-FFF2-40B4-BE49-F238E27FC236}">
                <a16:creationId xmlns:a16="http://schemas.microsoft.com/office/drawing/2014/main" id="{7A392288-FB49-CE48-A751-04AADD4FB931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8375"/>
          <a:stretch/>
        </p:blipFill>
        <p:spPr>
          <a:xfrm>
            <a:off x="6844076" y="1636437"/>
            <a:ext cx="1889036" cy="4628573"/>
          </a:xfrm>
          <a:prstGeom prst="rect">
            <a:avLst/>
          </a:prstGeom>
          <a:effectLst>
            <a:softEdge rad="127000"/>
          </a:effectLst>
        </p:spPr>
      </p:pic>
      <p:graphicFrame>
        <p:nvGraphicFramePr>
          <p:cNvPr id="10" name="Таблица 19">
            <a:extLst>
              <a:ext uri="{FF2B5EF4-FFF2-40B4-BE49-F238E27FC236}">
                <a16:creationId xmlns:a16="http://schemas.microsoft.com/office/drawing/2014/main" id="{38665D55-8923-F670-9720-333ABE544B2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64043051"/>
              </p:ext>
            </p:extLst>
          </p:nvPr>
        </p:nvGraphicFramePr>
        <p:xfrm>
          <a:off x="623888" y="1718850"/>
          <a:ext cx="8921165" cy="4646190"/>
        </p:xfrm>
        <a:graphic>
          <a:graphicData uri="http://schemas.openxmlformats.org/drawingml/2006/table">
            <a:tbl>
              <a:tblPr firstRow="1" firstCol="1" bandRow="1">
                <a:tableStyleId>{6E25E649-3F16-4E02-A733-19D2CDBF48F0}</a:tableStyleId>
              </a:tblPr>
              <a:tblGrid>
                <a:gridCol w="42207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25352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786893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73689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783277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938507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466096"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600" noProof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№</a:t>
                      </a:r>
                      <a:endParaRPr lang="ru-RU" sz="1600" noProof="1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79705" algn="ctr">
                        <a:lnSpc>
                          <a:spcPct val="100000"/>
                        </a:lnSpc>
                        <a:spcAft>
                          <a:spcPts val="600"/>
                        </a:spcAft>
                      </a:pPr>
                      <a:r>
                        <a:rPr lang="ru-RU" sz="1600" noProof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r>
                        <a:rPr lang="ru-RU" sz="1600" noProof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одержание модуля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ru-RU" sz="1600" b="0" noProof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Всего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ru-RU" sz="1600" b="0" noProof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Итого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ru-RU" sz="1600" b="0" noProof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ео-рия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ru-RU" sz="1600" b="0" noProof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рактика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39373"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600" noProof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.</a:t>
                      </a:r>
                      <a:endParaRPr lang="ru-RU" sz="1600" noProof="1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kumimoji="0" lang="ru-RU" sz="1600" u="none" strike="noStrike" cap="none" normalizeH="0" baseline="0" noProof="1">
                          <a:ln>
                            <a:noFill/>
                          </a:ln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Знакомство с инструментом SCAFFOLD и методикой его применения. Определение целей на основе технологии SMART </a:t>
                      </a:r>
                      <a:endParaRPr lang="ru-RU" sz="1600" noProof="1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600" noProof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</a:t>
                      </a:r>
                      <a:endParaRPr lang="ru-RU" sz="1600" noProof="1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600" noProof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</a:t>
                      </a:r>
                      <a:endParaRPr lang="ru-RU" sz="1600" noProof="1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600" noProof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</a:t>
                      </a:r>
                      <a:endParaRPr lang="ru-RU" sz="1600" noProof="1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600" noProof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ru-RU" sz="1600" noProof="1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54573"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600" noProof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</a:t>
                      </a:r>
                      <a:endParaRPr lang="ru-RU" sz="1600" noProof="1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600" u="none" strike="noStrike" cap="none" normalizeH="0" baseline="0" noProof="1">
                          <a:ln>
                            <a:noFill/>
                          </a:ln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омпетенции DigComp, LifeComp, EntreComp и GreenComp </a:t>
                      </a:r>
                      <a:r>
                        <a:rPr lang="ru-RU" sz="1600" noProof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endParaRPr lang="ru-RU" sz="1600" noProof="1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600" noProof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</a:t>
                      </a:r>
                      <a:endParaRPr lang="ru-RU" sz="1600" noProof="1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600" noProof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</a:t>
                      </a:r>
                      <a:endParaRPr lang="ru-RU" sz="1600" noProof="1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600" noProof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ru-RU" sz="1600" noProof="1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600" noProof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</a:t>
                      </a:r>
                      <a:endParaRPr lang="ru-RU" sz="1600" noProof="1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59715943"/>
                  </a:ext>
                </a:extLst>
              </a:tr>
              <a:tr h="826825"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600" noProof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.</a:t>
                      </a:r>
                      <a:endParaRPr lang="ru-RU" sz="1600" noProof="1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600" u="none" strike="noStrike" cap="none" normalizeH="0" baseline="0" noProof="1">
                          <a:ln>
                            <a:noFill/>
                          </a:ln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Интеграция цифровых, предпринимательских, жизненных и экологических компетенций SCAFFOLD в учебные предметы и темы </a:t>
                      </a:r>
                      <a:endParaRPr lang="ru-RU" sz="1600" noProof="1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600" noProof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</a:t>
                      </a:r>
                      <a:endParaRPr lang="ru-RU" sz="1600" noProof="1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600" noProof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</a:t>
                      </a:r>
                      <a:endParaRPr lang="ru-RU" sz="1600" noProof="1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600" noProof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ru-RU" sz="1600" noProof="1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600" noProof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</a:t>
                      </a:r>
                      <a:endParaRPr lang="ru-RU" sz="1600" noProof="1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652719"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600" noProof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.</a:t>
                      </a:r>
                      <a:endParaRPr lang="ru-RU" sz="1600" noProof="1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600" u="none" strike="noStrike" cap="none" normalizeH="0" baseline="0" noProof="1">
                          <a:ln>
                            <a:noFill/>
                          </a:ln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Методы обучения и оценивания, предложенные в методике SCAFFOLD </a:t>
                      </a:r>
                      <a:endParaRPr lang="ru-RU" sz="1600" noProof="1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600" noProof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</a:t>
                      </a:r>
                      <a:endParaRPr lang="ru-RU" sz="1600" noProof="1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600" noProof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</a:t>
                      </a:r>
                      <a:endParaRPr lang="ru-RU" sz="1600" noProof="1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noProof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2</a:t>
                      </a:r>
                      <a:endParaRPr lang="ru-RU" sz="1600" noProof="1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endParaRPr lang="ru-RU" sz="1600" noProof="1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539373"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600" noProof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.</a:t>
                      </a:r>
                      <a:endParaRPr lang="ru-RU" sz="1600" noProof="1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600" u="none" strike="noStrike" cap="none" normalizeH="0" baseline="0" noProof="1">
                          <a:ln>
                            <a:noFill/>
                          </a:ln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рименение на практике методов обучения и оценивания, предложенных в SCAFFOLD </a:t>
                      </a:r>
                      <a:endParaRPr lang="ru-RU" sz="1600" noProof="1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600" noProof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</a:t>
                      </a:r>
                      <a:endParaRPr lang="ru-RU" sz="1600" noProof="1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600" noProof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</a:t>
                      </a:r>
                      <a:endParaRPr lang="ru-RU" sz="1600" noProof="1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600" noProof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ru-RU" sz="1600" noProof="1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600" noProof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</a:t>
                      </a:r>
                      <a:endParaRPr lang="ru-RU" sz="1600" noProof="1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539373"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600" noProof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.</a:t>
                      </a:r>
                      <a:endParaRPr lang="ru-RU" sz="1600" noProof="1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600" u="none" strike="noStrike" cap="none" normalizeH="0" baseline="0" noProof="1">
                          <a:ln>
                            <a:noFill/>
                          </a:ln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Разработка учебных планов с использованием методики SCAFFOLD </a:t>
                      </a:r>
                      <a:endParaRPr lang="ru-RU" sz="1600" noProof="1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600" noProof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</a:t>
                      </a:r>
                      <a:endParaRPr lang="ru-RU" sz="1600" noProof="1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600" noProof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</a:t>
                      </a:r>
                      <a:endParaRPr lang="ru-RU" sz="1600" noProof="1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600" noProof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ru-RU" sz="1600" noProof="1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600" noProof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</a:t>
                      </a:r>
                      <a:endParaRPr lang="ru-RU" sz="1600" noProof="1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81020"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endParaRPr lang="ru-RU" sz="1600" noProof="1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600" u="none" strike="noStrike" kern="1200" cap="none" normalizeH="0" baseline="0" noProof="1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Всего</a:t>
                      </a:r>
                      <a:endParaRPr lang="ru-RU" sz="1600" noProof="1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600" b="1" noProof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2</a:t>
                      </a:r>
                      <a:endParaRPr lang="ru-RU" sz="1600" b="1" noProof="1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600" b="1" noProof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2</a:t>
                      </a:r>
                      <a:endParaRPr lang="ru-RU" sz="1600" b="1" noProof="1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600" b="1" noProof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</a:t>
                      </a:r>
                      <a:endParaRPr lang="ru-RU" sz="1600" b="1" noProof="1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600" b="1" noProof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</a:t>
                      </a:r>
                      <a:endParaRPr lang="ru-RU" sz="1600" b="1" noProof="1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</a:tbl>
          </a:graphicData>
        </a:graphic>
      </p:graphicFrame>
      <p:pic>
        <p:nvPicPr>
          <p:cNvPr id="7" name="Рисунок 21">
            <a:extLst>
              <a:ext uri="{FF2B5EF4-FFF2-40B4-BE49-F238E27FC236}">
                <a16:creationId xmlns:a16="http://schemas.microsoft.com/office/drawing/2014/main" id="{34D7CC51-32B4-177F-80C5-6DC9C2082B65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8375"/>
          <a:stretch/>
        </p:blipFill>
        <p:spPr>
          <a:xfrm>
            <a:off x="9542657" y="1695260"/>
            <a:ext cx="1889036" cy="4628573"/>
          </a:xfrm>
          <a:prstGeom prst="rect">
            <a:avLst/>
          </a:prstGeom>
          <a:effectLst>
            <a:softEdge rad="127000"/>
          </a:effectLst>
        </p:spPr>
      </p:pic>
    </p:spTree>
    <p:extLst>
      <p:ext uri="{BB962C8B-B14F-4D97-AF65-F5344CB8AC3E}">
        <p14:creationId xmlns:p14="http://schemas.microsoft.com/office/powerpoint/2010/main" val="116461295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8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87A8A2AA-65FF-D727-CB9C-9BBF678B14FC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ru-RU" noProof="1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161AB16-BB05-2C2D-B7BD-C0235E541A0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ru-RU" noProof="1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F978ACA-4524-27EC-8057-2D8F3A03DC8D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DB84476-BC29-4407-9D57-B2E562B8968B}" type="slidenum">
              <a:rPr lang="ru-RU" noProof="1" smtClean="0"/>
              <a:pPr/>
              <a:t>84</a:t>
            </a:fld>
            <a:endParaRPr lang="ru-RU" noProof="1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C39AE9ED-2BFE-A95B-0715-0251F648A6C3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/>
        <p:txBody>
          <a:bodyPr/>
          <a:lstStyle/>
          <a:p>
            <a:endParaRPr lang="ru-RU" noProof="1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FF950E4E-DAFC-4982-A0A6-6824C61916D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/>
        <p:txBody>
          <a:bodyPr/>
          <a:lstStyle/>
          <a:p>
            <a:endParaRPr lang="ru-RU" noProof="1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7071D462-0C3B-625E-C230-BFDC50BA77E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4322" y="828558"/>
            <a:ext cx="9213596" cy="1262485"/>
          </a:xfrm>
        </p:spPr>
        <p:txBody>
          <a:bodyPr>
            <a:normAutofit fontScale="90000"/>
          </a:bodyPr>
          <a:lstStyle/>
          <a:p>
            <a:pPr lvl="0"/>
            <a:r>
              <a:rPr lang="ru-RU" noProof="1"/>
              <a:t>Ожидаемые результаты программы профессионального развития</a:t>
            </a:r>
            <a:br>
              <a:rPr lang="ru-RU" noProof="1"/>
            </a:br>
            <a:r>
              <a:rPr lang="ru-RU" noProof="1"/>
              <a:t>— для педагогов и в конечном счёте для обучающихся.</a:t>
            </a:r>
            <a:br>
              <a:rPr lang="ru-RU" noProof="1"/>
            </a:br>
            <a:endParaRPr lang="ru-RU" noProof="1"/>
          </a:p>
        </p:txBody>
      </p:sp>
      <p:graphicFrame>
        <p:nvGraphicFramePr>
          <p:cNvPr id="9" name="Таблица 3">
            <a:extLst>
              <a:ext uri="{FF2B5EF4-FFF2-40B4-BE49-F238E27FC236}">
                <a16:creationId xmlns:a16="http://schemas.microsoft.com/office/drawing/2014/main" id="{2DB17A9F-A780-FD1D-F8F8-E020B273819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51887349"/>
              </p:ext>
            </p:extLst>
          </p:nvPr>
        </p:nvGraphicFramePr>
        <p:xfrm>
          <a:off x="538486" y="2239956"/>
          <a:ext cx="11653515" cy="4618041"/>
        </p:xfrm>
        <a:graphic>
          <a:graphicData uri="http://schemas.openxmlformats.org/drawingml/2006/table">
            <a:tbl>
              <a:tblPr firstRow="1" firstCol="1" bandRow="1">
                <a:tableStyleId>{9DCAF9ED-07DC-4A11-8D7F-57B35C25682E}</a:tableStyleId>
              </a:tblPr>
              <a:tblGrid>
                <a:gridCol w="3884505">
                  <a:extLst>
                    <a:ext uri="{9D8B030D-6E8A-4147-A177-3AD203B41FA5}">
                      <a16:colId xmlns:a16="http://schemas.microsoft.com/office/drawing/2014/main" val="155343861"/>
                    </a:ext>
                  </a:extLst>
                </a:gridCol>
                <a:gridCol w="3884505">
                  <a:extLst>
                    <a:ext uri="{9D8B030D-6E8A-4147-A177-3AD203B41FA5}">
                      <a16:colId xmlns:a16="http://schemas.microsoft.com/office/drawing/2014/main" val="1602010767"/>
                    </a:ext>
                  </a:extLst>
                </a:gridCol>
                <a:gridCol w="3884505">
                  <a:extLst>
                    <a:ext uri="{9D8B030D-6E8A-4147-A177-3AD203B41FA5}">
                      <a16:colId xmlns:a16="http://schemas.microsoft.com/office/drawing/2014/main" val="3360963353"/>
                    </a:ext>
                  </a:extLst>
                </a:gridCol>
              </a:tblGrid>
              <a:tr h="271650"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2400"/>
                        </a:spcAft>
                      </a:pPr>
                      <a:r>
                        <a:rPr lang="ru-RU" sz="1600" noProof="1">
                          <a:effectLst/>
                        </a:rPr>
                        <a:t>Знание</a:t>
                      </a:r>
                      <a:endParaRPr lang="ru-RU" sz="1400" noProof="1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9525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2400"/>
                        </a:spcAft>
                      </a:pPr>
                      <a:r>
                        <a:rPr lang="ru-RU" sz="1600" noProof="1">
                          <a:effectLst/>
                        </a:rPr>
                        <a:t>Умения и навыки</a:t>
                      </a:r>
                      <a:endParaRPr lang="ru-RU" sz="1400" noProof="1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9525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2400"/>
                        </a:spcAft>
                      </a:pPr>
                      <a:r>
                        <a:rPr lang="ru-RU" sz="1600" noProof="1">
                          <a:effectLst/>
                        </a:rPr>
                        <a:t>Компетенции</a:t>
                      </a:r>
                      <a:endParaRPr lang="ru-RU" sz="1400" noProof="1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9525" anchor="ctr"/>
                </a:tc>
                <a:extLst>
                  <a:ext uri="{0D108BD9-81ED-4DB2-BD59-A6C34878D82A}">
                    <a16:rowId xmlns:a16="http://schemas.microsoft.com/office/drawing/2014/main" val="1927308652"/>
                  </a:ext>
                </a:extLst>
              </a:tr>
              <a:tr h="598416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800"/>
                        </a:spcAft>
                      </a:pPr>
                      <a:r>
                        <a:rPr lang="ru-RU" sz="1600" b="0" noProof="1">
                          <a:effectLst/>
                        </a:rPr>
                        <a:t>Назначение инструмента SCAFFOLD и его применение </a:t>
                      </a:r>
                      <a:endParaRPr lang="ru-RU" sz="1400" b="0" noProof="1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800"/>
                        </a:spcAft>
                      </a:pPr>
                      <a:r>
                        <a:rPr lang="ru-RU" sz="1600" noProof="1">
                          <a:effectLst/>
                        </a:rPr>
                        <a:t>Различает и определяет карты SCAFFOLD по их назначению </a:t>
                      </a:r>
                      <a:endParaRPr lang="ru-RU" sz="1400" noProof="1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800"/>
                        </a:spcAft>
                      </a:pPr>
                      <a:r>
                        <a:rPr lang="ru-RU" sz="1600" noProof="1">
                          <a:effectLst/>
                        </a:rPr>
                        <a:t>Использование инструмента SCAFFOLD и его технологию </a:t>
                      </a:r>
                      <a:endParaRPr lang="ru-RU" sz="1400" noProof="1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768918751"/>
                  </a:ext>
                </a:extLst>
              </a:tr>
              <a:tr h="598416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800"/>
                        </a:spcAft>
                      </a:pPr>
                      <a:r>
                        <a:rPr lang="ru-RU" sz="1600" b="0" noProof="1">
                          <a:effectLst/>
                        </a:rPr>
                        <a:t>Элементы целей на основе технологии SMART </a:t>
                      </a:r>
                      <a:endParaRPr lang="ru-RU" sz="1400" b="0" noProof="1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800"/>
                        </a:spcAft>
                      </a:pPr>
                      <a:r>
                        <a:rPr lang="ru-RU" sz="1600" noProof="1">
                          <a:effectLst/>
                        </a:rPr>
                        <a:t>Соблюдает требования к определению учебных целей </a:t>
                      </a:r>
                      <a:endParaRPr lang="ru-RU" sz="1400" noProof="1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800"/>
                        </a:spcAft>
                      </a:pPr>
                      <a:r>
                        <a:rPr lang="ru-RU" sz="1600" noProof="1">
                          <a:effectLst/>
                        </a:rPr>
                        <a:t>Постановка учебных целей в соответствии с технологией SMART</a:t>
                      </a:r>
                      <a:endParaRPr lang="ru-RU" sz="1400" noProof="1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41865938"/>
                  </a:ext>
                </a:extLst>
              </a:tr>
              <a:tr h="598416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800"/>
                        </a:spcAft>
                      </a:pPr>
                      <a:r>
                        <a:rPr lang="ru-RU" sz="1600" b="0" noProof="1">
                          <a:effectLst/>
                        </a:rPr>
                        <a:t>Названия и сущность методов обучения по технологии SCAFFOLD </a:t>
                      </a:r>
                      <a:endParaRPr lang="ru-RU" sz="1400" b="0" noProof="1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800"/>
                        </a:spcAft>
                      </a:pPr>
                      <a:r>
                        <a:rPr lang="ru-RU" sz="1600" noProof="1">
                          <a:effectLst/>
                        </a:rPr>
                        <a:t>Различает и выбирает методы обучения по технологии SCAFFOLD </a:t>
                      </a:r>
                      <a:endParaRPr lang="ru-RU" sz="1400" noProof="1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800"/>
                        </a:spcAft>
                      </a:pPr>
                      <a:r>
                        <a:rPr lang="ru-RU" sz="1600" noProof="1">
                          <a:effectLst/>
                        </a:rPr>
                        <a:t>Применение эффективных методов обучения по технологии SCAFFOLD </a:t>
                      </a:r>
                      <a:endParaRPr lang="ru-RU" sz="1400" noProof="1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24260628"/>
                  </a:ext>
                </a:extLst>
              </a:tr>
              <a:tr h="598416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800"/>
                        </a:spcAft>
                      </a:pPr>
                      <a:r>
                        <a:rPr lang="ru-RU" sz="1600" b="0" noProof="1">
                          <a:effectLst/>
                        </a:rPr>
                        <a:t>Названия и сущность методов оценки по технологии SCAFFOLD </a:t>
                      </a:r>
                      <a:endParaRPr lang="ru-RU" sz="1400" b="0" noProof="1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800"/>
                        </a:spcAft>
                      </a:pPr>
                      <a:r>
                        <a:rPr lang="ru-RU" sz="1600" noProof="1">
                          <a:effectLst/>
                        </a:rPr>
                        <a:t>Различает и выбирает методы оценки по технологии SCAFFOLD </a:t>
                      </a:r>
                      <a:endParaRPr lang="ru-RU" sz="1400" noProof="1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800"/>
                        </a:spcAft>
                      </a:pPr>
                      <a:r>
                        <a:rPr lang="ru-RU" sz="1600" noProof="1">
                          <a:effectLst/>
                        </a:rPr>
                        <a:t>Применение методов оценки по технологии SCAFFOLD </a:t>
                      </a:r>
                      <a:endParaRPr lang="ru-RU" sz="1400" noProof="1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665333179"/>
                  </a:ext>
                </a:extLst>
              </a:tr>
              <a:tr h="1102346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800"/>
                        </a:spcAft>
                      </a:pPr>
                      <a:r>
                        <a:rPr lang="ru-RU" sz="1600" b="0" noProof="1">
                          <a:effectLst/>
                        </a:rPr>
                        <a:t>Названия и сущность цифровых, предпринимательских, жизненных и «зеленых» компетенций SCAFFOLD в учебные предметы и темы </a:t>
                      </a:r>
                      <a:endParaRPr lang="ru-RU" sz="1400" b="0" noProof="1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800"/>
                        </a:spcAft>
                      </a:pPr>
                      <a:r>
                        <a:rPr lang="ru-RU" sz="1600" noProof="1">
                          <a:effectLst/>
                        </a:rPr>
                        <a:t>Определяет и выбирает  необходимые цифровые, предпринимательские, жизненные и «зеленые» компетенции SCAFFOLD </a:t>
                      </a:r>
                      <a:endParaRPr lang="ru-RU" sz="1400" noProof="1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800"/>
                        </a:spcAft>
                      </a:pPr>
                      <a:r>
                        <a:rPr lang="ru-RU" sz="1600" noProof="1">
                          <a:effectLst/>
                        </a:rPr>
                        <a:t>Интеграция цифровых, предпринимательских, жизненных и «зеленых» компетенций в учебные предметы и темы </a:t>
                      </a:r>
                      <a:endParaRPr lang="ru-RU" sz="1400" noProof="1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051013726"/>
                  </a:ext>
                </a:extLst>
              </a:tr>
              <a:tr h="850381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800"/>
                        </a:spcAft>
                      </a:pPr>
                      <a:r>
                        <a:rPr lang="ru-RU" sz="1600" b="0" noProof="1">
                          <a:effectLst/>
                        </a:rPr>
                        <a:t>Этапы планов занятий по технологии SCAFFOLD </a:t>
                      </a:r>
                      <a:endParaRPr lang="ru-RU" sz="1400" b="0" noProof="1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800"/>
                        </a:spcAft>
                      </a:pPr>
                      <a:r>
                        <a:rPr lang="ru-RU" sz="1600" noProof="1">
                          <a:effectLst/>
                        </a:rPr>
                        <a:t>Соблюдает порядок разработки планов занятий по технологии SCAFFOLD </a:t>
                      </a:r>
                      <a:endParaRPr lang="ru-RU" sz="1400" noProof="1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800"/>
                        </a:spcAft>
                      </a:pPr>
                      <a:r>
                        <a:rPr lang="ru-RU" sz="1600" noProof="1">
                          <a:effectLst/>
                        </a:rPr>
                        <a:t>Разработка планов занятий по технологии SCAFFOLD </a:t>
                      </a:r>
                      <a:endParaRPr lang="ru-RU" sz="1400" noProof="1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12236781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69121266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8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FD3B74A7-E075-E604-9CDC-8DBAE82EB2B9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ru-RU" noProof="1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5273AFA-A891-D7DD-07B7-33615122CE7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ru-RU" noProof="1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F2E6087-DE4C-39D6-52F0-F77D649F4D3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DB84476-BC29-4407-9D57-B2E562B8968B}" type="slidenum">
              <a:rPr lang="ru-RU" noProof="1" smtClean="0"/>
              <a:pPr/>
              <a:t>85</a:t>
            </a:fld>
            <a:endParaRPr lang="ru-RU" noProof="1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F89338F9-E6F0-3F79-6205-95095C3622AE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/>
        <p:txBody>
          <a:bodyPr/>
          <a:lstStyle/>
          <a:p>
            <a:endParaRPr lang="ru-RU" noProof="1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D7F5C8BA-B1BE-E902-2A4D-5063AD9CDF9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/>
        <p:txBody>
          <a:bodyPr/>
          <a:lstStyle/>
          <a:p>
            <a:endParaRPr lang="ru-RU" noProof="1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BE8E2785-A3EE-7921-5952-7CB397D9315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8129" y="-70812"/>
            <a:ext cx="10111954" cy="1262485"/>
          </a:xfrm>
        </p:spPr>
        <p:txBody>
          <a:bodyPr>
            <a:normAutofit/>
          </a:bodyPr>
          <a:lstStyle/>
          <a:p>
            <a:r>
              <a:rPr lang="ru-RU" noProof="1"/>
              <a:t>Свидетельство того, что программа работает </a:t>
            </a:r>
          </a:p>
        </p:txBody>
      </p:sp>
      <p:graphicFrame>
        <p:nvGraphicFramePr>
          <p:cNvPr id="15" name="Схема 2">
            <a:extLst>
              <a:ext uri="{FF2B5EF4-FFF2-40B4-BE49-F238E27FC236}">
                <a16:creationId xmlns:a16="http://schemas.microsoft.com/office/drawing/2014/main" id="{F90E27BF-D64A-02F6-A815-FA208BA55A74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108074572"/>
              </p:ext>
            </p:extLst>
          </p:nvPr>
        </p:nvGraphicFramePr>
        <p:xfrm>
          <a:off x="73754" y="1927799"/>
          <a:ext cx="7625875" cy="439591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17" name="TextBox 16">
            <a:extLst>
              <a:ext uri="{FF2B5EF4-FFF2-40B4-BE49-F238E27FC236}">
                <a16:creationId xmlns:a16="http://schemas.microsoft.com/office/drawing/2014/main" id="{45D5EF40-3FF2-567E-108B-BDFD9F2133EE}"/>
              </a:ext>
            </a:extLst>
          </p:cNvPr>
          <p:cNvSpPr txBox="1"/>
          <p:nvPr/>
        </p:nvSpPr>
        <p:spPr>
          <a:xfrm>
            <a:off x="528129" y="1056410"/>
            <a:ext cx="155786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b="1" noProof="1">
                <a:latin typeface="Times New Roman" panose="02020603050405020304" pitchFamily="18" charset="0"/>
                <a:cs typeface="Times New Roman" panose="02020603050405020304" pitchFamily="18" charset="0"/>
              </a:rPr>
              <a:t>Учебный план ИРПО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9DB14B8D-7D0A-8C8B-3EA4-073822D99E63}"/>
              </a:ext>
            </a:extLst>
          </p:cNvPr>
          <p:cNvSpPr txBox="1"/>
          <p:nvPr/>
        </p:nvSpPr>
        <p:spPr>
          <a:xfrm>
            <a:off x="6591758" y="1005738"/>
            <a:ext cx="165253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noProof="1">
                <a:latin typeface="Times New Roman" panose="02020603050405020304" pitchFamily="18" charset="0"/>
                <a:cs typeface="Times New Roman" panose="02020603050405020304" pitchFamily="18" charset="0"/>
              </a:rPr>
              <a:t>Опрос </a:t>
            </a:r>
          </a:p>
        </p:txBody>
      </p:sp>
      <p:sp>
        <p:nvSpPr>
          <p:cNvPr id="19" name="Прямоугольник 18">
            <a:extLst>
              <a:ext uri="{FF2B5EF4-FFF2-40B4-BE49-F238E27FC236}">
                <a16:creationId xmlns:a16="http://schemas.microsoft.com/office/drawing/2014/main" id="{012547DD-D8E8-2ED7-21D4-D88DA755292B}"/>
              </a:ext>
            </a:extLst>
          </p:cNvPr>
          <p:cNvSpPr/>
          <p:nvPr/>
        </p:nvSpPr>
        <p:spPr>
          <a:xfrm>
            <a:off x="6591759" y="1433647"/>
            <a:ext cx="5266258" cy="646331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r>
              <a:rPr lang="ru-RU" noProof="1">
                <a:latin typeface="Times New Roman" panose="02020603050405020304" pitchFamily="18" charset="0"/>
                <a:cs typeface="Times New Roman" panose="02020603050405020304" pitchFamily="18" charset="0"/>
                <a:hlinkClick r:id="rId7"/>
              </a:rPr>
              <a:t>https://docs.google.com/forms/d/15tKgY_pQluEd8gIk740OxgMlZRuy9PMz2q0aur6qNRw/edit#responses</a:t>
            </a:r>
            <a:r>
              <a:rPr lang="ru-RU" noProof="1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</a:p>
        </p:txBody>
      </p:sp>
      <p:sp>
        <p:nvSpPr>
          <p:cNvPr id="20" name="Прямоугольник 19">
            <a:extLst>
              <a:ext uri="{FF2B5EF4-FFF2-40B4-BE49-F238E27FC236}">
                <a16:creationId xmlns:a16="http://schemas.microsoft.com/office/drawing/2014/main" id="{5E430ECB-664C-F22A-B5C1-94A7225AF593}"/>
              </a:ext>
            </a:extLst>
          </p:cNvPr>
          <p:cNvSpPr/>
          <p:nvPr/>
        </p:nvSpPr>
        <p:spPr>
          <a:xfrm>
            <a:off x="6591758" y="2173464"/>
            <a:ext cx="5266257" cy="646331"/>
          </a:xfrm>
          <a:prstGeom prst="rect">
            <a:avLst/>
          </a:prstGeom>
          <a:ln w="3175">
            <a:noFill/>
          </a:ln>
        </p:spPr>
        <p:txBody>
          <a:bodyPr wrap="square">
            <a:spAutoFit/>
          </a:bodyPr>
          <a:lstStyle/>
          <a:p>
            <a:r>
              <a:rPr lang="ru-RU" noProof="1">
                <a:latin typeface="Times New Roman" panose="02020603050405020304" pitchFamily="18" charset="0"/>
                <a:cs typeface="Times New Roman" panose="02020603050405020304" pitchFamily="18" charset="0"/>
                <a:hlinkClick r:id="rId8"/>
              </a:rPr>
              <a:t>https://docs.google.com/forms/d/1buSZdlEIGTHWYWIliZqhRRiKc5zK62c4qCq1BFkTfOo/edit#responses</a:t>
            </a:r>
            <a:r>
              <a:rPr lang="ru-RU" noProof="1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</a:p>
        </p:txBody>
      </p:sp>
      <p:pic>
        <p:nvPicPr>
          <p:cNvPr id="21" name="Рисунок 1">
            <a:extLst>
              <a:ext uri="{FF2B5EF4-FFF2-40B4-BE49-F238E27FC236}">
                <a16:creationId xmlns:a16="http://schemas.microsoft.com/office/drawing/2014/main" id="{A3A61FEC-AD93-F780-8546-70010041E8D9}"/>
              </a:ext>
            </a:extLst>
          </p:cNvPr>
          <p:cNvPicPr>
            <a:picLocks noChangeAspect="1"/>
          </p:cNvPicPr>
          <p:nvPr/>
        </p:nvPicPr>
        <p:blipFill rotWithShape="1">
          <a:blip r:embed="rId9"/>
          <a:srcRect l="16298" t="6547" r="66747" b="7036"/>
          <a:stretch/>
        </p:blipFill>
        <p:spPr>
          <a:xfrm>
            <a:off x="6765960" y="3344990"/>
            <a:ext cx="2102044" cy="301328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22" name="Рисунок 3">
            <a:extLst>
              <a:ext uri="{FF2B5EF4-FFF2-40B4-BE49-F238E27FC236}">
                <a16:creationId xmlns:a16="http://schemas.microsoft.com/office/drawing/2014/main" id="{C705B6CE-F058-3A64-95CF-89E07194C78D}"/>
              </a:ext>
            </a:extLst>
          </p:cNvPr>
          <p:cNvPicPr>
            <a:picLocks noChangeAspect="1"/>
          </p:cNvPicPr>
          <p:nvPr/>
        </p:nvPicPr>
        <p:blipFill rotWithShape="1">
          <a:blip r:embed="rId10"/>
          <a:srcRect l="16102" t="8905" r="66657" b="5237"/>
          <a:stretch/>
        </p:blipFill>
        <p:spPr>
          <a:xfrm>
            <a:off x="9336335" y="3395790"/>
            <a:ext cx="2102044" cy="294413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23" name="TextBox 22">
            <a:extLst>
              <a:ext uri="{FF2B5EF4-FFF2-40B4-BE49-F238E27FC236}">
                <a16:creationId xmlns:a16="http://schemas.microsoft.com/office/drawing/2014/main" id="{4A963978-4021-6295-DF5D-DE12565E4D74}"/>
              </a:ext>
            </a:extLst>
          </p:cNvPr>
          <p:cNvSpPr txBox="1"/>
          <p:nvPr/>
        </p:nvSpPr>
        <p:spPr>
          <a:xfrm>
            <a:off x="8462375" y="2948148"/>
            <a:ext cx="137952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noProof="1">
                <a:latin typeface="Times New Roman" panose="02020603050405020304" pitchFamily="18" charset="0"/>
                <a:cs typeface="Times New Roman" panose="02020603050405020304" pitchFamily="18" charset="0"/>
              </a:rPr>
              <a:t>Семинары </a:t>
            </a:r>
          </a:p>
        </p:txBody>
      </p:sp>
    </p:spTree>
    <p:extLst>
      <p:ext uri="{BB962C8B-B14F-4D97-AF65-F5344CB8AC3E}">
        <p14:creationId xmlns:p14="http://schemas.microsoft.com/office/powerpoint/2010/main" val="23007244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8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F9977941-CEC4-9695-6E39-DA454AFA6CF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ru-RU" noProof="1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1831F36-7D5B-C573-985C-A60CAF57512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ru-RU" noProof="1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7BE4F75-1E75-966E-08D3-D3602281BE1D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DB84476-BC29-4407-9D57-B2E562B8968B}" type="slidenum">
              <a:rPr lang="ru-RU" noProof="1" smtClean="0"/>
              <a:pPr/>
              <a:t>86</a:t>
            </a:fld>
            <a:endParaRPr lang="ru-RU" noProof="1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EB4AE5B3-4567-A84F-5EC3-C97DF4DDCDCB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/>
        <p:txBody>
          <a:bodyPr/>
          <a:lstStyle/>
          <a:p>
            <a:endParaRPr lang="ru-RU" noProof="1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793F3F60-87F4-B2C6-206E-05E88126EF45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/>
        <p:txBody>
          <a:bodyPr/>
          <a:lstStyle/>
          <a:p>
            <a:endParaRPr lang="ru-RU" noProof="1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B16A66C7-9238-D840-ECD9-C4181A23D90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noProof="1"/>
              <a:t>То что мы сегодня делаем</a:t>
            </a:r>
          </a:p>
        </p:txBody>
      </p:sp>
      <p:pic>
        <p:nvPicPr>
          <p:cNvPr id="9" name="Рисунок 1">
            <a:extLst>
              <a:ext uri="{FF2B5EF4-FFF2-40B4-BE49-F238E27FC236}">
                <a16:creationId xmlns:a16="http://schemas.microsoft.com/office/drawing/2014/main" id="{FF30B0DD-6DA7-C0E6-24DB-F9D4BCF4D12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724400" y="1772723"/>
            <a:ext cx="5799145" cy="3864587"/>
          </a:xfrm>
          <a:prstGeom prst="rect">
            <a:avLst/>
          </a:prstGeom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  <a:outerShdw blurRad="292100" dist="139700" dir="2700000" algn="tl" rotWithShape="0">
              <a:srgbClr val="333333">
                <a:alpha val="65000"/>
              </a:srgbClr>
            </a:outerShdw>
            <a:softEdge rad="63500"/>
          </a:effectLst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3A6D75C7-237E-FF53-9CE5-CF068BA1A3EC}"/>
              </a:ext>
            </a:extLst>
          </p:cNvPr>
          <p:cNvSpPr txBox="1"/>
          <p:nvPr/>
        </p:nvSpPr>
        <p:spPr>
          <a:xfrm>
            <a:off x="924700" y="2412797"/>
            <a:ext cx="2257184" cy="2272174"/>
          </a:xfrm>
          <a:prstGeom prst="rect">
            <a:avLst/>
          </a:prstGeom>
          <a:noFill/>
        </p:spPr>
        <p:txBody>
          <a:bodyPr wrap="square" rtlCol="0">
            <a:prstTxWarp prst="textCircle">
              <a:avLst/>
            </a:prstTxWarp>
            <a:spAutoFit/>
          </a:bodyPr>
          <a:lstStyle/>
          <a:p>
            <a:r>
              <a:rPr lang="ru-RU" sz="2800" noProof="1">
                <a:latin typeface="Times New Roman" panose="02020603050405020304" pitchFamily="18" charset="0"/>
                <a:cs typeface="Times New Roman" panose="02020603050405020304" pitchFamily="18" charset="0"/>
              </a:rPr>
              <a:t>Учиться, Расти, Трансформироваться, Преуспевать,</a:t>
            </a:r>
          </a:p>
        </p:txBody>
      </p:sp>
      <p:pic>
        <p:nvPicPr>
          <p:cNvPr id="12" name="Picture 2" descr="Поднимается по лестнице, результатов — 175 тысяч: изображения, стоковые  фотографии, картинки без лицензионных платежей | Shutterstock">
            <a:extLst>
              <a:ext uri="{FF2B5EF4-FFF2-40B4-BE49-F238E27FC236}">
                <a16:creationId xmlns:a16="http://schemas.microsoft.com/office/drawing/2014/main" id="{B8447BEE-5C81-BF97-034A-99EBFA02D6B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9941"/>
          <a:stretch/>
        </p:blipFill>
        <p:spPr bwMode="auto">
          <a:xfrm>
            <a:off x="1050638" y="2566711"/>
            <a:ext cx="2005308" cy="1944890"/>
          </a:xfrm>
          <a:prstGeom prst="ellipse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2256558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0" dur="1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8" presetClass="emph" presetSubtype="0" repeatCount="indefinite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12" dur="20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/>
      <p:bldP spid="11" grpId="1"/>
    </p:bldLst>
  </p:timing>
</p:sld>
</file>

<file path=ppt/slides/slide8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F40C6B90-526E-5363-585B-F20CA4CB326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ru-RU" noProof="1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0F13F69-54F0-B963-057D-3016745EA6D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ru-RU" noProof="1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326F43A-3304-0AB5-01AD-CDEA0E6C981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DB84476-BC29-4407-9D57-B2E562B8968B}" type="slidenum">
              <a:rPr lang="ru-RU" noProof="1" smtClean="0"/>
              <a:pPr/>
              <a:t>87</a:t>
            </a:fld>
            <a:endParaRPr lang="ru-RU" noProof="1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B1B83658-6489-FBC1-5158-935B34495949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/>
        <p:txBody>
          <a:bodyPr/>
          <a:lstStyle/>
          <a:p>
            <a:endParaRPr lang="ru-RU" noProof="1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E7BC8AEE-1B92-4854-7ECE-745488E6C59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/>
        <p:txBody>
          <a:bodyPr/>
          <a:lstStyle/>
          <a:p>
            <a:endParaRPr lang="ru-RU" noProof="1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48E0D7EB-A7D4-EBC8-9C2B-3ECFD631A993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76691" y="3038275"/>
            <a:ext cx="9800353" cy="3181567"/>
          </a:xfrm>
        </p:spPr>
        <p:txBody>
          <a:bodyPr/>
          <a:lstStyle/>
          <a:p>
            <a:r>
              <a:rPr lang="ru-RU" noProof="1">
                <a:latin typeface="Times New Roman" panose="02020603050405020304" pitchFamily="18" charset="0"/>
                <a:cs typeface="Times New Roman" panose="02020603050405020304" pitchFamily="18" charset="0"/>
                <a:hlinkClick r:id="rId2"/>
              </a:rPr>
              <a:t>https://docs.google.com/spreadsheets/d/1rhX_iGf8g1tBfW-WM9s8gm2a_KvNMJV57O7-fKFTt7U/edit?gid=0#gid=0</a:t>
            </a:r>
            <a:r>
              <a:rPr lang="ru-RU" noProof="1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</a:p>
          <a:p>
            <a:endParaRPr lang="ru-RU" noProof="1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4E4308F4-534E-5DA5-00E6-2161E66C02F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76691" y="1341906"/>
            <a:ext cx="9800353" cy="1262485"/>
          </a:xfrm>
        </p:spPr>
        <p:txBody>
          <a:bodyPr>
            <a:normAutofit fontScale="90000"/>
          </a:bodyPr>
          <a:lstStyle/>
          <a:p>
            <a:r>
              <a:rPr lang="ru-RU" noProof="1"/>
              <a:t>Наше видение в котором подход к проектированию программ профессионального развития педагогов могло бы усилить эту инициативу</a:t>
            </a:r>
            <a:br>
              <a:rPr lang="ru-RU" noProof="1"/>
            </a:br>
            <a:endParaRPr lang="ru-RU" noProof="1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5E1A56AA-9114-A9E5-32C7-699EE8A73AD5}"/>
              </a:ext>
            </a:extLst>
          </p:cNvPr>
          <p:cNvSpPr txBox="1"/>
          <p:nvPr/>
        </p:nvSpPr>
        <p:spPr>
          <a:xfrm>
            <a:off x="704088" y="4067663"/>
            <a:ext cx="6114288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b="1" noProof="1">
                <a:latin typeface="Arial" panose="020B0604020202020204" pitchFamily="34" charset="0"/>
                <a:cs typeface="Arial" panose="020B0604020202020204" pitchFamily="34" charset="0"/>
              </a:rPr>
              <a:t>Разработка гибких/адаптивных образовательных программ с интеграций обучения непосредственно в рабочий процесс</a:t>
            </a:r>
          </a:p>
        </p:txBody>
      </p:sp>
    </p:spTree>
    <p:extLst>
      <p:ext uri="{BB962C8B-B14F-4D97-AF65-F5344CB8AC3E}">
        <p14:creationId xmlns:p14="http://schemas.microsoft.com/office/powerpoint/2010/main" val="10327556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8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3DF5F9B-F1C7-1469-A2C7-E6AFB16418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7680" y="396828"/>
            <a:ext cx="8890781" cy="1080120"/>
          </a:xfrm>
        </p:spPr>
        <p:txBody>
          <a:bodyPr/>
          <a:lstStyle/>
          <a:p>
            <a:r>
              <a:rPr lang="ru-RU" noProof="1"/>
              <a:t>Сравнение ваших трёх шаблонов</a:t>
            </a:r>
          </a:p>
        </p:txBody>
      </p:sp>
      <p:sp>
        <p:nvSpPr>
          <p:cNvPr id="4" name="Shape 3">
            <a:extLst>
              <a:ext uri="{FF2B5EF4-FFF2-40B4-BE49-F238E27FC236}">
                <a16:creationId xmlns:a16="http://schemas.microsoft.com/office/drawing/2014/main" id="{511A5E02-5978-000D-7067-A3F36A35C150}"/>
              </a:ext>
            </a:extLst>
          </p:cNvPr>
          <p:cNvSpPr/>
          <p:nvPr/>
        </p:nvSpPr>
        <p:spPr>
          <a:xfrm>
            <a:off x="487680" y="1537908"/>
            <a:ext cx="11216640" cy="463296"/>
          </a:xfrm>
          <a:prstGeom prst="rect">
            <a:avLst/>
          </a:prstGeom>
          <a:solidFill>
            <a:srgbClr val="D6F0F3"/>
          </a:solidFill>
          <a:ln w="12700">
            <a:solidFill>
              <a:srgbClr val="039AAA"/>
            </a:solidFill>
            <a:prstDash val="solid"/>
          </a:ln>
        </p:spPr>
        <p:txBody>
          <a:bodyPr/>
          <a:lstStyle/>
          <a:p>
            <a:pPr defTabSz="1219170">
              <a:defRPr/>
            </a:pPr>
            <a:endParaRPr lang="ru-RU" sz="1467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Shape 4">
            <a:extLst>
              <a:ext uri="{FF2B5EF4-FFF2-40B4-BE49-F238E27FC236}">
                <a16:creationId xmlns:a16="http://schemas.microsoft.com/office/drawing/2014/main" id="{70A9611E-23FB-1773-6E23-25EA570021F4}"/>
              </a:ext>
            </a:extLst>
          </p:cNvPr>
          <p:cNvSpPr/>
          <p:nvPr/>
        </p:nvSpPr>
        <p:spPr>
          <a:xfrm>
            <a:off x="487680" y="1537908"/>
            <a:ext cx="121920" cy="463296"/>
          </a:xfrm>
          <a:prstGeom prst="rect">
            <a:avLst/>
          </a:prstGeom>
          <a:solidFill>
            <a:srgbClr val="027A87"/>
          </a:solidFill>
          <a:ln w="12700">
            <a:solidFill>
              <a:srgbClr val="027A87"/>
            </a:solidFill>
            <a:prstDash val="solid"/>
          </a:ln>
        </p:spPr>
        <p:txBody>
          <a:bodyPr/>
          <a:lstStyle/>
          <a:p>
            <a:pPr defTabSz="1219170">
              <a:defRPr/>
            </a:pPr>
            <a:endParaRPr lang="ru-RU" sz="1467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Text 5">
            <a:extLst>
              <a:ext uri="{FF2B5EF4-FFF2-40B4-BE49-F238E27FC236}">
                <a16:creationId xmlns:a16="http://schemas.microsoft.com/office/drawing/2014/main" id="{4F607D5A-97CD-23B8-5D58-A816310AFB04}"/>
              </a:ext>
            </a:extLst>
          </p:cNvPr>
          <p:cNvSpPr/>
          <p:nvPr/>
        </p:nvSpPr>
        <p:spPr>
          <a:xfrm>
            <a:off x="853440" y="1537908"/>
            <a:ext cx="10607040" cy="463296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467" noProof="1">
                <a:solidFill>
                  <a:srgbClr val="16303A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За вашим столом сравните три шаблона наблюдения и запишите три вывода на большом стикере.</a:t>
            </a:r>
            <a:endParaRPr lang="ru-RU" sz="1467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Shape 6">
            <a:extLst>
              <a:ext uri="{FF2B5EF4-FFF2-40B4-BE49-F238E27FC236}">
                <a16:creationId xmlns:a16="http://schemas.microsoft.com/office/drawing/2014/main" id="{5592B5B5-A481-C478-970E-077BBF13A6E1}"/>
              </a:ext>
            </a:extLst>
          </p:cNvPr>
          <p:cNvSpPr/>
          <p:nvPr/>
        </p:nvSpPr>
        <p:spPr>
          <a:xfrm>
            <a:off x="487680" y="2171892"/>
            <a:ext cx="11216640" cy="1158240"/>
          </a:xfrm>
          <a:prstGeom prst="rect">
            <a:avLst/>
          </a:prstGeom>
          <a:solidFill>
            <a:srgbClr val="FFFFFF"/>
          </a:solidFill>
          <a:ln w="6350">
            <a:solidFill>
              <a:srgbClr val="B2D8DE"/>
            </a:solidFill>
            <a:prstDash val="solid"/>
          </a:ln>
          <a:effectLst>
            <a:outerShdw blurRad="76200" dist="38100" dir="8100000" algn="bl" rotWithShape="0">
              <a:srgbClr val="000000">
                <a:alpha val="10000"/>
              </a:srgbClr>
            </a:outerShdw>
          </a:effectLst>
        </p:spPr>
        <p:txBody>
          <a:bodyPr/>
          <a:lstStyle/>
          <a:p>
            <a:pPr defTabSz="1219170">
              <a:defRPr/>
            </a:pPr>
            <a:endParaRPr lang="ru-RU" sz="1467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Shape 7">
            <a:extLst>
              <a:ext uri="{FF2B5EF4-FFF2-40B4-BE49-F238E27FC236}">
                <a16:creationId xmlns:a16="http://schemas.microsoft.com/office/drawing/2014/main" id="{E296A7BC-EA93-3965-993E-9A3252865CA9}"/>
              </a:ext>
            </a:extLst>
          </p:cNvPr>
          <p:cNvSpPr/>
          <p:nvPr/>
        </p:nvSpPr>
        <p:spPr>
          <a:xfrm>
            <a:off x="633984" y="2501076"/>
            <a:ext cx="512064" cy="512064"/>
          </a:xfrm>
          <a:prstGeom prst="ellipse">
            <a:avLst/>
          </a:prstGeom>
          <a:solidFill>
            <a:srgbClr val="027A87"/>
          </a:solidFill>
          <a:ln w="12700">
            <a:solidFill>
              <a:srgbClr val="027A87"/>
            </a:solidFill>
            <a:prstDash val="solid"/>
          </a:ln>
        </p:spPr>
        <p:txBody>
          <a:bodyPr/>
          <a:lstStyle/>
          <a:p>
            <a:pPr defTabSz="1219170">
              <a:defRPr/>
            </a:pPr>
            <a:endParaRPr lang="ru-RU" sz="1467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Text 8">
            <a:extLst>
              <a:ext uri="{FF2B5EF4-FFF2-40B4-BE49-F238E27FC236}">
                <a16:creationId xmlns:a16="http://schemas.microsoft.com/office/drawing/2014/main" id="{3648140C-55D2-BD19-334D-DDAA664E90FC}"/>
              </a:ext>
            </a:extLst>
          </p:cNvPr>
          <p:cNvSpPr/>
          <p:nvPr/>
        </p:nvSpPr>
        <p:spPr>
          <a:xfrm>
            <a:off x="633984" y="2501076"/>
            <a:ext cx="512064" cy="512064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algn="ctr" defTabSz="1219170">
              <a:defRPr/>
            </a:pPr>
            <a:r>
              <a:rPr lang="ru-RU" sz="1467" b="1" noProof="1">
                <a:solidFill>
                  <a:srgbClr val="FFFFFF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1</a:t>
            </a:r>
            <a:endParaRPr lang="ru-RU" sz="1467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Text 9">
            <a:extLst>
              <a:ext uri="{FF2B5EF4-FFF2-40B4-BE49-F238E27FC236}">
                <a16:creationId xmlns:a16="http://schemas.microsoft.com/office/drawing/2014/main" id="{8A4E8DF2-0112-F36A-5120-ED1362520995}"/>
              </a:ext>
            </a:extLst>
          </p:cNvPr>
          <p:cNvSpPr/>
          <p:nvPr/>
        </p:nvSpPr>
        <p:spPr>
          <a:xfrm>
            <a:off x="1341120" y="2209876"/>
            <a:ext cx="9997440" cy="633984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600" b="1" noProof="1">
                <a:solidFill>
                  <a:srgbClr val="16303A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В чём за вашими столами совпадают мнения о том, что присутствовало или отсутствовало в трёх кейсах?</a:t>
            </a:r>
            <a:endParaRPr lang="ru-RU" sz="16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Text 10">
            <a:extLst>
              <a:ext uri="{FF2B5EF4-FFF2-40B4-BE49-F238E27FC236}">
                <a16:creationId xmlns:a16="http://schemas.microsoft.com/office/drawing/2014/main" id="{71717554-CEB0-EEA8-C49E-9E04109F56D8}"/>
              </a:ext>
            </a:extLst>
          </p:cNvPr>
          <p:cNvSpPr/>
          <p:nvPr/>
        </p:nvSpPr>
        <p:spPr>
          <a:xfrm>
            <a:off x="1341120" y="2843860"/>
            <a:ext cx="9997440" cy="390144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467" i="1" noProof="1">
                <a:solidFill>
                  <a:srgbClr val="5C7A84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Ищите устойчивые паттерны — индикаторы, которые проявлялись одинаково во всех трёх презентациях.</a:t>
            </a:r>
            <a:endParaRPr lang="ru-RU" sz="1467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Shape 11">
            <a:extLst>
              <a:ext uri="{FF2B5EF4-FFF2-40B4-BE49-F238E27FC236}">
                <a16:creationId xmlns:a16="http://schemas.microsoft.com/office/drawing/2014/main" id="{E8310213-F5ED-6679-4566-24D3815EAD53}"/>
              </a:ext>
            </a:extLst>
          </p:cNvPr>
          <p:cNvSpPr/>
          <p:nvPr/>
        </p:nvSpPr>
        <p:spPr>
          <a:xfrm>
            <a:off x="487680" y="3452052"/>
            <a:ext cx="11216640" cy="1158240"/>
          </a:xfrm>
          <a:prstGeom prst="rect">
            <a:avLst/>
          </a:prstGeom>
          <a:solidFill>
            <a:srgbClr val="D6F0F3"/>
          </a:solidFill>
          <a:ln w="6350">
            <a:solidFill>
              <a:srgbClr val="B2D8DE"/>
            </a:solidFill>
            <a:prstDash val="solid"/>
          </a:ln>
          <a:effectLst>
            <a:outerShdw blurRad="76200" dist="38100" dir="8100000" algn="bl" rotWithShape="0">
              <a:srgbClr val="000000">
                <a:alpha val="10000"/>
              </a:srgbClr>
            </a:outerShdw>
          </a:effectLst>
        </p:spPr>
        <p:txBody>
          <a:bodyPr/>
          <a:lstStyle/>
          <a:p>
            <a:pPr defTabSz="1219170">
              <a:defRPr/>
            </a:pPr>
            <a:endParaRPr lang="ru-RU" sz="1467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Shape 12">
            <a:extLst>
              <a:ext uri="{FF2B5EF4-FFF2-40B4-BE49-F238E27FC236}">
                <a16:creationId xmlns:a16="http://schemas.microsoft.com/office/drawing/2014/main" id="{A451E7C0-6B80-A771-A99A-74C811D0561D}"/>
              </a:ext>
            </a:extLst>
          </p:cNvPr>
          <p:cNvSpPr/>
          <p:nvPr/>
        </p:nvSpPr>
        <p:spPr>
          <a:xfrm>
            <a:off x="633984" y="3781236"/>
            <a:ext cx="512064" cy="512064"/>
          </a:xfrm>
          <a:prstGeom prst="ellipse">
            <a:avLst/>
          </a:prstGeom>
          <a:solidFill>
            <a:srgbClr val="027A87"/>
          </a:solidFill>
          <a:ln w="12700">
            <a:solidFill>
              <a:srgbClr val="027A87"/>
            </a:solidFill>
            <a:prstDash val="solid"/>
          </a:ln>
        </p:spPr>
        <p:txBody>
          <a:bodyPr/>
          <a:lstStyle/>
          <a:p>
            <a:pPr defTabSz="1219170">
              <a:defRPr/>
            </a:pPr>
            <a:endParaRPr lang="ru-RU" sz="1467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Text 13">
            <a:extLst>
              <a:ext uri="{FF2B5EF4-FFF2-40B4-BE49-F238E27FC236}">
                <a16:creationId xmlns:a16="http://schemas.microsoft.com/office/drawing/2014/main" id="{6388188E-EC3B-E30E-A0EA-20345221D620}"/>
              </a:ext>
            </a:extLst>
          </p:cNvPr>
          <p:cNvSpPr/>
          <p:nvPr/>
        </p:nvSpPr>
        <p:spPr>
          <a:xfrm>
            <a:off x="633984" y="3781236"/>
            <a:ext cx="512064" cy="512064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algn="ctr" defTabSz="1219170">
              <a:defRPr/>
            </a:pPr>
            <a:r>
              <a:rPr lang="ru-RU" sz="1467" b="1" noProof="1">
                <a:solidFill>
                  <a:srgbClr val="FFFFFF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2</a:t>
            </a:r>
            <a:endParaRPr lang="ru-RU" sz="1467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Text 14">
            <a:extLst>
              <a:ext uri="{FF2B5EF4-FFF2-40B4-BE49-F238E27FC236}">
                <a16:creationId xmlns:a16="http://schemas.microsoft.com/office/drawing/2014/main" id="{B8EB8C01-882F-6473-8225-DECF79B1EF65}"/>
              </a:ext>
            </a:extLst>
          </p:cNvPr>
          <p:cNvSpPr/>
          <p:nvPr/>
        </p:nvSpPr>
        <p:spPr>
          <a:xfrm>
            <a:off x="1341120" y="3490036"/>
            <a:ext cx="9997440" cy="633984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600" b="1" noProof="1">
                <a:solidFill>
                  <a:srgbClr val="16303A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Во всех трёх программах какой индикатор качества присутствовал наиболее последовательно — и какой наиболее последовательно отсутствовал или вызывал неопределённость?</a:t>
            </a:r>
            <a:endParaRPr lang="ru-RU" sz="16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Text 15">
            <a:extLst>
              <a:ext uri="{FF2B5EF4-FFF2-40B4-BE49-F238E27FC236}">
                <a16:creationId xmlns:a16="http://schemas.microsoft.com/office/drawing/2014/main" id="{3A8D5BC9-D227-9058-F04F-B90F4FE6AD1B}"/>
              </a:ext>
            </a:extLst>
          </p:cNvPr>
          <p:cNvSpPr/>
          <p:nvPr/>
        </p:nvSpPr>
        <p:spPr>
          <a:xfrm>
            <a:off x="1341120" y="4124020"/>
            <a:ext cx="9997440" cy="390144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467" i="1" noProof="1">
                <a:solidFill>
                  <a:srgbClr val="5C7A84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Назовите по одному. ИК 2 и ИК 7 чаще всего обозначаются как отсутствующие — отметьте при синтезе, если паттерн подтвердится.</a:t>
            </a:r>
            <a:endParaRPr lang="ru-RU" sz="1467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Shape 16">
            <a:extLst>
              <a:ext uri="{FF2B5EF4-FFF2-40B4-BE49-F238E27FC236}">
                <a16:creationId xmlns:a16="http://schemas.microsoft.com/office/drawing/2014/main" id="{9F9ADB38-042E-9101-5451-768291B3BF2F}"/>
              </a:ext>
            </a:extLst>
          </p:cNvPr>
          <p:cNvSpPr/>
          <p:nvPr/>
        </p:nvSpPr>
        <p:spPr>
          <a:xfrm>
            <a:off x="487680" y="4732212"/>
            <a:ext cx="11216640" cy="1158240"/>
          </a:xfrm>
          <a:prstGeom prst="rect">
            <a:avLst/>
          </a:prstGeom>
          <a:solidFill>
            <a:srgbClr val="FFFFFF"/>
          </a:solidFill>
          <a:ln w="6350">
            <a:solidFill>
              <a:srgbClr val="B2D8DE"/>
            </a:solidFill>
            <a:prstDash val="solid"/>
          </a:ln>
          <a:effectLst>
            <a:outerShdw blurRad="76200" dist="38100" dir="8100000" algn="bl" rotWithShape="0">
              <a:srgbClr val="000000">
                <a:alpha val="10000"/>
              </a:srgbClr>
            </a:outerShdw>
          </a:effectLst>
        </p:spPr>
        <p:txBody>
          <a:bodyPr/>
          <a:lstStyle/>
          <a:p>
            <a:pPr defTabSz="1219170">
              <a:defRPr/>
            </a:pPr>
            <a:endParaRPr lang="ru-RU" sz="1467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Shape 17">
            <a:extLst>
              <a:ext uri="{FF2B5EF4-FFF2-40B4-BE49-F238E27FC236}">
                <a16:creationId xmlns:a16="http://schemas.microsoft.com/office/drawing/2014/main" id="{D55F9DEC-6FCF-2658-60D8-03461B11CE29}"/>
              </a:ext>
            </a:extLst>
          </p:cNvPr>
          <p:cNvSpPr/>
          <p:nvPr/>
        </p:nvSpPr>
        <p:spPr>
          <a:xfrm>
            <a:off x="633984" y="5061396"/>
            <a:ext cx="512064" cy="512064"/>
          </a:xfrm>
          <a:prstGeom prst="ellipse">
            <a:avLst/>
          </a:prstGeom>
          <a:solidFill>
            <a:srgbClr val="027A87"/>
          </a:solidFill>
          <a:ln w="12700">
            <a:solidFill>
              <a:srgbClr val="027A87"/>
            </a:solidFill>
            <a:prstDash val="solid"/>
          </a:ln>
        </p:spPr>
        <p:txBody>
          <a:bodyPr/>
          <a:lstStyle/>
          <a:p>
            <a:pPr defTabSz="1219170">
              <a:defRPr/>
            </a:pPr>
            <a:endParaRPr lang="ru-RU" sz="1467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Text 18">
            <a:extLst>
              <a:ext uri="{FF2B5EF4-FFF2-40B4-BE49-F238E27FC236}">
                <a16:creationId xmlns:a16="http://schemas.microsoft.com/office/drawing/2014/main" id="{6F375F21-4DA7-8273-F619-06D868395BC6}"/>
              </a:ext>
            </a:extLst>
          </p:cNvPr>
          <p:cNvSpPr/>
          <p:nvPr/>
        </p:nvSpPr>
        <p:spPr>
          <a:xfrm>
            <a:off x="633984" y="5061396"/>
            <a:ext cx="512064" cy="512064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algn="ctr" defTabSz="1219170">
              <a:defRPr/>
            </a:pPr>
            <a:r>
              <a:rPr lang="ru-RU" sz="1467" b="1" noProof="1">
                <a:solidFill>
                  <a:srgbClr val="FFFFFF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3</a:t>
            </a:r>
            <a:endParaRPr lang="ru-RU" sz="1467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" name="Text 19">
            <a:extLst>
              <a:ext uri="{FF2B5EF4-FFF2-40B4-BE49-F238E27FC236}">
                <a16:creationId xmlns:a16="http://schemas.microsoft.com/office/drawing/2014/main" id="{37A61083-7F69-5FA2-40EE-EB81648573C0}"/>
              </a:ext>
            </a:extLst>
          </p:cNvPr>
          <p:cNvSpPr/>
          <p:nvPr/>
        </p:nvSpPr>
        <p:spPr>
          <a:xfrm>
            <a:off x="1341120" y="4770196"/>
            <a:ext cx="9997440" cy="633984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600" b="1" noProof="1">
                <a:solidFill>
                  <a:srgbClr val="16303A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Чем отличаются кейсы в зависимости от того, на какую группу педагогов они ориентированы — общее образование, ПОО или смешанная?</a:t>
            </a:r>
            <a:endParaRPr lang="ru-RU" sz="16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" name="Text 20">
            <a:extLst>
              <a:ext uri="{FF2B5EF4-FFF2-40B4-BE49-F238E27FC236}">
                <a16:creationId xmlns:a16="http://schemas.microsoft.com/office/drawing/2014/main" id="{9DF13954-082C-8B43-D5F9-67AB498D9378}"/>
              </a:ext>
            </a:extLst>
          </p:cNvPr>
          <p:cNvSpPr/>
          <p:nvPr/>
        </p:nvSpPr>
        <p:spPr>
          <a:xfrm>
            <a:off x="1341120" y="5404180"/>
            <a:ext cx="9997440" cy="390144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467" i="1" noProof="1">
                <a:solidFill>
                  <a:srgbClr val="5C7A84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Не подталкивайте столы к урегулированию разногласий. Межсекторные различия аналитически ценны, а не проблема для решения.</a:t>
            </a:r>
            <a:endParaRPr lang="ru-RU" sz="1467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2" name="Text 21">
            <a:extLst>
              <a:ext uri="{FF2B5EF4-FFF2-40B4-BE49-F238E27FC236}">
                <a16:creationId xmlns:a16="http://schemas.microsoft.com/office/drawing/2014/main" id="{8728EB7F-0C3B-8EA5-E5E3-807F91DD774E}"/>
              </a:ext>
            </a:extLst>
          </p:cNvPr>
          <p:cNvSpPr/>
          <p:nvPr/>
        </p:nvSpPr>
        <p:spPr>
          <a:xfrm>
            <a:off x="487680" y="6073332"/>
            <a:ext cx="11216640" cy="341376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467" b="1" noProof="1">
                <a:solidFill>
                  <a:schemeClr val="bg1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Результат: три вывода на большом стикере за вашим столом — они размещаются на стене и остаются видимыми на 2-й и 3-й дни.</a:t>
            </a:r>
            <a:endParaRPr lang="ru-RU" sz="1467" noProof="1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3193745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8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2704860-8484-E5EE-AEAD-83DCF3E2D25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593" y="599923"/>
            <a:ext cx="10665729" cy="1080120"/>
          </a:xfrm>
        </p:spPr>
        <p:txBody>
          <a:bodyPr>
            <a:normAutofit/>
          </a:bodyPr>
          <a:lstStyle/>
          <a:p>
            <a:r>
              <a:rPr lang="ru-RU" noProof="1"/>
              <a:t>По две минуты каждому выступающему — чтобы что-то добавить</a:t>
            </a:r>
          </a:p>
        </p:txBody>
      </p:sp>
      <p:sp>
        <p:nvSpPr>
          <p:cNvPr id="4" name="Shape 3">
            <a:extLst>
              <a:ext uri="{FF2B5EF4-FFF2-40B4-BE49-F238E27FC236}">
                <a16:creationId xmlns:a16="http://schemas.microsoft.com/office/drawing/2014/main" id="{7633087D-2C1D-D0D7-622C-6B89E651841C}"/>
              </a:ext>
            </a:extLst>
          </p:cNvPr>
          <p:cNvSpPr/>
          <p:nvPr/>
        </p:nvSpPr>
        <p:spPr>
          <a:xfrm>
            <a:off x="623592" y="1658823"/>
            <a:ext cx="11143488" cy="1036320"/>
          </a:xfrm>
          <a:prstGeom prst="rect">
            <a:avLst/>
          </a:prstGeom>
          <a:solidFill>
            <a:schemeClr val="accent2"/>
          </a:solidFill>
          <a:ln w="12700">
            <a:solidFill>
              <a:srgbClr val="16303A"/>
            </a:solidFill>
            <a:prstDash val="solid"/>
          </a:ln>
        </p:spPr>
        <p:txBody>
          <a:bodyPr/>
          <a:lstStyle/>
          <a:p>
            <a:pPr defTabSz="1219170">
              <a:defRPr/>
            </a:pPr>
            <a:endParaRPr lang="ru-RU" sz="24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Text 4">
            <a:extLst>
              <a:ext uri="{FF2B5EF4-FFF2-40B4-BE49-F238E27FC236}">
                <a16:creationId xmlns:a16="http://schemas.microsoft.com/office/drawing/2014/main" id="{27C83D3D-7B9E-B419-B919-4BCD96F3219B}"/>
              </a:ext>
            </a:extLst>
          </p:cNvPr>
          <p:cNvSpPr/>
          <p:nvPr/>
        </p:nvSpPr>
        <p:spPr>
          <a:xfrm>
            <a:off x="867432" y="1658823"/>
            <a:ext cx="10850880" cy="103632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2000" i="1" noProof="1">
                <a:solidFill>
                  <a:srgbClr val="FFFFFF"/>
                </a:solidFill>
                <a:latin typeface="Arial" panose="020B0604020202020204" pitchFamily="34" charset="0"/>
                <a:ea typeface="Georgia" pitchFamily="34" charset="-122"/>
                <a:cs typeface="Arial" panose="020B0604020202020204" pitchFamily="34" charset="0"/>
              </a:rPr>
              <a:t>Наши три презентующих слушали ваши обсуждения. Мы хотим дать им краткую возможность ответить — добавить что-то, что не прозвучало за пятнадцать минут.</a:t>
            </a:r>
            <a:endParaRPr lang="ru-RU" sz="20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Shape 5">
            <a:extLst>
              <a:ext uri="{FF2B5EF4-FFF2-40B4-BE49-F238E27FC236}">
                <a16:creationId xmlns:a16="http://schemas.microsoft.com/office/drawing/2014/main" id="{266881F3-867A-C2B6-3B14-AE1EF8933420}"/>
              </a:ext>
            </a:extLst>
          </p:cNvPr>
          <p:cNvSpPr/>
          <p:nvPr/>
        </p:nvSpPr>
        <p:spPr>
          <a:xfrm>
            <a:off x="623592" y="2829724"/>
            <a:ext cx="3535680" cy="2865120"/>
          </a:xfrm>
          <a:prstGeom prst="rect">
            <a:avLst/>
          </a:prstGeom>
          <a:solidFill>
            <a:srgbClr val="E8F5EC"/>
          </a:solidFill>
          <a:ln w="15240">
            <a:solidFill>
              <a:srgbClr val="2D8A3E"/>
            </a:solidFill>
            <a:prstDash val="solid"/>
          </a:ln>
          <a:effectLst>
            <a:outerShdw blurRad="76200" dist="38100" dir="8100000" algn="bl" rotWithShape="0">
              <a:srgbClr val="000000">
                <a:alpha val="10000"/>
              </a:srgbClr>
            </a:outerShdw>
          </a:effectLst>
        </p:spPr>
        <p:txBody>
          <a:bodyPr/>
          <a:lstStyle/>
          <a:p>
            <a:pPr defTabSz="1219170">
              <a:defRPr/>
            </a:pPr>
            <a:endParaRPr lang="ru-RU" sz="24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Shape 6">
            <a:extLst>
              <a:ext uri="{FF2B5EF4-FFF2-40B4-BE49-F238E27FC236}">
                <a16:creationId xmlns:a16="http://schemas.microsoft.com/office/drawing/2014/main" id="{4810D53B-5D80-B4C4-B7C6-38F999C3A3F0}"/>
              </a:ext>
            </a:extLst>
          </p:cNvPr>
          <p:cNvSpPr/>
          <p:nvPr/>
        </p:nvSpPr>
        <p:spPr>
          <a:xfrm>
            <a:off x="623592" y="2829724"/>
            <a:ext cx="3535680" cy="463296"/>
          </a:xfrm>
          <a:prstGeom prst="rect">
            <a:avLst/>
          </a:prstGeom>
          <a:solidFill>
            <a:srgbClr val="2D8A3E"/>
          </a:solidFill>
          <a:ln w="12700">
            <a:solidFill>
              <a:srgbClr val="2D8A3E"/>
            </a:solidFill>
            <a:prstDash val="solid"/>
          </a:ln>
        </p:spPr>
        <p:txBody>
          <a:bodyPr/>
          <a:lstStyle/>
          <a:p>
            <a:pPr defTabSz="1219170">
              <a:defRPr/>
            </a:pPr>
            <a:endParaRPr lang="ru-RU" sz="24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Text 7">
            <a:extLst>
              <a:ext uri="{FF2B5EF4-FFF2-40B4-BE49-F238E27FC236}">
                <a16:creationId xmlns:a16="http://schemas.microsoft.com/office/drawing/2014/main" id="{EED88A72-12E0-716E-01FC-EA914EFA46DE}"/>
              </a:ext>
            </a:extLst>
          </p:cNvPr>
          <p:cNvSpPr/>
          <p:nvPr/>
        </p:nvSpPr>
        <p:spPr>
          <a:xfrm>
            <a:off x="769896" y="2829724"/>
            <a:ext cx="3267456" cy="463296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733" b="1" noProof="1">
                <a:solidFill>
                  <a:srgbClr val="FFFFFF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Наиболее полезно</a:t>
            </a:r>
            <a:endParaRPr lang="ru-RU" sz="1733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Text 8">
            <a:extLst>
              <a:ext uri="{FF2B5EF4-FFF2-40B4-BE49-F238E27FC236}">
                <a16:creationId xmlns:a16="http://schemas.microsoft.com/office/drawing/2014/main" id="{1B43EB56-2BFC-CB80-E3B9-0DD1D28DCB41}"/>
              </a:ext>
            </a:extLst>
          </p:cNvPr>
          <p:cNvSpPr/>
          <p:nvPr/>
        </p:nvSpPr>
        <p:spPr>
          <a:xfrm>
            <a:off x="769896" y="3353980"/>
            <a:ext cx="3267456" cy="2255520"/>
          </a:xfrm>
          <a:prstGeom prst="rect">
            <a:avLst/>
          </a:prstGeom>
          <a:noFill/>
          <a:ln/>
        </p:spPr>
        <p:txBody>
          <a:bodyPr wrap="square" rtlCol="0" anchor="t"/>
          <a:lstStyle/>
          <a:p>
            <a:pPr defTabSz="1219170">
              <a:defRPr/>
            </a:pPr>
            <a:r>
              <a:rPr lang="ru-RU" sz="1467" noProof="1">
                <a:solidFill>
                  <a:srgbClr val="16303A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Презентующий, который говорит: вы заметили отсутствие структурированного последующего сопровождения — это верно, и вот почему его было трудно выстроить.</a:t>
            </a:r>
            <a:endParaRPr lang="ru-RU" sz="1467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Shape 9">
            <a:extLst>
              <a:ext uri="{FF2B5EF4-FFF2-40B4-BE49-F238E27FC236}">
                <a16:creationId xmlns:a16="http://schemas.microsoft.com/office/drawing/2014/main" id="{72AB9E3E-FAB8-B327-C2CE-72EAE9895BE3}"/>
              </a:ext>
            </a:extLst>
          </p:cNvPr>
          <p:cNvSpPr/>
          <p:nvPr/>
        </p:nvSpPr>
        <p:spPr>
          <a:xfrm>
            <a:off x="4427496" y="2829724"/>
            <a:ext cx="3535680" cy="2865120"/>
          </a:xfrm>
          <a:prstGeom prst="rect">
            <a:avLst/>
          </a:prstGeom>
          <a:solidFill>
            <a:srgbClr val="FDF3DC"/>
          </a:solidFill>
          <a:ln w="15240">
            <a:solidFill>
              <a:srgbClr val="E8940A"/>
            </a:solidFill>
            <a:prstDash val="solid"/>
          </a:ln>
          <a:effectLst>
            <a:outerShdw blurRad="76200" dist="38100" dir="8100000" algn="bl" rotWithShape="0">
              <a:srgbClr val="000000">
                <a:alpha val="10000"/>
              </a:srgbClr>
            </a:outerShdw>
          </a:effectLst>
        </p:spPr>
        <p:txBody>
          <a:bodyPr/>
          <a:lstStyle/>
          <a:p>
            <a:pPr defTabSz="1219170">
              <a:defRPr/>
            </a:pPr>
            <a:endParaRPr lang="ru-RU" sz="24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Shape 10">
            <a:extLst>
              <a:ext uri="{FF2B5EF4-FFF2-40B4-BE49-F238E27FC236}">
                <a16:creationId xmlns:a16="http://schemas.microsoft.com/office/drawing/2014/main" id="{8661BEA6-35BC-1AE7-75D7-79B06DB4B0F0}"/>
              </a:ext>
            </a:extLst>
          </p:cNvPr>
          <p:cNvSpPr/>
          <p:nvPr/>
        </p:nvSpPr>
        <p:spPr>
          <a:xfrm>
            <a:off x="4427496" y="2829724"/>
            <a:ext cx="3535680" cy="463296"/>
          </a:xfrm>
          <a:prstGeom prst="rect">
            <a:avLst/>
          </a:prstGeom>
          <a:solidFill>
            <a:srgbClr val="E8940A"/>
          </a:solidFill>
          <a:ln w="12700">
            <a:solidFill>
              <a:srgbClr val="E8940A"/>
            </a:solidFill>
            <a:prstDash val="solid"/>
          </a:ln>
        </p:spPr>
        <p:txBody>
          <a:bodyPr/>
          <a:lstStyle/>
          <a:p>
            <a:pPr defTabSz="1219170">
              <a:defRPr/>
            </a:pPr>
            <a:endParaRPr lang="ru-RU" sz="24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Text 11">
            <a:extLst>
              <a:ext uri="{FF2B5EF4-FFF2-40B4-BE49-F238E27FC236}">
                <a16:creationId xmlns:a16="http://schemas.microsoft.com/office/drawing/2014/main" id="{09F40824-D326-F5A3-CCE2-731B947B8075}"/>
              </a:ext>
            </a:extLst>
          </p:cNvPr>
          <p:cNvSpPr/>
          <p:nvPr/>
        </p:nvSpPr>
        <p:spPr>
          <a:xfrm>
            <a:off x="4573800" y="2829724"/>
            <a:ext cx="3267456" cy="463296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733" b="1" noProof="1">
                <a:solidFill>
                  <a:srgbClr val="FFFFFF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Также полезно</a:t>
            </a:r>
            <a:endParaRPr lang="ru-RU" sz="1733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Text 12">
            <a:extLst>
              <a:ext uri="{FF2B5EF4-FFF2-40B4-BE49-F238E27FC236}">
                <a16:creationId xmlns:a16="http://schemas.microsoft.com/office/drawing/2014/main" id="{67EB64A6-63CE-A68D-B2F6-A9C587DCAA8A}"/>
              </a:ext>
            </a:extLst>
          </p:cNvPr>
          <p:cNvSpPr/>
          <p:nvPr/>
        </p:nvSpPr>
        <p:spPr>
          <a:xfrm>
            <a:off x="4573800" y="3353980"/>
            <a:ext cx="3267456" cy="2255520"/>
          </a:xfrm>
          <a:prstGeom prst="rect">
            <a:avLst/>
          </a:prstGeom>
          <a:noFill/>
          <a:ln/>
        </p:spPr>
        <p:txBody>
          <a:bodyPr wrap="square" rtlCol="0" anchor="t"/>
          <a:lstStyle/>
          <a:p>
            <a:pPr defTabSz="1219170">
              <a:defRPr/>
            </a:pPr>
            <a:r>
              <a:rPr lang="ru-RU" sz="1467" noProof="1">
                <a:solidFill>
                  <a:srgbClr val="16303A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Добавление контекста, который не уместился в 15 минут — деталь об условиях программы, институциональных ограничениях или временных рамках, меняющая прочтение.</a:t>
            </a:r>
            <a:endParaRPr lang="ru-RU" sz="1467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Shape 13">
            <a:extLst>
              <a:ext uri="{FF2B5EF4-FFF2-40B4-BE49-F238E27FC236}">
                <a16:creationId xmlns:a16="http://schemas.microsoft.com/office/drawing/2014/main" id="{878E4237-F95C-1631-7C23-27610CF5A524}"/>
              </a:ext>
            </a:extLst>
          </p:cNvPr>
          <p:cNvSpPr/>
          <p:nvPr/>
        </p:nvSpPr>
        <p:spPr>
          <a:xfrm>
            <a:off x="8231400" y="2829724"/>
            <a:ext cx="3535680" cy="2865120"/>
          </a:xfrm>
          <a:prstGeom prst="rect">
            <a:avLst/>
          </a:prstGeom>
          <a:solidFill>
            <a:srgbClr val="FDECEA"/>
          </a:solidFill>
          <a:ln w="15240">
            <a:solidFill>
              <a:srgbClr val="B03030"/>
            </a:solidFill>
            <a:prstDash val="solid"/>
          </a:ln>
          <a:effectLst>
            <a:outerShdw blurRad="76200" dist="38100" dir="8100000" algn="bl" rotWithShape="0">
              <a:srgbClr val="000000">
                <a:alpha val="10000"/>
              </a:srgbClr>
            </a:outerShdw>
          </a:effectLst>
        </p:spPr>
        <p:txBody>
          <a:bodyPr/>
          <a:lstStyle/>
          <a:p>
            <a:pPr defTabSz="1219170">
              <a:defRPr/>
            </a:pPr>
            <a:endParaRPr lang="ru-RU" sz="24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Shape 14">
            <a:extLst>
              <a:ext uri="{FF2B5EF4-FFF2-40B4-BE49-F238E27FC236}">
                <a16:creationId xmlns:a16="http://schemas.microsoft.com/office/drawing/2014/main" id="{48DA5F08-DE16-A216-3C99-4B668C991062}"/>
              </a:ext>
            </a:extLst>
          </p:cNvPr>
          <p:cNvSpPr/>
          <p:nvPr/>
        </p:nvSpPr>
        <p:spPr>
          <a:xfrm>
            <a:off x="8231400" y="2829724"/>
            <a:ext cx="3535680" cy="463296"/>
          </a:xfrm>
          <a:prstGeom prst="rect">
            <a:avLst/>
          </a:prstGeom>
          <a:solidFill>
            <a:srgbClr val="B03030"/>
          </a:solidFill>
          <a:ln w="12700">
            <a:solidFill>
              <a:srgbClr val="B03030"/>
            </a:solidFill>
            <a:prstDash val="solid"/>
          </a:ln>
        </p:spPr>
        <p:txBody>
          <a:bodyPr/>
          <a:lstStyle/>
          <a:p>
            <a:pPr defTabSz="1219170">
              <a:defRPr/>
            </a:pPr>
            <a:endParaRPr lang="ru-RU" sz="24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Text 15">
            <a:extLst>
              <a:ext uri="{FF2B5EF4-FFF2-40B4-BE49-F238E27FC236}">
                <a16:creationId xmlns:a16="http://schemas.microsoft.com/office/drawing/2014/main" id="{70E58F61-1469-98E2-D34F-899A22819B1D}"/>
              </a:ext>
            </a:extLst>
          </p:cNvPr>
          <p:cNvSpPr/>
          <p:nvPr/>
        </p:nvSpPr>
        <p:spPr>
          <a:xfrm>
            <a:off x="8377704" y="2829724"/>
            <a:ext cx="3267456" cy="463296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733" b="1" noProof="1">
                <a:solidFill>
                  <a:srgbClr val="FFFFFF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Избегайте</a:t>
            </a:r>
            <a:endParaRPr lang="ru-RU" sz="1733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Text 16">
            <a:extLst>
              <a:ext uri="{FF2B5EF4-FFF2-40B4-BE49-F238E27FC236}">
                <a16:creationId xmlns:a16="http://schemas.microsoft.com/office/drawing/2014/main" id="{B35D5EFC-353C-6F11-5EDA-906EE5DA14DE}"/>
              </a:ext>
            </a:extLst>
          </p:cNvPr>
          <p:cNvSpPr/>
          <p:nvPr/>
        </p:nvSpPr>
        <p:spPr>
          <a:xfrm>
            <a:off x="8377704" y="3353980"/>
            <a:ext cx="3267456" cy="2255520"/>
          </a:xfrm>
          <a:prstGeom prst="rect">
            <a:avLst/>
          </a:prstGeom>
          <a:noFill/>
          <a:ln/>
        </p:spPr>
        <p:txBody>
          <a:bodyPr wrap="square" rtlCol="0" anchor="t"/>
          <a:lstStyle/>
          <a:p>
            <a:pPr defTabSz="1219170">
              <a:defRPr/>
            </a:pPr>
            <a:r>
              <a:rPr lang="ru-RU" sz="1467" noProof="1">
                <a:solidFill>
                  <a:srgbClr val="16303A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Защиты каждого аспекта программы. Две минуты намеренно.</a:t>
            </a:r>
            <a:endParaRPr lang="ru-RU" sz="1467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2478184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0"/>
          <p:cNvSpPr/>
          <p:nvPr/>
        </p:nvSpPr>
        <p:spPr>
          <a:xfrm>
            <a:off x="7315200" y="-487680"/>
            <a:ext cx="5120640" cy="548640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algn="r"/>
            <a:r>
              <a:rPr lang="ru-RU" sz="42666" b="1" noProof="1">
                <a:solidFill>
                  <a:srgbClr val="0092BB">
                    <a:alpha val="40000"/>
                  </a:srgbClr>
                </a:solidFill>
                <a:latin typeface="Trebuchet MS" pitchFamily="34" charset="0"/>
                <a:ea typeface="Trebuchet MS" pitchFamily="34" charset="-122"/>
                <a:cs typeface="Trebuchet MS" pitchFamily="34" charset="-120"/>
              </a:rPr>
              <a:t>01</a:t>
            </a:r>
            <a:endParaRPr lang="ru-RU" sz="42666" noProof="1"/>
          </a:p>
        </p:txBody>
      </p:sp>
      <p:sp>
        <p:nvSpPr>
          <p:cNvPr id="3" name="Shape 1"/>
          <p:cNvSpPr/>
          <p:nvPr/>
        </p:nvSpPr>
        <p:spPr>
          <a:xfrm>
            <a:off x="670560" y="1524000"/>
            <a:ext cx="85344" cy="2743200"/>
          </a:xfrm>
          <a:prstGeom prst="rect">
            <a:avLst/>
          </a:prstGeom>
          <a:solidFill>
            <a:srgbClr val="FFDC00"/>
          </a:solidFill>
          <a:ln w="12700">
            <a:solidFill>
              <a:srgbClr val="FFDC00"/>
            </a:solidFill>
            <a:prstDash val="solid"/>
          </a:ln>
        </p:spPr>
        <p:txBody>
          <a:bodyPr/>
          <a:lstStyle/>
          <a:p>
            <a:endParaRPr lang="ru-RU" sz="2400" noProof="1"/>
          </a:p>
        </p:txBody>
      </p:sp>
      <p:sp>
        <p:nvSpPr>
          <p:cNvPr id="4" name="Text 2"/>
          <p:cNvSpPr/>
          <p:nvPr/>
        </p:nvSpPr>
        <p:spPr>
          <a:xfrm>
            <a:off x="914400" y="1975104"/>
            <a:ext cx="9144000" cy="146304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r>
              <a:rPr lang="ru-RU" sz="3200" b="1" noProof="1">
                <a:solidFill>
                  <a:srgbClr val="FFFFFF"/>
                </a:solidFill>
                <a:latin typeface="Arial" panose="020B0604020202020204" pitchFamily="34" charset="0"/>
                <a:ea typeface="Georgia" pitchFamily="34" charset="-122"/>
                <a:cs typeface="Arial" panose="020B0604020202020204" pitchFamily="34" charset="0"/>
              </a:rPr>
              <a:t>Что делает профессиональное</a:t>
            </a:r>
            <a:endParaRPr lang="ru-RU" sz="3200" noProof="1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ru-RU" sz="3200" b="1" noProof="1">
                <a:solidFill>
                  <a:srgbClr val="FFFFFF"/>
                </a:solidFill>
                <a:latin typeface="Arial" panose="020B0604020202020204" pitchFamily="34" charset="0"/>
                <a:ea typeface="Georgia" pitchFamily="34" charset="-122"/>
                <a:cs typeface="Arial" panose="020B0604020202020204" pitchFamily="34" charset="0"/>
              </a:rPr>
              <a:t>развитие педагогов эффективным?</a:t>
            </a:r>
            <a:endParaRPr lang="ru-RU" sz="3200" noProof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Shape 3"/>
          <p:cNvSpPr/>
          <p:nvPr/>
        </p:nvSpPr>
        <p:spPr>
          <a:xfrm>
            <a:off x="1072896" y="3779520"/>
            <a:ext cx="3413760" cy="512064"/>
          </a:xfrm>
          <a:prstGeom prst="roundRect">
            <a:avLst>
              <a:gd name="adj" fmla="val 14286"/>
            </a:avLst>
          </a:prstGeom>
          <a:solidFill>
            <a:srgbClr val="FFDC00"/>
          </a:solidFill>
          <a:ln w="12700">
            <a:solidFill>
              <a:srgbClr val="FFDC00"/>
            </a:solidFill>
            <a:prstDash val="solid"/>
          </a:ln>
        </p:spPr>
        <p:txBody>
          <a:bodyPr/>
          <a:lstStyle/>
          <a:p>
            <a:endParaRPr lang="ru-RU" sz="2400" noProof="1"/>
          </a:p>
        </p:txBody>
      </p:sp>
      <p:sp>
        <p:nvSpPr>
          <p:cNvPr id="6" name="Text 4"/>
          <p:cNvSpPr/>
          <p:nvPr/>
        </p:nvSpPr>
        <p:spPr>
          <a:xfrm>
            <a:off x="1072896" y="3779520"/>
            <a:ext cx="3255264" cy="512064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algn="ctr"/>
            <a:r>
              <a:rPr lang="ru-RU" sz="1867" b="1" noProof="1">
                <a:solidFill>
                  <a:schemeClr val="accent2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 09:30 – 10:45  ·  75 минут</a:t>
            </a:r>
            <a:endParaRPr lang="ru-RU" sz="1867" noProof="1">
              <a:solidFill>
                <a:schemeClr val="accent2"/>
              </a:solidFill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E1B45D38-AD4C-7942-7C64-34E1555CE5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72897" y="1175400"/>
            <a:ext cx="10944225" cy="1080120"/>
          </a:xfrm>
        </p:spPr>
        <p:txBody>
          <a:bodyPr/>
          <a:lstStyle/>
          <a:p>
            <a:r>
              <a:rPr lang="ru-RU" sz="3200" noProof="1">
                <a:solidFill>
                  <a:schemeClr val="accent4"/>
                </a:solidFill>
                <a:latin typeface="Georgia" pitchFamily="34" charset="0"/>
                <a:ea typeface="Georgia" pitchFamily="34" charset="-122"/>
                <a:cs typeface="Georgia" pitchFamily="34" charset="-120"/>
              </a:rPr>
              <a:t>Сессия 1</a:t>
            </a:r>
            <a:endParaRPr lang="ru-RU" noProof="1">
              <a:solidFill>
                <a:schemeClr val="accent4"/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2F49648C-8699-D54D-D884-894BB7BEE0AA}"/>
              </a:ext>
            </a:extLst>
          </p:cNvPr>
          <p:cNvSpPr txBox="1"/>
          <p:nvPr/>
        </p:nvSpPr>
        <p:spPr>
          <a:xfrm>
            <a:off x="914401" y="4444724"/>
            <a:ext cx="427555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ru-RU" sz="1400" i="1" noProof="1">
              <a:solidFill>
                <a:schemeClr val="bg1"/>
              </a:solidFill>
            </a:endParaRPr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9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1477385-CBC6-A563-D936-60748619FEA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5146" y="79111"/>
            <a:ext cx="10958805" cy="1080120"/>
          </a:xfrm>
        </p:spPr>
        <p:txBody>
          <a:bodyPr>
            <a:normAutofit/>
          </a:bodyPr>
          <a:lstStyle/>
          <a:p>
            <a:r>
              <a:rPr lang="ru-RU" noProof="1"/>
              <a:t>Выявляйте паттерны. Не называйте страны.</a:t>
            </a:r>
          </a:p>
        </p:txBody>
      </p:sp>
      <p:sp>
        <p:nvSpPr>
          <p:cNvPr id="4" name="Shape 3">
            <a:extLst>
              <a:ext uri="{FF2B5EF4-FFF2-40B4-BE49-F238E27FC236}">
                <a16:creationId xmlns:a16="http://schemas.microsoft.com/office/drawing/2014/main" id="{13268FA8-E56F-BFDF-573A-AEACB1FED7B5}"/>
              </a:ext>
            </a:extLst>
          </p:cNvPr>
          <p:cNvSpPr/>
          <p:nvPr/>
        </p:nvSpPr>
        <p:spPr>
          <a:xfrm>
            <a:off x="468959" y="1158112"/>
            <a:ext cx="11216640" cy="1316736"/>
          </a:xfrm>
          <a:prstGeom prst="rect">
            <a:avLst/>
          </a:prstGeom>
          <a:solidFill>
            <a:srgbClr val="E8F5EC"/>
          </a:solidFill>
          <a:ln w="15240">
            <a:solidFill>
              <a:srgbClr val="2D8A3E"/>
            </a:solidFill>
            <a:prstDash val="solid"/>
          </a:ln>
          <a:effectLst>
            <a:outerShdw blurRad="76200" dist="38100" dir="8100000" algn="bl" rotWithShape="0">
              <a:srgbClr val="000000">
                <a:alpha val="10000"/>
              </a:srgbClr>
            </a:outerShdw>
          </a:effectLst>
        </p:spPr>
        <p:txBody>
          <a:bodyPr/>
          <a:lstStyle/>
          <a:p>
            <a:pPr defTabSz="1219170">
              <a:defRPr/>
            </a:pPr>
            <a:endParaRPr lang="ru-RU" sz="16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Shape 4">
            <a:extLst>
              <a:ext uri="{FF2B5EF4-FFF2-40B4-BE49-F238E27FC236}">
                <a16:creationId xmlns:a16="http://schemas.microsoft.com/office/drawing/2014/main" id="{29FB4A7F-FCB0-E677-3109-81DE655B5BDE}"/>
              </a:ext>
            </a:extLst>
          </p:cNvPr>
          <p:cNvSpPr/>
          <p:nvPr/>
        </p:nvSpPr>
        <p:spPr>
          <a:xfrm>
            <a:off x="468959" y="1158112"/>
            <a:ext cx="146304" cy="1316736"/>
          </a:xfrm>
          <a:prstGeom prst="rect">
            <a:avLst/>
          </a:prstGeom>
          <a:solidFill>
            <a:srgbClr val="2D8A3E"/>
          </a:solidFill>
          <a:ln w="12700">
            <a:solidFill>
              <a:srgbClr val="2D8A3E"/>
            </a:solidFill>
            <a:prstDash val="solid"/>
          </a:ln>
        </p:spPr>
        <p:txBody>
          <a:bodyPr/>
          <a:lstStyle/>
          <a:p>
            <a:pPr defTabSz="1219170">
              <a:defRPr/>
            </a:pPr>
            <a:endParaRPr lang="ru-RU" sz="16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Text 5">
            <a:extLst>
              <a:ext uri="{FF2B5EF4-FFF2-40B4-BE49-F238E27FC236}">
                <a16:creationId xmlns:a16="http://schemas.microsoft.com/office/drawing/2014/main" id="{DDC3DCFE-3B88-34C1-9A29-2697B924F64F}"/>
              </a:ext>
            </a:extLst>
          </p:cNvPr>
          <p:cNvSpPr/>
          <p:nvPr/>
        </p:nvSpPr>
        <p:spPr>
          <a:xfrm>
            <a:off x="846911" y="1605315"/>
            <a:ext cx="10607040" cy="36576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3000" b="1" noProof="1">
                <a:solidFill>
                  <a:srgbClr val="2D8A3E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Что является сильным в разных кейсах?</a:t>
            </a:r>
            <a:endParaRPr lang="ru-RU" sz="30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Shape 7">
            <a:extLst>
              <a:ext uri="{FF2B5EF4-FFF2-40B4-BE49-F238E27FC236}">
                <a16:creationId xmlns:a16="http://schemas.microsoft.com/office/drawing/2014/main" id="{C94AF369-C1E1-2533-E758-7DAEAAB0FEE2}"/>
              </a:ext>
            </a:extLst>
          </p:cNvPr>
          <p:cNvSpPr/>
          <p:nvPr/>
        </p:nvSpPr>
        <p:spPr>
          <a:xfrm>
            <a:off x="468959" y="2718688"/>
            <a:ext cx="11216640" cy="1438656"/>
          </a:xfrm>
          <a:prstGeom prst="rect">
            <a:avLst/>
          </a:prstGeom>
          <a:solidFill>
            <a:srgbClr val="FDECEA"/>
          </a:solidFill>
          <a:ln w="15240">
            <a:solidFill>
              <a:srgbClr val="B03030"/>
            </a:solidFill>
            <a:prstDash val="solid"/>
          </a:ln>
          <a:effectLst>
            <a:outerShdw blurRad="76200" dist="38100" dir="8100000" algn="bl" rotWithShape="0">
              <a:srgbClr val="000000">
                <a:alpha val="10000"/>
              </a:srgbClr>
            </a:outerShdw>
          </a:effectLst>
        </p:spPr>
        <p:txBody>
          <a:bodyPr/>
          <a:lstStyle/>
          <a:p>
            <a:pPr defTabSz="1219170">
              <a:defRPr/>
            </a:pPr>
            <a:endParaRPr lang="ru-RU" sz="16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Shape 8">
            <a:extLst>
              <a:ext uri="{FF2B5EF4-FFF2-40B4-BE49-F238E27FC236}">
                <a16:creationId xmlns:a16="http://schemas.microsoft.com/office/drawing/2014/main" id="{7E4EC701-A989-97F5-5FDC-2D8B0FE9818C}"/>
              </a:ext>
            </a:extLst>
          </p:cNvPr>
          <p:cNvSpPr/>
          <p:nvPr/>
        </p:nvSpPr>
        <p:spPr>
          <a:xfrm>
            <a:off x="468959" y="2718688"/>
            <a:ext cx="146304" cy="1438656"/>
          </a:xfrm>
          <a:prstGeom prst="rect">
            <a:avLst/>
          </a:prstGeom>
          <a:solidFill>
            <a:srgbClr val="B03030"/>
          </a:solidFill>
          <a:ln w="12700">
            <a:solidFill>
              <a:srgbClr val="B03030"/>
            </a:solidFill>
            <a:prstDash val="solid"/>
          </a:ln>
        </p:spPr>
        <p:txBody>
          <a:bodyPr/>
          <a:lstStyle/>
          <a:p>
            <a:pPr defTabSz="1219170">
              <a:defRPr/>
            </a:pPr>
            <a:endParaRPr lang="ru-RU" sz="16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Text 9">
            <a:extLst>
              <a:ext uri="{FF2B5EF4-FFF2-40B4-BE49-F238E27FC236}">
                <a16:creationId xmlns:a16="http://schemas.microsoft.com/office/drawing/2014/main" id="{B1112EFE-D06B-6AB2-E9A6-E10D621C8208}"/>
              </a:ext>
            </a:extLst>
          </p:cNvPr>
          <p:cNvSpPr/>
          <p:nvPr/>
        </p:nvSpPr>
        <p:spPr>
          <a:xfrm>
            <a:off x="846911" y="3252643"/>
            <a:ext cx="10607040" cy="36576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3000" b="1" noProof="1">
                <a:solidFill>
                  <a:srgbClr val="B03030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Где наиболее значимый общий пробел?</a:t>
            </a:r>
            <a:endParaRPr lang="ru-RU" sz="30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Shape 11">
            <a:extLst>
              <a:ext uri="{FF2B5EF4-FFF2-40B4-BE49-F238E27FC236}">
                <a16:creationId xmlns:a16="http://schemas.microsoft.com/office/drawing/2014/main" id="{BD084879-AE49-C8F2-B08D-9B500A46994C}"/>
              </a:ext>
            </a:extLst>
          </p:cNvPr>
          <p:cNvSpPr/>
          <p:nvPr/>
        </p:nvSpPr>
        <p:spPr>
          <a:xfrm>
            <a:off x="468959" y="4279264"/>
            <a:ext cx="11216640" cy="1438656"/>
          </a:xfrm>
          <a:prstGeom prst="rect">
            <a:avLst/>
          </a:prstGeom>
          <a:solidFill>
            <a:srgbClr val="D6F0F3"/>
          </a:solidFill>
          <a:ln w="15240">
            <a:solidFill>
              <a:srgbClr val="027A87"/>
            </a:solidFill>
            <a:prstDash val="solid"/>
          </a:ln>
          <a:effectLst>
            <a:outerShdw blurRad="76200" dist="38100" dir="8100000" algn="bl" rotWithShape="0">
              <a:srgbClr val="000000">
                <a:alpha val="10000"/>
              </a:srgbClr>
            </a:outerShdw>
          </a:effectLst>
        </p:spPr>
        <p:txBody>
          <a:bodyPr/>
          <a:lstStyle/>
          <a:p>
            <a:pPr defTabSz="1219170">
              <a:defRPr/>
            </a:pPr>
            <a:endParaRPr lang="ru-RU" sz="16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Shape 12">
            <a:extLst>
              <a:ext uri="{FF2B5EF4-FFF2-40B4-BE49-F238E27FC236}">
                <a16:creationId xmlns:a16="http://schemas.microsoft.com/office/drawing/2014/main" id="{A2AE3285-7AFD-96DE-6BEE-CF648CEEFD37}"/>
              </a:ext>
            </a:extLst>
          </p:cNvPr>
          <p:cNvSpPr/>
          <p:nvPr/>
        </p:nvSpPr>
        <p:spPr>
          <a:xfrm>
            <a:off x="468959" y="4279264"/>
            <a:ext cx="146304" cy="1438656"/>
          </a:xfrm>
          <a:prstGeom prst="rect">
            <a:avLst/>
          </a:prstGeom>
          <a:solidFill>
            <a:srgbClr val="027A87"/>
          </a:solidFill>
          <a:ln w="12700">
            <a:solidFill>
              <a:srgbClr val="027A87"/>
            </a:solidFill>
            <a:prstDash val="solid"/>
          </a:ln>
        </p:spPr>
        <p:txBody>
          <a:bodyPr/>
          <a:lstStyle/>
          <a:p>
            <a:pPr defTabSz="1219170">
              <a:defRPr/>
            </a:pPr>
            <a:endParaRPr lang="ru-RU" sz="16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Text 13">
            <a:extLst>
              <a:ext uri="{FF2B5EF4-FFF2-40B4-BE49-F238E27FC236}">
                <a16:creationId xmlns:a16="http://schemas.microsoft.com/office/drawing/2014/main" id="{6D059BDB-E91A-83BA-BEFC-9349F2C6E8CD}"/>
              </a:ext>
            </a:extLst>
          </p:cNvPr>
          <p:cNvSpPr/>
          <p:nvPr/>
        </p:nvSpPr>
        <p:spPr>
          <a:xfrm>
            <a:off x="846911" y="4815712"/>
            <a:ext cx="10607040" cy="36576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3000" b="1" noProof="1">
                <a:solidFill>
                  <a:srgbClr val="027A87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Различается ли картина в зависимости от групп педагогов?</a:t>
            </a:r>
            <a:endParaRPr lang="ru-RU" sz="30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Shape 15">
            <a:extLst>
              <a:ext uri="{FF2B5EF4-FFF2-40B4-BE49-F238E27FC236}">
                <a16:creationId xmlns:a16="http://schemas.microsoft.com/office/drawing/2014/main" id="{4694C34C-BC01-6261-FA3B-65596DC87995}"/>
              </a:ext>
            </a:extLst>
          </p:cNvPr>
          <p:cNvSpPr/>
          <p:nvPr/>
        </p:nvSpPr>
        <p:spPr>
          <a:xfrm>
            <a:off x="468959" y="5961760"/>
            <a:ext cx="11216640" cy="602751"/>
          </a:xfrm>
          <a:prstGeom prst="rect">
            <a:avLst/>
          </a:prstGeom>
          <a:solidFill>
            <a:srgbClr val="E8940A"/>
          </a:solidFill>
          <a:ln w="12700">
            <a:solidFill>
              <a:srgbClr val="E8940A"/>
            </a:solidFill>
            <a:prstDash val="solid"/>
          </a:ln>
        </p:spPr>
        <p:txBody>
          <a:bodyPr/>
          <a:lstStyle/>
          <a:p>
            <a:pPr defTabSz="1219170">
              <a:defRPr/>
            </a:pPr>
            <a:endParaRPr lang="ru-RU" sz="16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Text 16">
            <a:extLst>
              <a:ext uri="{FF2B5EF4-FFF2-40B4-BE49-F238E27FC236}">
                <a16:creationId xmlns:a16="http://schemas.microsoft.com/office/drawing/2014/main" id="{431EF6E4-D01D-335E-BA4D-A8E70A23519B}"/>
              </a:ext>
            </a:extLst>
          </p:cNvPr>
          <p:cNvSpPr/>
          <p:nvPr/>
        </p:nvSpPr>
        <p:spPr>
          <a:xfrm>
            <a:off x="468959" y="6125885"/>
            <a:ext cx="11216640" cy="227612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algn="ctr" defTabSz="1219170">
              <a:defRPr/>
            </a:pPr>
            <a:r>
              <a:rPr lang="ru-RU" sz="1600" b="1" noProof="1">
                <a:solidFill>
                  <a:srgbClr val="FFFFFF"/>
                </a:solidFill>
                <a:latin typeface="Arial" panose="020B0604020202020204" pitchFamily="34" charset="0"/>
                <a:ea typeface="Calibri" pitchFamily="34" charset="-122"/>
                <a:cs typeface="Arial" panose="020B0604020202020204" pitchFamily="34" charset="0"/>
              </a:rPr>
              <a:t>SCAFFOLD: Принцип 3.7 — стикеры на стене — это коллективный аналитический результат аудитории. Свидетельство того, как мышление развивалось с утра.</a:t>
            </a:r>
            <a:endParaRPr lang="ru-RU" sz="16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0027830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9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hape 3">
            <a:extLst>
              <a:ext uri="{FF2B5EF4-FFF2-40B4-BE49-F238E27FC236}">
                <a16:creationId xmlns:a16="http://schemas.microsoft.com/office/drawing/2014/main" id="{F2A2444F-4F5C-88D8-FCB9-CBDD291F1CBC}"/>
              </a:ext>
            </a:extLst>
          </p:cNvPr>
          <p:cNvSpPr/>
          <p:nvPr/>
        </p:nvSpPr>
        <p:spPr>
          <a:xfrm>
            <a:off x="609600" y="1155895"/>
            <a:ext cx="10972800" cy="3474720"/>
          </a:xfrm>
          <a:prstGeom prst="rect">
            <a:avLst/>
          </a:prstGeom>
          <a:solidFill>
            <a:schemeClr val="accent2"/>
          </a:solidFill>
          <a:ln w="12700">
            <a:solidFill>
              <a:srgbClr val="039AAA"/>
            </a:solidFill>
            <a:prstDash val="solid"/>
          </a:ln>
        </p:spPr>
        <p:txBody>
          <a:bodyPr/>
          <a:lstStyle/>
          <a:p>
            <a:pPr defTabSz="1219170">
              <a:defRPr/>
            </a:pPr>
            <a:endParaRPr lang="ru-RU" sz="24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Shape 4">
            <a:extLst>
              <a:ext uri="{FF2B5EF4-FFF2-40B4-BE49-F238E27FC236}">
                <a16:creationId xmlns:a16="http://schemas.microsoft.com/office/drawing/2014/main" id="{FFD20C27-D496-C7A5-8D1A-D6D39B1AE456}"/>
              </a:ext>
            </a:extLst>
          </p:cNvPr>
          <p:cNvSpPr/>
          <p:nvPr/>
        </p:nvSpPr>
        <p:spPr>
          <a:xfrm>
            <a:off x="609600" y="1155895"/>
            <a:ext cx="146304" cy="3474720"/>
          </a:xfrm>
          <a:prstGeom prst="rect">
            <a:avLst/>
          </a:prstGeom>
          <a:solidFill>
            <a:schemeClr val="accent4"/>
          </a:solidFill>
          <a:ln w="12700">
            <a:solidFill>
              <a:srgbClr val="E8940A"/>
            </a:solidFill>
            <a:prstDash val="solid"/>
          </a:ln>
        </p:spPr>
        <p:txBody>
          <a:bodyPr/>
          <a:lstStyle/>
          <a:p>
            <a:pPr defTabSz="1219170">
              <a:defRPr/>
            </a:pPr>
            <a:endParaRPr lang="ru-RU" sz="24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Text 5">
            <a:extLst>
              <a:ext uri="{FF2B5EF4-FFF2-40B4-BE49-F238E27FC236}">
                <a16:creationId xmlns:a16="http://schemas.microsoft.com/office/drawing/2014/main" id="{B56EFB7C-0302-0030-D6B4-CCF0BF900BDB}"/>
              </a:ext>
            </a:extLst>
          </p:cNvPr>
          <p:cNvSpPr/>
          <p:nvPr/>
        </p:nvSpPr>
        <p:spPr>
          <a:xfrm>
            <a:off x="975360" y="1314391"/>
            <a:ext cx="10302240" cy="1487424"/>
          </a:xfrm>
          <a:prstGeom prst="rect">
            <a:avLst/>
          </a:prstGeom>
          <a:noFill/>
          <a:ln/>
        </p:spPr>
        <p:txBody>
          <a:bodyPr wrap="square" rtlCol="0" anchor="t"/>
          <a:lstStyle/>
          <a:p>
            <a:pPr defTabSz="1219170">
              <a:defRPr/>
            </a:pPr>
            <a:r>
              <a:rPr lang="ru-RU" sz="2500" noProof="1">
                <a:solidFill>
                  <a:srgbClr val="FFFFFF"/>
                </a:solidFill>
                <a:latin typeface="Arial" panose="020B0604020202020204" pitchFamily="34" charset="0"/>
                <a:ea typeface="Georgia" pitchFamily="34" charset="-122"/>
                <a:cs typeface="Arial" panose="020B0604020202020204" pitchFamily="34" charset="0"/>
              </a:rPr>
              <a:t>Сегодня вы потратили время на создание общей рамки для понимания того, как выглядит эффективное профессиональное развитие педагогов и что мешает ему — в разных странах и среди разных групп педагогов.</a:t>
            </a:r>
            <a:endParaRPr lang="ru-RU" sz="25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Text 6">
            <a:extLst>
              <a:ext uri="{FF2B5EF4-FFF2-40B4-BE49-F238E27FC236}">
                <a16:creationId xmlns:a16="http://schemas.microsoft.com/office/drawing/2014/main" id="{E369D4E4-A774-B9D3-D796-CC353C7E0E78}"/>
              </a:ext>
            </a:extLst>
          </p:cNvPr>
          <p:cNvSpPr/>
          <p:nvPr/>
        </p:nvSpPr>
        <p:spPr>
          <a:xfrm>
            <a:off x="975360" y="2862775"/>
            <a:ext cx="10302240" cy="829056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2667" b="1" noProof="1">
                <a:solidFill>
                  <a:schemeClr val="bg1"/>
                </a:solidFill>
                <a:latin typeface="Arial" panose="020B0604020202020204" pitchFamily="34" charset="0"/>
                <a:ea typeface="Georgia" pitchFamily="34" charset="-122"/>
                <a:cs typeface="Arial" panose="020B0604020202020204" pitchFamily="34" charset="0"/>
              </a:rPr>
              <a:t>Завтра вы переходите от понимания к разработке.</a:t>
            </a:r>
            <a:endParaRPr lang="ru-RU" sz="2667" noProof="1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Text 7">
            <a:extLst>
              <a:ext uri="{FF2B5EF4-FFF2-40B4-BE49-F238E27FC236}">
                <a16:creationId xmlns:a16="http://schemas.microsoft.com/office/drawing/2014/main" id="{ECFB0AC0-6E8E-6700-C0C9-6EF60FD39D72}"/>
              </a:ext>
            </a:extLst>
          </p:cNvPr>
          <p:cNvSpPr/>
          <p:nvPr/>
        </p:nvSpPr>
        <p:spPr>
          <a:xfrm>
            <a:off x="975360" y="3752791"/>
            <a:ext cx="10302240" cy="60960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defTabSz="1219170">
              <a:defRPr/>
            </a:pPr>
            <a:r>
              <a:rPr lang="ru-RU" sz="1600" i="1" noProof="1">
                <a:solidFill>
                  <a:schemeClr val="bg1"/>
                </a:solidFill>
                <a:latin typeface="Arial" panose="020B0604020202020204" pitchFamily="34" charset="0"/>
                <a:ea typeface="Georgia" pitchFamily="34" charset="-122"/>
                <a:cs typeface="Arial" panose="020B0604020202020204" pitchFamily="34" charset="0"/>
              </a:rPr>
              <a:t>Чем чётче вы сегодня вечером осознаете, что узнали сегодня, тем полезнее будет завтра.</a:t>
            </a:r>
            <a:endParaRPr lang="ru-RU" sz="1600" noProof="1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Shape 8">
            <a:extLst>
              <a:ext uri="{FF2B5EF4-FFF2-40B4-BE49-F238E27FC236}">
                <a16:creationId xmlns:a16="http://schemas.microsoft.com/office/drawing/2014/main" id="{1A720DE6-FBA0-F7BE-4728-BA96E603A5EE}"/>
              </a:ext>
            </a:extLst>
          </p:cNvPr>
          <p:cNvSpPr/>
          <p:nvPr/>
        </p:nvSpPr>
        <p:spPr>
          <a:xfrm>
            <a:off x="609600" y="4776919"/>
            <a:ext cx="10972800" cy="633984"/>
          </a:xfrm>
          <a:prstGeom prst="rect">
            <a:avLst/>
          </a:prstGeom>
          <a:solidFill>
            <a:srgbClr val="027A87"/>
          </a:solidFill>
          <a:ln w="12700">
            <a:solidFill>
              <a:srgbClr val="027A87"/>
            </a:solidFill>
            <a:prstDash val="solid"/>
          </a:ln>
        </p:spPr>
        <p:txBody>
          <a:bodyPr/>
          <a:lstStyle/>
          <a:p>
            <a:pPr defTabSz="1219170">
              <a:defRPr/>
            </a:pPr>
            <a:endParaRPr lang="ru-RU" sz="24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Text 9">
            <a:extLst>
              <a:ext uri="{FF2B5EF4-FFF2-40B4-BE49-F238E27FC236}">
                <a16:creationId xmlns:a16="http://schemas.microsoft.com/office/drawing/2014/main" id="{855D9CEB-C4FD-958A-E846-8C9B8E12756D}"/>
              </a:ext>
            </a:extLst>
          </p:cNvPr>
          <p:cNvSpPr/>
          <p:nvPr/>
        </p:nvSpPr>
        <p:spPr>
          <a:xfrm>
            <a:off x="853440" y="4776919"/>
            <a:ext cx="10607040" cy="633984"/>
          </a:xfrm>
          <a:prstGeom prst="rect">
            <a:avLst/>
          </a:prstGeom>
          <a:noFill/>
          <a:ln/>
        </p:spPr>
        <p:txBody>
          <a:bodyPr wrap="square" lIns="91440" tIns="45720" rIns="91440" bIns="45720" rtlCol="0" anchor="ctr"/>
          <a:lstStyle/>
          <a:p>
            <a:pPr defTabSz="1219170">
              <a:defRPr/>
            </a:pPr>
            <a:r>
              <a:rPr lang="ru-RU" sz="1600" b="1" noProof="1">
                <a:solidFill>
                  <a:srgbClr val="FFFFFF"/>
                </a:solidFill>
                <a:latin typeface="Arial"/>
                <a:ea typeface="Calibri"/>
                <a:cs typeface="Arial"/>
              </a:rPr>
              <a:t>ДАЛЕЕ: Закрытие 1-го дня  —  Рефлексия 3-2-1  —  затем QR-код для рефлексии </a:t>
            </a:r>
            <a:endParaRPr lang="ru-RU" sz="1600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846226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9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894700D-46A6-4389-0511-F85EC475A17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DB84476-BC29-4407-9D57-B2E562B8968B}" type="slidenum">
              <a:rPr lang="ru-RU" noProof="1" smtClean="0"/>
              <a:pPr/>
              <a:t>92</a:t>
            </a:fld>
            <a:endParaRPr lang="ru-RU" noProof="1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755706FF-AFDD-9FF4-DA77-58D75B23D7D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noProof="1"/>
              <a:t>Рефлексия 3-2-1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CCA59A5D-6EEF-2832-B89C-18171C2D031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3888" y="1303267"/>
            <a:ext cx="4637044" cy="46370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5254897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9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0787BDB-0A0A-1073-E604-0ACB5746C1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noProof="1"/>
              <a:t>Опросник по итогу дня 1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F4EF2B89-CE19-7DE2-E029-15EA333E302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35317" y="1502564"/>
            <a:ext cx="4685523" cy="46855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553521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9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6F0D534-ACF4-C5DF-F6AD-9B6F71E7C72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5317" y="422444"/>
            <a:ext cx="10922201" cy="1080120"/>
          </a:xfrm>
        </p:spPr>
        <p:txBody>
          <a:bodyPr/>
          <a:lstStyle/>
          <a:p>
            <a:r>
              <a:rPr lang="ru-RU" noProof="1"/>
              <a:t>Присоединяйтесь к сообществу DARYA SCAFFOLD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FA00056B-D9CF-5D7B-224E-53D1D301C40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35317" y="1836575"/>
            <a:ext cx="4212772" cy="4212772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893AAC00-AEAC-AF1A-91CB-DFF06C0CC31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914054" y="1836575"/>
            <a:ext cx="4212772" cy="42127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3134043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9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6B827EA-B2F3-4303-D438-FA8212847B7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3BBE9919-C76E-7B78-C87B-F3721CC4C069}"/>
              </a:ext>
            </a:extLst>
          </p:cNvPr>
          <p:cNvSpPr/>
          <p:nvPr/>
        </p:nvSpPr>
        <p:spPr>
          <a:xfrm>
            <a:off x="552450" y="219075"/>
            <a:ext cx="1943100" cy="12287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noProof="1"/>
          </a:p>
        </p:txBody>
      </p:sp>
      <p:pic>
        <p:nvPicPr>
          <p:cNvPr id="10" name="Picture 9" descr="A blue flag with yellow stars&#10;&#10;AI-generated content may be incorrect.">
            <a:extLst>
              <a:ext uri="{FF2B5EF4-FFF2-40B4-BE49-F238E27FC236}">
                <a16:creationId xmlns:a16="http://schemas.microsoft.com/office/drawing/2014/main" id="{7AD5C82D-A129-0CBD-946E-CC24AB26805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67" r="-524" b="5181"/>
          <a:stretch>
            <a:fillRect/>
          </a:stretch>
        </p:blipFill>
        <p:spPr bwMode="auto">
          <a:xfrm>
            <a:off x="10242394" y="7290"/>
            <a:ext cx="1783073" cy="1715333"/>
          </a:xfrm>
          <a:prstGeom prst="rect">
            <a:avLst/>
          </a:prstGeom>
          <a:noFill/>
        </p:spPr>
      </p:pic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0957AE99-BCCB-FE50-CF45-C2988556D45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/>
        <p:txBody>
          <a:bodyPr/>
          <a:lstStyle/>
          <a:p>
            <a:endParaRPr lang="ru-RU" noProof="1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2EB00E2E-D54B-9FC8-6768-81EE4FEC7D32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ru-RU" noProof="1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107B51DB-C30F-8177-4B7F-604D5B75DE1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ru-RU" noProof="1"/>
          </a:p>
        </p:txBody>
      </p:sp>
      <p:pic>
        <p:nvPicPr>
          <p:cNvPr id="12" name="Picture 11" descr="A blue text on a black background&#10;&#10;AI-generated content may be incorrect.">
            <a:extLst>
              <a:ext uri="{FF2B5EF4-FFF2-40B4-BE49-F238E27FC236}">
                <a16:creationId xmlns:a16="http://schemas.microsoft.com/office/drawing/2014/main" id="{04D45C3F-A9A4-70CE-BC65-D55FB650B2C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5293" y="89083"/>
            <a:ext cx="2030830" cy="1224303"/>
          </a:xfrm>
          <a:prstGeom prst="rect">
            <a:avLst/>
          </a:prstGeom>
          <a:noFill/>
        </p:spPr>
      </p:pic>
      <p:pic>
        <p:nvPicPr>
          <p:cNvPr id="15" name="Picture 14" descr="A logo with stars and text&#10;&#10;AI-generated content may be incorrect.">
            <a:extLst>
              <a:ext uri="{FF2B5EF4-FFF2-40B4-BE49-F238E27FC236}">
                <a16:creationId xmlns:a16="http://schemas.microsoft.com/office/drawing/2014/main" id="{7ED58535-E83E-07EA-352C-7C227E3A6CEE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81196" y="5210046"/>
            <a:ext cx="2111127" cy="1713490"/>
          </a:xfrm>
          <a:prstGeom prst="rect">
            <a:avLst/>
          </a:prstGeom>
        </p:spPr>
      </p:pic>
      <p:sp>
        <p:nvSpPr>
          <p:cNvPr id="3" name="Title 6">
            <a:extLst>
              <a:ext uri="{FF2B5EF4-FFF2-40B4-BE49-F238E27FC236}">
                <a16:creationId xmlns:a16="http://schemas.microsoft.com/office/drawing/2014/main" id="{DD1832C0-7910-3198-1F10-446D766EBE55}"/>
              </a:ext>
            </a:extLst>
          </p:cNvPr>
          <p:cNvSpPr>
            <a:spLocks noGrp="1"/>
          </p:cNvSpPr>
          <p:nvPr/>
        </p:nvSpPr>
        <p:spPr>
          <a:xfrm>
            <a:off x="554249" y="1903704"/>
            <a:ext cx="6212009" cy="3305217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1600" b="0" kern="1200">
                <a:solidFill>
                  <a:schemeClr val="tx1"/>
                </a:solidFill>
                <a:latin typeface="+mj-lt"/>
                <a:ea typeface="+mj-ea"/>
                <a:cs typeface="Arial" panose="020B0604020202020204" pitchFamily="34" charset="0"/>
              </a:defRPr>
            </a:lvl1pPr>
          </a:lstStyle>
          <a:p>
            <a:pPr algn="ctr"/>
            <a:endParaRPr lang="ru-RU" sz="3600" b="1" noProof="1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DF35C500-59E3-D4C8-02F9-CDAD7DE4BB17}"/>
              </a:ext>
            </a:extLst>
          </p:cNvPr>
          <p:cNvSpPr txBox="1"/>
          <p:nvPr/>
        </p:nvSpPr>
        <p:spPr>
          <a:xfrm>
            <a:off x="615863" y="2176397"/>
            <a:ext cx="6096000" cy="5293757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ru-RU" sz="4000" b="1" cap="all" noProof="1">
                <a:latin typeface="Arial"/>
                <a:cs typeface="Arial"/>
              </a:rPr>
              <a:t>Спасибо! </a:t>
            </a:r>
          </a:p>
          <a:p>
            <a:pPr algn="ctr"/>
            <a:r>
              <a:rPr lang="ru-RU" sz="4000" b="1" cap="all" noProof="1">
                <a:latin typeface="Arial"/>
                <a:cs typeface="Arial"/>
              </a:rPr>
              <a:t>Увидимся завтра</a:t>
            </a:r>
            <a:endParaRPr lang="ru-RU" sz="4000" cap="all" noProof="1">
              <a:latin typeface="Arial"/>
              <a:cs typeface="Arial"/>
            </a:endParaRPr>
          </a:p>
          <a:p>
            <a:pPr algn="ctr"/>
            <a:endParaRPr lang="ru-RU" sz="4000" cap="all" noProof="1">
              <a:latin typeface="Arial"/>
              <a:cs typeface="Arial"/>
            </a:endParaRPr>
          </a:p>
          <a:p>
            <a:pPr algn="ctr"/>
            <a:r>
              <a:rPr lang="ru-RU" sz="4000" b="1" cap="all" noProof="1">
                <a:latin typeface="Arial"/>
                <a:cs typeface="Arial"/>
              </a:rPr>
              <a:t>Thanks! </a:t>
            </a:r>
          </a:p>
          <a:p>
            <a:pPr algn="ctr"/>
            <a:r>
              <a:rPr lang="ru-RU" sz="4000" b="1" cap="all" noProof="1">
                <a:latin typeface="Arial"/>
                <a:cs typeface="Arial"/>
              </a:rPr>
              <a:t>See you tomorrow</a:t>
            </a:r>
            <a:endParaRPr lang="ru-RU" sz="4000" cap="all" noProof="1">
              <a:latin typeface="Arial"/>
              <a:cs typeface="Arial"/>
            </a:endParaRPr>
          </a:p>
          <a:p>
            <a:pPr algn="ctr"/>
            <a:endParaRPr lang="ru-RU" sz="4000" cap="all" noProof="1">
              <a:latin typeface="Arial"/>
              <a:cs typeface="Arial"/>
            </a:endParaRPr>
          </a:p>
          <a:p>
            <a:pPr algn="ctr"/>
            <a:endParaRPr lang="ru-RU" sz="4000" b="1" cap="all" noProof="1">
              <a:cs typeface="Arial"/>
            </a:endParaRPr>
          </a:p>
          <a:p>
            <a:pPr algn="ctr"/>
            <a:endParaRPr lang="ru-RU" sz="4000" b="1" cap="all" noProof="1">
              <a:cs typeface="Arial"/>
            </a:endParaRPr>
          </a:p>
          <a:p>
            <a:pPr algn="ctr"/>
            <a:endParaRPr lang="ru-RU" noProof="1"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63461824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9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98165C2-D778-AC6A-FBCB-3AD451BD5CA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49203793-A719-FC88-A00B-94C093965FAD}"/>
              </a:ext>
            </a:extLst>
          </p:cNvPr>
          <p:cNvSpPr/>
          <p:nvPr/>
        </p:nvSpPr>
        <p:spPr>
          <a:xfrm>
            <a:off x="552450" y="219075"/>
            <a:ext cx="1943100" cy="12287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noProof="1"/>
          </a:p>
        </p:txBody>
      </p:sp>
      <p:pic>
        <p:nvPicPr>
          <p:cNvPr id="10" name="Picture 9" descr="A blue flag with yellow stars&#10;&#10;AI-generated content may be incorrect.">
            <a:extLst>
              <a:ext uri="{FF2B5EF4-FFF2-40B4-BE49-F238E27FC236}">
                <a16:creationId xmlns:a16="http://schemas.microsoft.com/office/drawing/2014/main" id="{CA93DD2A-639E-4B10-CE06-636D0E8202E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67" r="-524" b="5181"/>
          <a:stretch>
            <a:fillRect/>
          </a:stretch>
        </p:blipFill>
        <p:spPr bwMode="auto">
          <a:xfrm>
            <a:off x="8666812" y="89083"/>
            <a:ext cx="1783073" cy="1715333"/>
          </a:xfrm>
          <a:prstGeom prst="rect">
            <a:avLst/>
          </a:prstGeom>
          <a:noFill/>
        </p:spPr>
      </p:pic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1E6D0BC1-D246-9729-AE8B-7F84E88BEEB7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/>
        <p:txBody>
          <a:bodyPr/>
          <a:lstStyle/>
          <a:p>
            <a:endParaRPr lang="ru-RU" noProof="1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34C6D026-9107-D2FA-C34A-AF4A957582E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ru-RU" noProof="1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5B433B1-A3E2-3209-3673-ACD7D61B4E7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ru-RU" noProof="1"/>
          </a:p>
        </p:txBody>
      </p:sp>
      <p:pic>
        <p:nvPicPr>
          <p:cNvPr id="12" name="Picture 11" descr="A blue text on a black background&#10;&#10;AI-generated content may be incorrect.">
            <a:extLst>
              <a:ext uri="{FF2B5EF4-FFF2-40B4-BE49-F238E27FC236}">
                <a16:creationId xmlns:a16="http://schemas.microsoft.com/office/drawing/2014/main" id="{2CBC5B13-E268-5302-1B2B-11FC9B70299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5293" y="89083"/>
            <a:ext cx="2030830" cy="1224303"/>
          </a:xfrm>
          <a:prstGeom prst="rect">
            <a:avLst/>
          </a:prstGeom>
          <a:noFill/>
        </p:spPr>
      </p:pic>
      <p:pic>
        <p:nvPicPr>
          <p:cNvPr id="15" name="Picture 14" descr="A logo with stars and text&#10;&#10;AI-generated content may be incorrect.">
            <a:extLst>
              <a:ext uri="{FF2B5EF4-FFF2-40B4-BE49-F238E27FC236}">
                <a16:creationId xmlns:a16="http://schemas.microsoft.com/office/drawing/2014/main" id="{C13216EE-9CBF-777C-E24E-95CE99E1A6A3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81196" y="5210046"/>
            <a:ext cx="2111127" cy="1713490"/>
          </a:xfrm>
          <a:prstGeom prst="rect">
            <a:avLst/>
          </a:prstGeom>
        </p:spPr>
      </p:pic>
      <p:sp>
        <p:nvSpPr>
          <p:cNvPr id="2" name="Title 6">
            <a:extLst>
              <a:ext uri="{FF2B5EF4-FFF2-40B4-BE49-F238E27FC236}">
                <a16:creationId xmlns:a16="http://schemas.microsoft.com/office/drawing/2014/main" id="{F139FE91-329E-B1E2-4752-947B2E2B4775}"/>
              </a:ext>
            </a:extLst>
          </p:cNvPr>
          <p:cNvSpPr>
            <a:spLocks noGrp="1"/>
          </p:cNvSpPr>
          <p:nvPr/>
        </p:nvSpPr>
        <p:spPr>
          <a:xfrm>
            <a:off x="554249" y="1903704"/>
            <a:ext cx="6911378" cy="3305217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1600" b="0" kern="1200">
                <a:solidFill>
                  <a:schemeClr val="tx1"/>
                </a:solidFill>
                <a:latin typeface="+mj-lt"/>
                <a:ea typeface="+mj-ea"/>
                <a:cs typeface="Arial" panose="020B0604020202020204" pitchFamily="34" charset="0"/>
              </a:defRPr>
            </a:lvl1pPr>
          </a:lstStyle>
          <a:p>
            <a:pPr algn="ctr"/>
            <a:r>
              <a:rPr lang="ru-RU" sz="2400" b="1" noProof="1">
                <a:cs typeface="Arial"/>
              </a:rPr>
              <a:t>DARYA SCAFFOLD  </a:t>
            </a:r>
          </a:p>
          <a:p>
            <a:pPr algn="ctr"/>
            <a:r>
              <a:rPr lang="ru-RU" sz="2400" b="1" noProof="1">
                <a:cs typeface="Arial"/>
              </a:rPr>
              <a:t>Трёхдневный тренинг по профессиональному развитию педагогов для специалистов и тренеров</a:t>
            </a:r>
            <a:endParaRPr lang="ru-RU" sz="1400" b="1" noProof="1">
              <a:cs typeface="Arial"/>
            </a:endParaRPr>
          </a:p>
          <a:p>
            <a:pPr algn="ctr"/>
            <a:endParaRPr lang="ru-RU" sz="2400" b="1" noProof="1">
              <a:cs typeface="Arial"/>
            </a:endParaRPr>
          </a:p>
          <a:p>
            <a:pPr algn="ctr"/>
            <a:r>
              <a:rPr lang="ru-RU" sz="2400" b="1" noProof="1">
                <a:cs typeface="Arial"/>
              </a:rPr>
              <a:t>День 2</a:t>
            </a:r>
            <a:endParaRPr lang="ru-RU" sz="2400" noProof="1">
              <a:cs typeface="Arial"/>
            </a:endParaRPr>
          </a:p>
          <a:p>
            <a:pPr algn="ctr"/>
            <a:endParaRPr lang="ru-RU" sz="3200" b="1" noProof="1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FA1CDC1-FDF2-71E5-BFD0-99D6A34524D3}"/>
              </a:ext>
            </a:extLst>
          </p:cNvPr>
          <p:cNvSpPr txBox="1"/>
          <p:nvPr/>
        </p:nvSpPr>
        <p:spPr>
          <a:xfrm>
            <a:off x="836541" y="4645068"/>
            <a:ext cx="6096000" cy="1107996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ru-RU" sz="2400" b="1" cap="all" noProof="1">
                <a:solidFill>
                  <a:srgbClr val="000000"/>
                </a:solidFill>
              </a:rPr>
              <a:t>27-29</a:t>
            </a:r>
            <a:r>
              <a:rPr lang="ru-RU" sz="2400" b="1" cap="all" noProof="1"/>
              <a:t> апреля 2026 г., </a:t>
            </a:r>
          </a:p>
          <a:p>
            <a:pPr algn="ctr"/>
            <a:r>
              <a:rPr lang="ru-RU" sz="2400" b="1" cap="all" noProof="1">
                <a:cs typeface="Arial"/>
              </a:rPr>
              <a:t>Алматы, Казахстан</a:t>
            </a:r>
            <a:endParaRPr lang="ru-RU" sz="2400" b="1" noProof="1">
              <a:cs typeface="Arial" panose="020B0604020202020204"/>
            </a:endParaRPr>
          </a:p>
          <a:p>
            <a:pPr algn="ctr"/>
            <a:endParaRPr lang="ru-RU" noProof="1">
              <a:cs typeface="Arial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2A5B985A-255E-1871-3D75-E46C1481D268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20012" y="-1"/>
            <a:ext cx="1528861" cy="15288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601400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9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68AF16B-DB02-88ED-8169-EE305DFE17E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E8EE07E4-CFE6-01BB-551E-5C3EBBF7360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87" y="274577"/>
            <a:ext cx="10944225" cy="1080120"/>
          </a:xfrm>
        </p:spPr>
        <p:txBody>
          <a:bodyPr/>
          <a:lstStyle/>
          <a:p>
            <a:r>
              <a:rPr lang="ru-RU" noProof="1"/>
              <a:t>Ваши вопросы и сомнения — ответы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867D562A-48E7-9671-CEAE-4C8CE94CFB95}"/>
              </a:ext>
            </a:extLst>
          </p:cNvPr>
          <p:cNvSpPr txBox="1"/>
          <p:nvPr/>
        </p:nvSpPr>
        <p:spPr>
          <a:xfrm>
            <a:off x="612457" y="1412777"/>
            <a:ext cx="11167168" cy="517064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buNone/>
            </a:pPr>
            <a:r>
              <a:rPr lang="ru-RU" sz="2200" b="1" noProof="1">
                <a:solidFill>
                  <a:schemeClr val="bg1"/>
                </a:solidFill>
              </a:rPr>
              <a:t>Вопрос:</a:t>
            </a:r>
            <a:r>
              <a:rPr lang="ru-RU" sz="2200" noProof="1">
                <a:solidFill>
                  <a:schemeClr val="bg1"/>
                </a:solidFill>
              </a:rPr>
              <a:t> </a:t>
            </a:r>
            <a:r>
              <a:rPr lang="ru-RU" sz="2200" b="1" noProof="1">
                <a:solidFill>
                  <a:schemeClr val="bg1"/>
                </a:solidFill>
              </a:rPr>
              <a:t>Как разработать эффективную программу профессионального развития педагогов?</a:t>
            </a:r>
          </a:p>
          <a:p>
            <a:pPr>
              <a:buNone/>
            </a:pPr>
            <a:r>
              <a:rPr lang="ru-RU" sz="2200" b="1" noProof="1">
                <a:solidFill>
                  <a:schemeClr val="bg1"/>
                </a:solidFill>
              </a:rPr>
              <a:t>Ответ:</a:t>
            </a:r>
            <a:r>
              <a:rPr lang="ru-RU" sz="2200" noProof="1">
                <a:solidFill>
                  <a:schemeClr val="bg1"/>
                </a:solidFill>
              </a:rPr>
              <a:t> Сосредоточьтесь на чём-то актуальном, приоритетном и направленном на изменение практики / достижение положительных результатов, а не на трансляции содержания. Согласуйте фокус (например, компетенция, метод, индикатор качества) в качестве примера и проработайте планирование для него.</a:t>
            </a:r>
          </a:p>
          <a:p>
            <a:pPr>
              <a:buNone/>
            </a:pPr>
            <a:br>
              <a:rPr lang="ru-RU" sz="2200" noProof="1">
                <a:solidFill>
                  <a:schemeClr val="bg1"/>
                </a:solidFill>
              </a:rPr>
            </a:br>
            <a:endParaRPr lang="ru-RU" sz="2200" noProof="1">
              <a:solidFill>
                <a:schemeClr val="bg1"/>
              </a:solidFill>
            </a:endParaRPr>
          </a:p>
          <a:p>
            <a:pPr>
              <a:buNone/>
            </a:pPr>
            <a:r>
              <a:rPr lang="ru-RU" sz="2200" b="1" noProof="1">
                <a:solidFill>
                  <a:schemeClr val="bg1"/>
                </a:solidFill>
              </a:rPr>
              <a:t>Вопрос: Как все 8 индикаторов качества могут быть встроены в реальную педагогическую практику и практику учебного заведения?</a:t>
            </a:r>
          </a:p>
          <a:p>
            <a:pPr>
              <a:buNone/>
            </a:pPr>
            <a:r>
              <a:rPr lang="ru-RU" sz="2200" b="1" noProof="1">
                <a:solidFill>
                  <a:schemeClr val="bg1"/>
                </a:solidFill>
              </a:rPr>
              <a:t>Ответ:</a:t>
            </a:r>
            <a:r>
              <a:rPr lang="ru-RU" sz="2200" noProof="1">
                <a:solidFill>
                  <a:schemeClr val="bg1"/>
                </a:solidFill>
              </a:rPr>
              <a:t> Не все они должны присутствовать в каждой активности профессионального развития педагогов. Но они должны характеризовать программы в целом. Начните с внедрения в простые рутины — например, повестки командных совещаний могут быть сосредоточены на том, как продвигать активное обучение].</a:t>
            </a:r>
          </a:p>
        </p:txBody>
      </p:sp>
    </p:spTree>
    <p:extLst>
      <p:ext uri="{BB962C8B-B14F-4D97-AF65-F5344CB8AC3E}">
        <p14:creationId xmlns:p14="http://schemas.microsoft.com/office/powerpoint/2010/main" val="253959585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9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4E28F94-9907-7DE0-2E82-854D48BAA25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A77A8B26-450B-17AE-7EFA-36F09E7C26E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87" y="274577"/>
            <a:ext cx="10944225" cy="1080120"/>
          </a:xfrm>
        </p:spPr>
        <p:txBody>
          <a:bodyPr/>
          <a:lstStyle/>
          <a:p>
            <a:r>
              <a:rPr lang="ru-RU" noProof="1"/>
              <a:t>Ваши вопросы и сомнения  — ответы</a:t>
            </a:r>
          </a:p>
        </p:txBody>
      </p:sp>
      <p:sp>
        <p:nvSpPr>
          <p:cNvPr id="4" name="Rectangle 2">
            <a:extLst>
              <a:ext uri="{FF2B5EF4-FFF2-40B4-BE49-F238E27FC236}">
                <a16:creationId xmlns:a16="http://schemas.microsoft.com/office/drawing/2014/main" id="{E1EC5739-6431-CE04-4422-3367C72667EC}"/>
              </a:ext>
            </a:extLst>
          </p:cNvPr>
          <p:cNvSpPr>
            <a:spLocks noChangeArrowheads="1"/>
          </p:cNvSpPr>
          <p:nvPr/>
        </p:nvSpPr>
        <p:spPr bwMode="auto">
          <a:xfrm>
            <a:off x="623887" y="1354697"/>
            <a:ext cx="10454421" cy="415498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2200" b="1" u="none" strike="noStrike" cap="none" normalizeH="0" baseline="0" noProof="1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Вопрос: Реалистично ли достичь всех 8 индикаторов одновременно или их следует расставить по приоритетам?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2200" i="0" u="none" strike="noStrike" cap="none" normalizeH="0" baseline="0" noProof="1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Ответ: И нет, и да. Какой бы вы выбрали приоритетным? ИК6 «Это касается ваших студентов»? 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2200" b="0" i="0" u="none" strike="noStrike" cap="none" normalizeH="0" baseline="0" noProof="1">
              <a:ln>
                <a:noFill/>
              </a:ln>
              <a:solidFill>
                <a:schemeClr val="bg1"/>
              </a:solidFill>
              <a:effectLst/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2200" b="1" u="none" strike="noStrike" cap="none" normalizeH="0" baseline="0" noProof="1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Вопрос: Как использовать 8 индикаторов вместе как единую систему, а не по отдельности?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2200" i="0" u="none" strike="noStrike" cap="none" normalizeH="0" baseline="0" noProof="1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Ответ: Они не обязаны присутствовать в каждом мероприятии по профессиональному развитию педагогов. Но они должны характеризовать программы в целом. Начните с того, чтобы вводить их в простые рутинные процессы — например, повестка командных встреч может быть посвящена тому, как продвигать действие.</a:t>
            </a:r>
          </a:p>
        </p:txBody>
      </p:sp>
    </p:spTree>
    <p:extLst>
      <p:ext uri="{BB962C8B-B14F-4D97-AF65-F5344CB8AC3E}">
        <p14:creationId xmlns:p14="http://schemas.microsoft.com/office/powerpoint/2010/main" val="363472735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9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9137922-DCD8-2AD9-FBAD-D211055B3FD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noProof="1"/>
              <a:t>Ваши вопросы и сомнения  — ответы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EBEB03CF-0B5D-A8D8-0384-C7AA7919ADD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DB84476-BC29-4407-9D57-B2E562B8968B}" type="slidenum">
              <a:rPr lang="ru-RU" noProof="1" smtClean="0"/>
              <a:pPr/>
              <a:t>99</a:t>
            </a:fld>
            <a:endParaRPr lang="ru-RU" noProof="1"/>
          </a:p>
        </p:txBody>
      </p:sp>
      <p:sp>
        <p:nvSpPr>
          <p:cNvPr id="4" name="Rectangle 1">
            <a:extLst>
              <a:ext uri="{FF2B5EF4-FFF2-40B4-BE49-F238E27FC236}">
                <a16:creationId xmlns:a16="http://schemas.microsoft.com/office/drawing/2014/main" id="{D8773BE1-EAA7-413C-6CF2-8A2DCDCD50A7}"/>
              </a:ext>
            </a:extLst>
          </p:cNvPr>
          <p:cNvSpPr>
            <a:spLocks noChangeArrowheads="1"/>
          </p:cNvSpPr>
          <p:nvPr/>
        </p:nvSpPr>
        <p:spPr bwMode="auto">
          <a:xfrm>
            <a:off x="612457" y="1413570"/>
            <a:ext cx="10944225" cy="31393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2200" b="1" u="none" strike="noStrike" cap="none" normalizeH="0" baseline="0" noProof="1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Вопрос: Как применить 8 индикаторов в конкретном местном контексте?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2200" b="0" i="0" u="none" strike="noStrike" cap="none" normalizeH="0" baseline="0" noProof="1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Ответ: Интерпретируйте индикаторы через местный контекст. Пример: короткие микросессии подходят небольшим образовательным организациям с малочисленным штатом.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2200" b="0" i="0" u="none" strike="noStrike" cap="none" normalizeH="0" baseline="0" noProof="1">
              <a:ln>
                <a:noFill/>
              </a:ln>
              <a:solidFill>
                <a:schemeClr val="bg1"/>
              </a:solidFill>
              <a:effectLst/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2200" b="1" u="none" strike="noStrike" cap="none" normalizeH="0" baseline="0" noProof="1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Вопрос: Как обеспечить, чтобы профессиональное развитие было устойчивым в реальной школьной практике?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2200" b="0" i="0" u="none" strike="noStrike" cap="none" normalizeH="0" baseline="0" noProof="1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Ответ: Связывайте с обучением в реальной жизни; делайте профессиональное обучение непрерывным.</a:t>
            </a:r>
          </a:p>
        </p:txBody>
      </p:sp>
    </p:spTree>
    <p:extLst>
      <p:ext uri="{BB962C8B-B14F-4D97-AF65-F5344CB8AC3E}">
        <p14:creationId xmlns:p14="http://schemas.microsoft.com/office/powerpoint/2010/main" val="221726590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PROJECT_OPEN" val="0"/>
  <p:tag name="ARTICULATE_SLIDE_COUNT" val="198"/>
  <p:tag name="ARTICULATE_SLIDE_THUMBNAIL_REFRESH" val="1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heme/theme1.xml><?xml version="1.0" encoding="utf-8"?>
<a:theme xmlns:a="http://schemas.openxmlformats.org/drawingml/2006/main" name="ETF DARYA Template">
  <a:themeElements>
    <a:clrScheme name="Custom 1">
      <a:dk1>
        <a:srgbClr val="000000"/>
      </a:dk1>
      <a:lt1>
        <a:srgbClr val="FFFFFF"/>
      </a:lt1>
      <a:dk2>
        <a:srgbClr val="0092BB"/>
      </a:dk2>
      <a:lt2>
        <a:srgbClr val="D6DCE4"/>
      </a:lt2>
      <a:accent1>
        <a:srgbClr val="009CDE"/>
      </a:accent1>
      <a:accent2>
        <a:srgbClr val="38B6AB"/>
      </a:accent2>
      <a:accent3>
        <a:srgbClr val="CBD300"/>
      </a:accent3>
      <a:accent4>
        <a:srgbClr val="FFDC00"/>
      </a:accent4>
      <a:accent5>
        <a:srgbClr val="E9473D"/>
      </a:accent5>
      <a:accent6>
        <a:srgbClr val="DC006B"/>
      </a:accent6>
      <a:hlink>
        <a:srgbClr val="0092BB"/>
      </a:hlink>
      <a:folHlink>
        <a:srgbClr val="27257A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ETF DARYA Template">
  <a:themeElements>
    <a:clrScheme name="Custom 1">
      <a:dk1>
        <a:srgbClr val="000000"/>
      </a:dk1>
      <a:lt1>
        <a:srgbClr val="FFFFFF"/>
      </a:lt1>
      <a:dk2>
        <a:srgbClr val="0092BB"/>
      </a:dk2>
      <a:lt2>
        <a:srgbClr val="D6DCE4"/>
      </a:lt2>
      <a:accent1>
        <a:srgbClr val="009CDE"/>
      </a:accent1>
      <a:accent2>
        <a:srgbClr val="38B6AB"/>
      </a:accent2>
      <a:accent3>
        <a:srgbClr val="CBD300"/>
      </a:accent3>
      <a:accent4>
        <a:srgbClr val="FFDC00"/>
      </a:accent4>
      <a:accent5>
        <a:srgbClr val="E9473D"/>
      </a:accent5>
      <a:accent6>
        <a:srgbClr val="DC006B"/>
      </a:accent6>
      <a:hlink>
        <a:srgbClr val="0092BB"/>
      </a:hlink>
      <a:folHlink>
        <a:srgbClr val="27257A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0377087a-cdef-4c90-8480-8a6ef4cb0319">
      <Terms xmlns="http://schemas.microsoft.com/office/infopath/2007/PartnerControls"/>
    </lcf76f155ced4ddcb4097134ff3c332f>
    <TaxCatchAll xmlns="d5916e72-4b5a-49d2-a6a6-12d4a5a241e7" xsi:nil="true"/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B6D5B13326087944A18C6A6893FB8FFA" ma:contentTypeVersion="16" ma:contentTypeDescription="Create a new document." ma:contentTypeScope="" ma:versionID="542bd5c942688c6043c2176e861a3b39">
  <xsd:schema xmlns:xsd="http://www.w3.org/2001/XMLSchema" xmlns:xs="http://www.w3.org/2001/XMLSchema" xmlns:p="http://schemas.microsoft.com/office/2006/metadata/properties" xmlns:ns2="0377087a-cdef-4c90-8480-8a6ef4cb0319" xmlns:ns3="d5916e72-4b5a-49d2-a6a6-12d4a5a241e7" targetNamespace="http://schemas.microsoft.com/office/2006/metadata/properties" ma:root="true" ma:fieldsID="f7a7bd99518aa3dcfec639804f841159" ns2:_="" ns3:_="">
    <xsd:import namespace="0377087a-cdef-4c90-8480-8a6ef4cb0319"/>
    <xsd:import namespace="d5916e72-4b5a-49d2-a6a6-12d4a5a241e7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ObjectDetectorVersions" minOccurs="0"/>
                <xsd:element ref="ns3:SharedWithUsers" minOccurs="0"/>
                <xsd:element ref="ns3:SharedWithDetails" minOccurs="0"/>
                <xsd:element ref="ns2:MediaServiceGenerationTime" minOccurs="0"/>
                <xsd:element ref="ns2:MediaServiceEventHashCode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DateTaken" minOccurs="0"/>
                <xsd:element ref="ns2:MediaLengthInSeconds" minOccurs="0"/>
                <xsd:element ref="ns2:MediaServiceLocation" minOccurs="0"/>
                <xsd:element ref="ns2:MediaServiceBilling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377087a-cdef-4c90-8480-8a6ef4cb0319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11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lcf76f155ced4ddcb4097134ff3c332f" ma:index="17" nillable="true" ma:taxonomy="true" ma:internalName="lcf76f155ced4ddcb4097134ff3c332f" ma:taxonomyFieldName="MediaServiceImageTags" ma:displayName="Image Tags" ma:readOnly="false" ma:fieldId="{5cf76f15-5ced-4ddc-b409-7134ff3c332f}" ma:taxonomyMulti="true" ma:sspId="e4dc7076-5b20-412f-9790-c3dabd17185e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DateTaken" ma:index="20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LengthInSeconds" ma:index="21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2" nillable="true" ma:displayName="Location" ma:indexed="true" ma:internalName="MediaServiceLocation" ma:readOnly="true">
      <xsd:simpleType>
        <xsd:restriction base="dms:Text"/>
      </xsd:simpleType>
    </xsd:element>
    <xsd:element name="MediaServiceBillingMetadata" ma:index="23" nillable="true" ma:displayName="MediaServiceBillingMetadata" ma:hidden="true" ma:internalName="MediaServiceBillingMetadata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5916e72-4b5a-49d2-a6a6-12d4a5a241e7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8" nillable="true" ma:displayName="Taxonomy Catch All Column" ma:hidden="true" ma:list="{0bbf817f-315c-41c7-83f3-3a9ac1bdfd7b}" ma:internalName="TaxCatchAll" ma:showField="CatchAllData" ma:web="d5916e72-4b5a-49d2-a6a6-12d4a5a241e7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12DE8D46-93BE-47CA-8431-63F0618C7D11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E3CB8048-C8CE-46D0-9F0D-64B47A806E90}">
  <ds:schemaRefs>
    <ds:schemaRef ds:uri="http://purl.org/dc/elements/1.1/"/>
    <ds:schemaRef ds:uri="http://purl.org/dc/dcmitype/"/>
    <ds:schemaRef ds:uri="http://purl.org/dc/terms/"/>
    <ds:schemaRef ds:uri="0377087a-cdef-4c90-8480-8a6ef4cb0319"/>
    <ds:schemaRef ds:uri="http://schemas.microsoft.com/office/2006/documentManagement/types"/>
    <ds:schemaRef ds:uri="http://schemas.openxmlformats.org/package/2006/metadata/core-properties"/>
    <ds:schemaRef ds:uri="http://www.w3.org/XML/1998/namespace"/>
    <ds:schemaRef ds:uri="http://schemas.microsoft.com/office/infopath/2007/PartnerControls"/>
    <ds:schemaRef ds:uri="d5916e72-4b5a-49d2-a6a6-12d4a5a241e7"/>
    <ds:schemaRef ds:uri="http://schemas.microsoft.com/office/2006/metadata/properties"/>
  </ds:schemaRefs>
</ds:datastoreItem>
</file>

<file path=customXml/itemProps3.xml><?xml version="1.0" encoding="utf-8"?>
<ds:datastoreItem xmlns:ds="http://schemas.openxmlformats.org/officeDocument/2006/customXml" ds:itemID="{485FBC00-07C7-4418-B8DF-DF5711185B9F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0377087a-cdef-4c90-8480-8a6ef4cb0319"/>
    <ds:schemaRef ds:uri="d5916e72-4b5a-49d2-a6a6-12d4a5a241e7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1036</TotalTime>
  <Words>15784</Words>
  <Application>Microsoft Office PowerPoint</Application>
  <PresentationFormat>Widescreen</PresentationFormat>
  <Paragraphs>1927</Paragraphs>
  <Slides>193</Slides>
  <Notes>29</Notes>
  <HiddenSlides>33</HiddenSlides>
  <MMClips>0</MMClips>
  <ScaleCrop>false</ScaleCrop>
  <HeadingPairs>
    <vt:vector size="4" baseType="variant">
      <vt:variant>
        <vt:lpstr>Theme</vt:lpstr>
      </vt:variant>
      <vt:variant>
        <vt:i4>2</vt:i4>
      </vt:variant>
      <vt:variant>
        <vt:lpstr>Slide Titles</vt:lpstr>
      </vt:variant>
      <vt:variant>
        <vt:i4>193</vt:i4>
      </vt:variant>
    </vt:vector>
  </HeadingPairs>
  <TitlesOfParts>
    <vt:vector size="195" baseType="lpstr">
      <vt:lpstr>ETF DARYA Template</vt:lpstr>
      <vt:lpstr>1_ETF DARYA Template</vt:lpstr>
      <vt:lpstr>PowerPoint Presentation</vt:lpstr>
      <vt:lpstr>PowerPoint Presentation</vt:lpstr>
      <vt:lpstr>Важные технические ремарки</vt:lpstr>
      <vt:lpstr>Конкурс «Лучшие инсайты тренинга»</vt:lpstr>
      <vt:lpstr>Приветственное слово  Министерство просвещения Республики Казахстан  Отдел технического и профессионального образования г. Алматы   Европейский фонд образования, DARYA </vt:lpstr>
      <vt:lpstr>Давайте познакомимся с фасилитаторами</vt:lpstr>
      <vt:lpstr>Два факта и одна выдумка о профессиональном развитии педагогов</vt:lpstr>
      <vt:lpstr>К концу первого дня участники смогут:</vt:lpstr>
      <vt:lpstr>Сессия 1</vt:lpstr>
      <vt:lpstr>Ожидаемые результаты: </vt:lpstr>
      <vt:lpstr>СЕССИЯ 1  ·  ОБЗОР</vt:lpstr>
      <vt:lpstr>SCAFFOLD в действии</vt:lpstr>
      <vt:lpstr>Результаты микрообучения</vt:lpstr>
      <vt:lpstr>Результаты микрообучения</vt:lpstr>
      <vt:lpstr>Что вы нам уже рассказали (ИК – Индикаторы качества) </vt:lpstr>
      <vt:lpstr>PowerPoint Presentation</vt:lpstr>
      <vt:lpstr>Мини пленарная сессия</vt:lpstr>
      <vt:lpstr>Четыре недоказанных утверждения  Почему эти четыре тезиса звучат убедительно — и что на самом деле показывают данные</vt:lpstr>
      <vt:lpstr>PowerPoint Presentation</vt:lpstr>
      <vt:lpstr>Какой формат профессионального развития педагогов вы предпочитаете больше всего… [выберите топ-3]?</vt:lpstr>
      <vt:lpstr>Рефлексия по итогу сессии</vt:lpstr>
      <vt:lpstr>Сессия 1  ·  Cписок материалов</vt:lpstr>
      <vt:lpstr>PowerPoint Presentation</vt:lpstr>
      <vt:lpstr>PowerPoint Presentation</vt:lpstr>
      <vt:lpstr>Сессия 2</vt:lpstr>
      <vt:lpstr>Ожидаемые результаты</vt:lpstr>
      <vt:lpstr>СЕССИЯ 2  |  ОБЗОР</vt:lpstr>
      <vt:lpstr>Возвращение к Сессии 1</vt:lpstr>
      <vt:lpstr>Компас ПРП – оси и квадранты</vt:lpstr>
      <vt:lpstr>Страновое обсуждение: рассадка</vt:lpstr>
      <vt:lpstr>Создание одной коллективной карты на страну</vt:lpstr>
      <vt:lpstr>Чтение паттернов — без ранжирования стран</vt:lpstr>
      <vt:lpstr>Идентификация барьеров к созданию эффективной программы профессионального развития</vt:lpstr>
      <vt:lpstr>СЕССИЯ 2  |  СПИСОК МАТЕРИАЛОВ</vt:lpstr>
      <vt:lpstr>PowerPoint Presentation</vt:lpstr>
      <vt:lpstr>PowerPoint Presentation</vt:lpstr>
      <vt:lpstr>Сессия 3</vt:lpstr>
      <vt:lpstr>Ожидаемые результаты</vt:lpstr>
      <vt:lpstr>СЕССИЯ 3  |  ОБЗОР</vt:lpstr>
      <vt:lpstr>Подготовка и повторное вовлечение</vt:lpstr>
      <vt:lpstr>Раунд 1 - Правила</vt:lpstr>
      <vt:lpstr>Раунд 1 — Образцы карточек из Стопки А (для справки фасилитатора)</vt:lpstr>
      <vt:lpstr>PowerPoint Presentation</vt:lpstr>
      <vt:lpstr>Раунд 2 – напишите свои собственные карты</vt:lpstr>
      <vt:lpstr>Челлендж между столами: Обменяйтесь, сыграйте и сравните прочтения</vt:lpstr>
      <vt:lpstr>Тот же аналитический приём — в более сложной обстановке</vt:lpstr>
      <vt:lpstr>СЕССИЯ 3  |  СПИСОК МАТЕРИАЛОВ</vt:lpstr>
      <vt:lpstr>PowerPoint Presentation</vt:lpstr>
      <vt:lpstr>PowerPoint Presentation</vt:lpstr>
      <vt:lpstr>Сессия 4</vt:lpstr>
      <vt:lpstr>Ожидаемые результаты: </vt:lpstr>
      <vt:lpstr>СЕССИЯ 4  |  ОБЗОР</vt:lpstr>
      <vt:lpstr>Шаблон для презентующего</vt:lpstr>
      <vt:lpstr>PowerPoint Presentation</vt:lpstr>
      <vt:lpstr>Шаблон наблюдения за кейсом профессионального развития педагогов  |  Заполняется во время каждой презентации</vt:lpstr>
      <vt:lpstr>Введение в сессию</vt:lpstr>
      <vt:lpstr>Три презентации с наблюдениями</vt:lpstr>
      <vt:lpstr>По мере того, как слушаете — отмечайте в своём шаблоне:</vt:lpstr>
      <vt:lpstr>PowerPoint Presentation</vt:lpstr>
      <vt:lpstr> «Проектирование учебных занятий с применением инструмента «SCAFFOLD»  ( февраль-апрель 2025 г.)</vt:lpstr>
      <vt:lpstr> «Проектирование учебных занятий с применением инструмента «SCAFFOLD»</vt:lpstr>
      <vt:lpstr> «Проектирование учебных занятий с применением инструмента «SCAFFOLD»</vt:lpstr>
      <vt:lpstr>Содержание</vt:lpstr>
      <vt:lpstr>Activity 1.8 Разработайте образовательную мини-игру/игровой прием, используя карту «Обучение в игровой форме». </vt:lpstr>
      <vt:lpstr>Activity 1.14 Разработайте фрагмент урока по выбранной теме с использованием карточек SCAFFOLD. </vt:lpstr>
      <vt:lpstr>Программа работает</vt:lpstr>
      <vt:lpstr>Восемь показателей качества эффективного профессионального развития педагогов </vt:lpstr>
      <vt:lpstr>PowerPoint Presentation</vt:lpstr>
      <vt:lpstr>PowerPoint Presentation</vt:lpstr>
      <vt:lpstr>Интеграция ключевых компетенций в учебный процесс профессионального лицея</vt:lpstr>
      <vt:lpstr>Дизайн программы и путь участника</vt:lpstr>
      <vt:lpstr>PowerPoint Presentation</vt:lpstr>
      <vt:lpstr>Доказательства эффективности</vt:lpstr>
      <vt:lpstr>PowerPoint Presentation</vt:lpstr>
      <vt:lpstr>PowerPoint Presentation</vt:lpstr>
      <vt:lpstr>PowerPoint Presentation</vt:lpstr>
      <vt:lpstr>PowerPoint Presentation</vt:lpstr>
      <vt:lpstr>ПЛАНИРОВАНИЕ, ОРГАНИЗАЦИЯ И ОЦЕНКА РЕЗУЛЬТАТОВ ОБРАЗОВАТЕЛЬНОГО ПРОЦЕССА (ТЕХНОЛОГИЯ SCAFFOLD) </vt:lpstr>
      <vt:lpstr>Достижения программы профессионального развития</vt:lpstr>
      <vt:lpstr>Достижения программы профессионального развития</vt:lpstr>
      <vt:lpstr>Достижения программы профессионального развития</vt:lpstr>
      <vt:lpstr>Реализуемая программа и переживания слушателей</vt:lpstr>
      <vt:lpstr>Реализуемая программа и переживания слушателей</vt:lpstr>
      <vt:lpstr>Ожидаемые результаты программы профессионального развития — для педагогов и в конечном счёте для обучающихся. </vt:lpstr>
      <vt:lpstr>Свидетельство того, что программа работает </vt:lpstr>
      <vt:lpstr>То что мы сегодня делаем</vt:lpstr>
      <vt:lpstr>Наше видение в котором подход к проектированию программ профессионального развития педагогов могло бы усилить эту инициативу </vt:lpstr>
      <vt:lpstr>Сравнение ваших трёх шаблонов</vt:lpstr>
      <vt:lpstr>По две минуты каждому выступающему — чтобы что-то добавить</vt:lpstr>
      <vt:lpstr>Выявляйте паттерны. Не называйте страны.</vt:lpstr>
      <vt:lpstr>PowerPoint Presentation</vt:lpstr>
      <vt:lpstr>Рефлексия 3-2-1</vt:lpstr>
      <vt:lpstr>Опросник по итогу дня 1</vt:lpstr>
      <vt:lpstr>Присоединяйтесь к сообществу DARYA SCAFFOLD</vt:lpstr>
      <vt:lpstr>PowerPoint Presentation</vt:lpstr>
      <vt:lpstr>PowerPoint Presentation</vt:lpstr>
      <vt:lpstr>Ваши вопросы и сомнения — ответы</vt:lpstr>
      <vt:lpstr>Ваши вопросы и сомнения  — ответы</vt:lpstr>
      <vt:lpstr>Ваши вопросы и сомнения  — ответы</vt:lpstr>
      <vt:lpstr>Ваши вопросы и сомнения  — ответы</vt:lpstr>
      <vt:lpstr>Ваши вопросы и сомнения  — ответы</vt:lpstr>
      <vt:lpstr>Сессия 5</vt:lpstr>
      <vt:lpstr>СЕССИЯ 5  ·  ОБЗОР</vt:lpstr>
      <vt:lpstr>РАСПРЕДЕЛЕНИЕ ЗАДАНИЙ  |  Заранее размещено на столах до 09:15</vt:lpstr>
      <vt:lpstr>Ожидаемые результаты: </vt:lpstr>
      <vt:lpstr>Три задания по разработке — краткий обзор (распечатанные задания заранее размещены на столах)</vt:lpstr>
      <vt:lpstr>Рабочие пары</vt:lpstr>
      <vt:lpstr>PowerPoint Presentation</vt:lpstr>
      <vt:lpstr>Выбор компетенций</vt:lpstr>
      <vt:lpstr>Определение уровня компетенции</vt:lpstr>
      <vt:lpstr>Семь методов обучения SCAFFOLD:</vt:lpstr>
      <vt:lpstr>Выбор метода обучения</vt:lpstr>
      <vt:lpstr>Напишите логику разработки</vt:lpstr>
      <vt:lpstr>PowerPoint Presentation</vt:lpstr>
      <vt:lpstr>PowerPoint Presentation</vt:lpstr>
      <vt:lpstr>PowerPoint Presentation</vt:lpstr>
      <vt:lpstr>PowerPoint Presentation</vt:lpstr>
      <vt:lpstr>Сессия 6</vt:lpstr>
      <vt:lpstr>СЕССИЯ 6  |  ОБЗОР</vt:lpstr>
      <vt:lpstr>Ожидаемые результаты (продолжение предыдущей сессии): </vt:lpstr>
      <vt:lpstr>Все семь карточек планирования — карточки 1–3 выполнены в Сессии 5  |  карточки 4–7 сегодня</vt:lpstr>
      <vt:lpstr>Прежде чем вы начнёте разработку, я хочу вам кое-что показать.</vt:lpstr>
      <vt:lpstr>PowerPoint Presentation</vt:lpstr>
      <vt:lpstr>Карточки задания – выбор контекста</vt:lpstr>
      <vt:lpstr>Сведение идеи воедино – три вопроса</vt:lpstr>
      <vt:lpstr>Подготовка к показу и индивидуальная рефлексия</vt:lpstr>
      <vt:lpstr>PowerPoint Presentation</vt:lpstr>
      <vt:lpstr>PowerPoint Presentation</vt:lpstr>
      <vt:lpstr>PowerPoint Presentation</vt:lpstr>
      <vt:lpstr>Сессия 7</vt:lpstr>
      <vt:lpstr>СЕССИЯ 7  |  ФОРМАТ</vt:lpstr>
      <vt:lpstr>Ожидаемые результаты: </vt:lpstr>
      <vt:lpstr>КАРТОЧКА ОБРАТНОЙ СВЯЗИ</vt:lpstr>
      <vt:lpstr>Контекст показа</vt:lpstr>
      <vt:lpstr>Сессия 8</vt:lpstr>
      <vt:lpstr>Цель и ожидаемые результаты</vt:lpstr>
      <vt:lpstr>SCAFFOLD в действии прямо сейчас</vt:lpstr>
      <vt:lpstr>От дизайна к реализации</vt:lpstr>
      <vt:lpstr>Заполните ячейку 9</vt:lpstr>
      <vt:lpstr>Восемь вызовов на карточке. Одна пустая ячейка для заполнения.</vt:lpstr>
      <vt:lpstr>Вызовы на этой карточке не исчезают только потому, что у вас есть хорошо спроектированная сессия.</vt:lpstr>
      <vt:lpstr>PowerPoint Presentation</vt:lpstr>
      <vt:lpstr>PowerPoint Presentation</vt:lpstr>
      <vt:lpstr>PowerPoint Presentation</vt:lpstr>
      <vt:lpstr>Сессия 9</vt:lpstr>
      <vt:lpstr>Цель и ожидаемые результаты</vt:lpstr>
      <vt:lpstr>Оценивание является частью обучения, а не отдельным элементом</vt:lpstr>
      <vt:lpstr>PowerPoint Presentation</vt:lpstr>
      <vt:lpstr>Оценка — это не то, что вы добавляете после разработки.</vt:lpstr>
      <vt:lpstr>Метод оценивания был частью обучения.</vt:lpstr>
      <vt:lpstr>Четыре уровня оценки профессионального развития педагогов</vt:lpstr>
      <vt:lpstr>Что это означает для вашего дизайна</vt:lpstr>
      <vt:lpstr>Добавьте оценку Уровня 3 в ваш дизайн</vt:lpstr>
      <vt:lpstr>Сравните со своим столом-партнёром</vt:lpstr>
      <vt:lpstr>Пять парных выводов. Три паттерна для внимания.</vt:lpstr>
      <vt:lpstr>Индивидуальная рефлексия и переход</vt:lpstr>
      <vt:lpstr>Рефлексия 3-2-1</vt:lpstr>
      <vt:lpstr>Опросник по итогу Дня 2</vt:lpstr>
      <vt:lpstr>Присоединяйтесь к сообществу DARYA SCAFFOLD</vt:lpstr>
      <vt:lpstr>PowerPoint Presentation</vt:lpstr>
      <vt:lpstr>PowerPoint Presentation</vt:lpstr>
      <vt:lpstr>Конкурс «Лучшие инсайты тренинга»</vt:lpstr>
      <vt:lpstr>Ваши вопросы и сомнения — ответы</vt:lpstr>
      <vt:lpstr>Ваши вопросы и сомнения — ответы</vt:lpstr>
      <vt:lpstr>Сессия 10</vt:lpstr>
      <vt:lpstr>Цель и результаты обучения</vt:lpstr>
      <vt:lpstr>Бинго-карта профессионального развития педагогов </vt:lpstr>
      <vt:lpstr>Ролевая игра</vt:lpstr>
      <vt:lpstr>Как реагировать, проявляя социально-эмоциональные навыки </vt:lpstr>
      <vt:lpstr>PowerPoint Presentation</vt:lpstr>
      <vt:lpstr>Ролевая игра</vt:lpstr>
      <vt:lpstr>PowerPoint Presentation</vt:lpstr>
      <vt:lpstr>Учебный обход </vt:lpstr>
      <vt:lpstr>Учебный обход </vt:lpstr>
      <vt:lpstr>Инструкции по созданию видео</vt:lpstr>
      <vt:lpstr>Критерии оценки презентации: впечатлите жюри</vt:lpstr>
      <vt:lpstr>PowerPoint Presentation</vt:lpstr>
      <vt:lpstr>Ролевая игра по стоп-кадром</vt:lpstr>
      <vt:lpstr>Переживайте это. Наблюдайте за этим.</vt:lpstr>
      <vt:lpstr>Разбор: Три вопроса — по порядку </vt:lpstr>
      <vt:lpstr>Работа с карточками сценариев: Три сценария. Три вопроса на каждый сценарий.</vt:lpstr>
      <vt:lpstr>Вы не представляете свой дизайн. Вы его реализуете.</vt:lpstr>
      <vt:lpstr>PowerPoint Presentation</vt:lpstr>
      <vt:lpstr>PowerPoint Presentation</vt:lpstr>
      <vt:lpstr>PowerPoint Presentation</vt:lpstr>
      <vt:lpstr>Сессия 11</vt:lpstr>
      <vt:lpstr>Цель и результаты обучения</vt:lpstr>
      <vt:lpstr>Два упражнения. Работаете вместе. Упражнение 1 - основа для Упражнения 2.</vt:lpstr>
      <vt:lpstr>PowerPoint Presentation</vt:lpstr>
      <vt:lpstr>ОБМЕН</vt:lpstr>
      <vt:lpstr>Опросник по итогу Дня 3</vt:lpstr>
      <vt:lpstr>Присоединяйтесь к сообществу DARYA SCAFFOLD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Drew Mason</dc:creator>
  <cp:lastModifiedBy>Viktoriya Tsoy</cp:lastModifiedBy>
  <cp:revision>2</cp:revision>
  <dcterms:created xsi:type="dcterms:W3CDTF">2020-12-15T11:10:02Z</dcterms:created>
  <dcterms:modified xsi:type="dcterms:W3CDTF">2026-05-26T12:33:0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GUID">
    <vt:lpwstr>0899162D-1F95-4187-B729-CDF75F891726</vt:lpwstr>
  </property>
  <property fmtid="{D5CDD505-2E9C-101B-9397-08002B2CF9AE}" pid="3" name="ArticulatePath">
    <vt:lpwstr>Presentation1</vt:lpwstr>
  </property>
  <property fmtid="{D5CDD505-2E9C-101B-9397-08002B2CF9AE}" pid="4" name="ContentTypeId">
    <vt:lpwstr>0x010100B6D5B13326087944A18C6A6893FB8FFA</vt:lpwstr>
  </property>
  <property fmtid="{D5CDD505-2E9C-101B-9397-08002B2CF9AE}" pid="5" name="MediaServiceImageTags">
    <vt:lpwstr/>
  </property>
  <property fmtid="{D5CDD505-2E9C-101B-9397-08002B2CF9AE}" pid="6" name="_dlc_DocIdItemGuid">
    <vt:lpwstr>bc320b55-8f76-424b-afb5-97f0c04d9e3a</vt:lpwstr>
  </property>
</Properties>
</file>